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notesSlides/notesSlide11.xml" ContentType="application/vnd.openxmlformats-officedocument.presentationml.notesSlide+xml"/>
  <Override PartName="/ppt/tags/tag21.xml" ContentType="application/vnd.openxmlformats-officedocument.presentationml.tags+xml"/>
  <Override PartName="/ppt/notesSlides/notesSlide12.xml" ContentType="application/vnd.openxmlformats-officedocument.presentationml.notesSlide+xml"/>
  <Override PartName="/ppt/tags/tag22.xml" ContentType="application/vnd.openxmlformats-officedocument.presentationml.tags+xml"/>
  <Override PartName="/ppt/notesSlides/notesSlide13.xml" ContentType="application/vnd.openxmlformats-officedocument.presentationml.notesSlide+xml"/>
  <Override PartName="/ppt/tags/tag23.xml" ContentType="application/vnd.openxmlformats-officedocument.presentationml.tags+xml"/>
  <Override PartName="/ppt/notesSlides/notesSlide14.xml" ContentType="application/vnd.openxmlformats-officedocument.presentationml.notesSlide+xml"/>
  <Override PartName="/ppt/tags/tag24.xml" ContentType="application/vnd.openxmlformats-officedocument.presentationml.tags+xml"/>
  <Override PartName="/ppt/notesSlides/notesSlide15.xml" ContentType="application/vnd.openxmlformats-officedocument.presentationml.notesSlide+xml"/>
  <Override PartName="/ppt/tags/tag25.xml" ContentType="application/vnd.openxmlformats-officedocument.presentationml.tags+xml"/>
  <Override PartName="/ppt/notesSlides/notesSlide16.xml" ContentType="application/vnd.openxmlformats-officedocument.presentationml.notesSlide+xml"/>
  <Override PartName="/ppt/tags/tag26.xml" ContentType="application/vnd.openxmlformats-officedocument.presentationml.tags+xml"/>
  <Override PartName="/ppt/notesSlides/notesSlide17.xml" ContentType="application/vnd.openxmlformats-officedocument.presentationml.notesSlide+xml"/>
  <Override PartName="/ppt/tags/tag27.xml" ContentType="application/vnd.openxmlformats-officedocument.presentationml.tags+xml"/>
  <Override PartName="/ppt/notesSlides/notesSlide18.xml" ContentType="application/vnd.openxmlformats-officedocument.presentationml.notesSlide+xml"/>
  <Override PartName="/ppt/tags/tag28.xml" ContentType="application/vnd.openxmlformats-officedocument.presentationml.tags+xml"/>
  <Override PartName="/ppt/notesSlides/notesSlide19.xml" ContentType="application/vnd.openxmlformats-officedocument.presentationml.notesSlide+xml"/>
  <Override PartName="/ppt/tags/tag29.xml" ContentType="application/vnd.openxmlformats-officedocument.presentationml.tags+xml"/>
  <Override PartName="/ppt/notesSlides/notesSlide20.xml" ContentType="application/vnd.openxmlformats-officedocument.presentationml.notesSlide+xml"/>
  <Override PartName="/ppt/tags/tag30.xml" ContentType="application/vnd.openxmlformats-officedocument.presentationml.tags+xml"/>
  <Override PartName="/ppt/notesSlides/notesSlide21.xml" ContentType="application/vnd.openxmlformats-officedocument.presentationml.notesSlide+xml"/>
  <Override PartName="/ppt/tags/tag31.xml" ContentType="application/vnd.openxmlformats-officedocument.presentationml.tags+xml"/>
  <Override PartName="/ppt/notesSlides/notesSlide22.xml" ContentType="application/vnd.openxmlformats-officedocument.presentationml.notesSlide+xml"/>
  <Override PartName="/ppt/tags/tag32.xml" ContentType="application/vnd.openxmlformats-officedocument.presentationml.tags+xml"/>
  <Override PartName="/ppt/notesSlides/notesSlide23.xml" ContentType="application/vnd.openxmlformats-officedocument.presentationml.notesSlide+xml"/>
  <Override PartName="/ppt/tags/tag33.xml" ContentType="application/vnd.openxmlformats-officedocument.presentationml.tags+xml"/>
  <Override PartName="/ppt/notesSlides/notesSlide24.xml" ContentType="application/vnd.openxmlformats-officedocument.presentationml.notesSlide+xml"/>
  <Override PartName="/ppt/tags/tag34.xml" ContentType="application/vnd.openxmlformats-officedocument.presentationml.tags+xml"/>
  <Override PartName="/ppt/notesSlides/notesSlide25.xml" ContentType="application/vnd.openxmlformats-officedocument.presentationml.notesSlide+xml"/>
  <Override PartName="/ppt/tags/tag35.xml" ContentType="application/vnd.openxmlformats-officedocument.presentationml.tags+xml"/>
  <Override PartName="/ppt/notesSlides/notesSlide26.xml" ContentType="application/vnd.openxmlformats-officedocument.presentationml.notesSlide+xml"/>
  <Override PartName="/ppt/tags/tag36.xml" ContentType="application/vnd.openxmlformats-officedocument.presentationml.tags+xml"/>
  <Override PartName="/ppt/notesSlides/notesSlide27.xml" ContentType="application/vnd.openxmlformats-officedocument.presentationml.notesSlide+xml"/>
  <Override PartName="/ppt/tags/tag37.xml" ContentType="application/vnd.openxmlformats-officedocument.presentationml.tags+xml"/>
  <Override PartName="/ppt/notesSlides/notesSlide28.xml" ContentType="application/vnd.openxmlformats-officedocument.presentationml.notesSlide+xml"/>
  <Override PartName="/ppt/tags/tag38.xml" ContentType="application/vnd.openxmlformats-officedocument.presentationml.tags+xml"/>
  <Override PartName="/ppt/notesSlides/notesSlide29.xml" ContentType="application/vnd.openxmlformats-officedocument.presentationml.notesSlide+xml"/>
  <Override PartName="/ppt/tags/tag39.xml" ContentType="application/vnd.openxmlformats-officedocument.presentationml.tags+xml"/>
  <Override PartName="/ppt/notesSlides/notesSlide30.xml" ContentType="application/vnd.openxmlformats-officedocument.presentationml.notesSlide+xml"/>
  <Override PartName="/ppt/tags/tag40.xml" ContentType="application/vnd.openxmlformats-officedocument.presentationml.tags+xml"/>
  <Override PartName="/ppt/notesSlides/notesSlide31.xml" ContentType="application/vnd.openxmlformats-officedocument.presentationml.notesSlide+xml"/>
  <Override PartName="/ppt/tags/tag41.xml" ContentType="application/vnd.openxmlformats-officedocument.presentationml.tags+xml"/>
  <Override PartName="/ppt/notesSlides/notesSlide32.xml" ContentType="application/vnd.openxmlformats-officedocument.presentationml.notesSlide+xml"/>
  <Override PartName="/ppt/tags/tag42.xml" ContentType="application/vnd.openxmlformats-officedocument.presentationml.tags+xml"/>
  <Override PartName="/ppt/notesSlides/notesSlide33.xml" ContentType="application/vnd.openxmlformats-officedocument.presentationml.notesSlide+xml"/>
  <Override PartName="/ppt/tags/tag43.xml" ContentType="application/vnd.openxmlformats-officedocument.presentationml.tags+xml"/>
  <Override PartName="/ppt/notesSlides/notesSlide34.xml" ContentType="application/vnd.openxmlformats-officedocument.presentationml.notesSlide+xml"/>
  <Override PartName="/ppt/tags/tag44.xml" ContentType="application/vnd.openxmlformats-officedocument.presentationml.tags+xml"/>
  <Override PartName="/ppt/notesSlides/notesSlide35.xml" ContentType="application/vnd.openxmlformats-officedocument.presentationml.notesSlide+xml"/>
  <Override PartName="/ppt/tags/tag45.xml" ContentType="application/vnd.openxmlformats-officedocument.presentationml.tags+xml"/>
  <Override PartName="/ppt/notesSlides/notesSlide36.xml" ContentType="application/vnd.openxmlformats-officedocument.presentationml.notesSlide+xml"/>
  <Override PartName="/ppt/tags/tag46.xml" ContentType="application/vnd.openxmlformats-officedocument.presentationml.tags+xml"/>
  <Override PartName="/ppt/notesSlides/notesSlide37.xml" ContentType="application/vnd.openxmlformats-officedocument.presentationml.notesSlide+xml"/>
  <Override PartName="/ppt/tags/tag47.xml" ContentType="application/vnd.openxmlformats-officedocument.presentationml.tags+xml"/>
  <Override PartName="/ppt/notesSlides/notesSlide38.xml" ContentType="application/vnd.openxmlformats-officedocument.presentationml.notesSlide+xml"/>
  <Override PartName="/ppt/tags/tag48.xml" ContentType="application/vnd.openxmlformats-officedocument.presentationml.tags+xml"/>
  <Override PartName="/ppt/notesSlides/notesSlide39.xml" ContentType="application/vnd.openxmlformats-officedocument.presentationml.notesSlide+xml"/>
  <Override PartName="/ppt/tags/tag49.xml" ContentType="application/vnd.openxmlformats-officedocument.presentationml.tags+xml"/>
  <Override PartName="/ppt/notesSlides/notesSlide40.xml" ContentType="application/vnd.openxmlformats-officedocument.presentationml.notesSlide+xml"/>
  <Override PartName="/ppt/tags/tag50.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3" r:id="rId4"/>
  </p:sldMasterIdLst>
  <p:notesMasterIdLst>
    <p:notesMasterId r:id="rId52"/>
  </p:notesMasterIdLst>
  <p:handoutMasterIdLst>
    <p:handoutMasterId r:id="rId53"/>
  </p:handoutMasterIdLst>
  <p:sldIdLst>
    <p:sldId id="2147482026" r:id="rId5"/>
    <p:sldId id="769" r:id="rId6"/>
    <p:sldId id="2147482025" r:id="rId7"/>
    <p:sldId id="925" r:id="rId8"/>
    <p:sldId id="450" r:id="rId9"/>
    <p:sldId id="924" r:id="rId10"/>
    <p:sldId id="906" r:id="rId11"/>
    <p:sldId id="927" r:id="rId12"/>
    <p:sldId id="899" r:id="rId13"/>
    <p:sldId id="900" r:id="rId14"/>
    <p:sldId id="903" r:id="rId15"/>
    <p:sldId id="904" r:id="rId16"/>
    <p:sldId id="905" r:id="rId17"/>
    <p:sldId id="926" r:id="rId18"/>
    <p:sldId id="908" r:id="rId19"/>
    <p:sldId id="909" r:id="rId20"/>
    <p:sldId id="928" r:id="rId21"/>
    <p:sldId id="954" r:id="rId22"/>
    <p:sldId id="931" r:id="rId23"/>
    <p:sldId id="911" r:id="rId24"/>
    <p:sldId id="914" r:id="rId25"/>
    <p:sldId id="915" r:id="rId26"/>
    <p:sldId id="916" r:id="rId27"/>
    <p:sldId id="918" r:id="rId28"/>
    <p:sldId id="917" r:id="rId29"/>
    <p:sldId id="919" r:id="rId30"/>
    <p:sldId id="921" r:id="rId31"/>
    <p:sldId id="920" r:id="rId32"/>
    <p:sldId id="922" r:id="rId33"/>
    <p:sldId id="933" r:id="rId34"/>
    <p:sldId id="934" r:id="rId35"/>
    <p:sldId id="935" r:id="rId36"/>
    <p:sldId id="937" r:id="rId37"/>
    <p:sldId id="936" r:id="rId38"/>
    <p:sldId id="938" r:id="rId39"/>
    <p:sldId id="939" r:id="rId40"/>
    <p:sldId id="940" r:id="rId41"/>
    <p:sldId id="941" r:id="rId42"/>
    <p:sldId id="942" r:id="rId43"/>
    <p:sldId id="963" r:id="rId44"/>
    <p:sldId id="964" r:id="rId45"/>
    <p:sldId id="960" r:id="rId46"/>
    <p:sldId id="945" r:id="rId47"/>
    <p:sldId id="946" r:id="rId48"/>
    <p:sldId id="950" r:id="rId49"/>
    <p:sldId id="953" r:id="rId50"/>
    <p:sldId id="952" r:id="rId51"/>
  </p:sldIdLst>
  <p:sldSz cx="12192000" cy="6858000"/>
  <p:notesSz cx="6858000" cy="9144000"/>
  <p:custDataLst>
    <p:tags r:id="rId5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A24BC19-97EB-72DD-ADE2-04832C3AB4AA}" name="Ramona Daukste (LV)" initials="RD(" userId="S::ramona.daukste@pwc.com::cb110d71-928f-4029-96c9-9e7c32e592fe" providerId="AD"/>
  <p188:author id="{90456D42-69BA-FA00-84FF-970E8159E349}" name="Annemarija Apine (LV)" initials="AA(" userId="S::annemarija.apine@pwc.com::546f5c59-3b8d-47fd-b739-a8fadc631053" providerId="AD"/>
  <p188:author id="{6C60D3CE-0911-E382-B5F7-D4118947E6C4}" name="Sindija Kirsteine (LV)" initials="SK(" userId="S::sindija.kirsteine@pwc.com::5f25501a-2215-4bb3-9d9c-8d1484ffa7c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D6E8"/>
    <a:srgbClr val="D18D85"/>
    <a:srgbClr val="A4A3B2"/>
    <a:srgbClr val="D0CFD7"/>
    <a:srgbClr val="A8192D"/>
    <a:srgbClr val="0060D7"/>
    <a:srgbClr val="175D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2" d="100"/>
          <a:sy n="92" d="100"/>
        </p:scale>
        <p:origin x="307" y="8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6/11/relationships/changesInfo" Target="changesInfos/changesInfo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6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talii Liiko (UA)" userId="c566635d-8ca9-48e2-bfaf-887dbe56ebbc" providerId="ADAL" clId="{290B90F1-943E-4034-A9F4-EBF7271AD770}"/>
    <pc:docChg chg="custSel addSld delSld modSld">
      <pc:chgData name="Vitalii Liiko (UA)" userId="c566635d-8ca9-48e2-bfaf-887dbe56ebbc" providerId="ADAL" clId="{290B90F1-943E-4034-A9F4-EBF7271AD770}" dt="2024-06-27T11:20:08.192" v="26" actId="207"/>
      <pc:docMkLst>
        <pc:docMk/>
      </pc:docMkLst>
      <pc:sldChg chg="mod modShow">
        <pc:chgData name="Vitalii Liiko (UA)" userId="c566635d-8ca9-48e2-bfaf-887dbe56ebbc" providerId="ADAL" clId="{290B90F1-943E-4034-A9F4-EBF7271AD770}" dt="2024-06-27T11:18:17.259" v="21" actId="729"/>
        <pc:sldMkLst>
          <pc:docMk/>
          <pc:sldMk cId="817197616" sldId="332"/>
        </pc:sldMkLst>
      </pc:sldChg>
      <pc:sldChg chg="add del">
        <pc:chgData name="Vitalii Liiko (UA)" userId="c566635d-8ca9-48e2-bfaf-887dbe56ebbc" providerId="ADAL" clId="{290B90F1-943E-4034-A9F4-EBF7271AD770}" dt="2024-06-27T11:19:55.288" v="23" actId="47"/>
        <pc:sldMkLst>
          <pc:docMk/>
          <pc:sldMk cId="1373554732" sldId="2147481893"/>
        </pc:sldMkLst>
      </pc:sldChg>
      <pc:sldChg chg="addSp delSp modSp add mod">
        <pc:chgData name="Vitalii Liiko (UA)" userId="c566635d-8ca9-48e2-bfaf-887dbe56ebbc" providerId="ADAL" clId="{290B90F1-943E-4034-A9F4-EBF7271AD770}" dt="2024-06-27T11:20:08.192" v="26" actId="207"/>
        <pc:sldMkLst>
          <pc:docMk/>
          <pc:sldMk cId="3071604049" sldId="2147482026"/>
        </pc:sldMkLst>
        <pc:spChg chg="add mod">
          <ac:chgData name="Vitalii Liiko (UA)" userId="c566635d-8ca9-48e2-bfaf-887dbe56ebbc" providerId="ADAL" clId="{290B90F1-943E-4034-A9F4-EBF7271AD770}" dt="2024-06-27T11:16:37.370" v="5"/>
          <ac:spMkLst>
            <pc:docMk/>
            <pc:sldMk cId="3071604049" sldId="2147482026"/>
            <ac:spMk id="2" creationId="{40C94636-67C5-CC6E-9572-F8450A951DAF}"/>
          </ac:spMkLst>
        </pc:spChg>
        <pc:spChg chg="del">
          <ac:chgData name="Vitalii Liiko (UA)" userId="c566635d-8ca9-48e2-bfaf-887dbe56ebbc" providerId="ADAL" clId="{290B90F1-943E-4034-A9F4-EBF7271AD770}" dt="2024-06-27T11:16:24.934" v="2" actId="478"/>
          <ac:spMkLst>
            <pc:docMk/>
            <pc:sldMk cId="3071604049" sldId="2147482026"/>
            <ac:spMk id="3" creationId="{E1CE47AC-97D8-9F49-5273-9267AA784BE2}"/>
          </ac:spMkLst>
        </pc:spChg>
        <pc:spChg chg="del">
          <ac:chgData name="Vitalii Liiko (UA)" userId="c566635d-8ca9-48e2-bfaf-887dbe56ebbc" providerId="ADAL" clId="{290B90F1-943E-4034-A9F4-EBF7271AD770}" dt="2024-06-27T11:16:27.583" v="3" actId="478"/>
          <ac:spMkLst>
            <pc:docMk/>
            <pc:sldMk cId="3071604049" sldId="2147482026"/>
            <ac:spMk id="4" creationId="{0C2CD556-83F4-5719-B366-7C2EFECB11A1}"/>
          </ac:spMkLst>
        </pc:spChg>
        <pc:spChg chg="del">
          <ac:chgData name="Vitalii Liiko (UA)" userId="c566635d-8ca9-48e2-bfaf-887dbe56ebbc" providerId="ADAL" clId="{290B90F1-943E-4034-A9F4-EBF7271AD770}" dt="2024-06-27T11:16:28.944" v="4" actId="478"/>
          <ac:spMkLst>
            <pc:docMk/>
            <pc:sldMk cId="3071604049" sldId="2147482026"/>
            <ac:spMk id="7" creationId="{087A0670-7B05-0F04-BB8E-80FDBC9F6D59}"/>
          </ac:spMkLst>
        </pc:spChg>
        <pc:spChg chg="del">
          <ac:chgData name="Vitalii Liiko (UA)" userId="c566635d-8ca9-48e2-bfaf-887dbe56ebbc" providerId="ADAL" clId="{290B90F1-943E-4034-A9F4-EBF7271AD770}" dt="2024-06-27T11:16:24.934" v="2" actId="478"/>
          <ac:spMkLst>
            <pc:docMk/>
            <pc:sldMk cId="3071604049" sldId="2147482026"/>
            <ac:spMk id="9" creationId="{9C917BBD-747E-ABCB-3683-E8C68F33230D}"/>
          </ac:spMkLst>
        </pc:spChg>
        <pc:spChg chg="mod">
          <ac:chgData name="Vitalii Liiko (UA)" userId="c566635d-8ca9-48e2-bfaf-887dbe56ebbc" providerId="ADAL" clId="{290B90F1-943E-4034-A9F4-EBF7271AD770}" dt="2024-06-27T11:20:08.192" v="26" actId="207"/>
          <ac:spMkLst>
            <pc:docMk/>
            <pc:sldMk cId="3071604049" sldId="2147482026"/>
            <ac:spMk id="15" creationId="{BE44F20B-FA95-2861-40B9-74FCD9F509AC}"/>
          </ac:spMkLst>
        </pc:spChg>
        <pc:spChg chg="add mod">
          <ac:chgData name="Vitalii Liiko (UA)" userId="c566635d-8ca9-48e2-bfaf-887dbe56ebbc" providerId="ADAL" clId="{290B90F1-943E-4034-A9F4-EBF7271AD770}" dt="2024-06-27T11:16:55.361" v="8" actId="207"/>
          <ac:spMkLst>
            <pc:docMk/>
            <pc:sldMk cId="3071604049" sldId="2147482026"/>
            <ac:spMk id="22" creationId="{A23194B3-7795-B693-1047-15EAD1BF84E8}"/>
          </ac:spMkLst>
        </pc:spChg>
        <pc:spChg chg="del">
          <ac:chgData name="Vitalii Liiko (UA)" userId="c566635d-8ca9-48e2-bfaf-887dbe56ebbc" providerId="ADAL" clId="{290B90F1-943E-4034-A9F4-EBF7271AD770}" dt="2024-06-27T11:16:24.934" v="2" actId="478"/>
          <ac:spMkLst>
            <pc:docMk/>
            <pc:sldMk cId="3071604049" sldId="2147482026"/>
            <ac:spMk id="23" creationId="{82B2653B-EFB9-4261-D74B-45F171FB8BD0}"/>
          </ac:spMkLst>
        </pc:spChg>
        <pc:spChg chg="del">
          <ac:chgData name="Vitalii Liiko (UA)" userId="c566635d-8ca9-48e2-bfaf-887dbe56ebbc" providerId="ADAL" clId="{290B90F1-943E-4034-A9F4-EBF7271AD770}" dt="2024-06-27T11:16:24.934" v="2" actId="478"/>
          <ac:spMkLst>
            <pc:docMk/>
            <pc:sldMk cId="3071604049" sldId="2147482026"/>
            <ac:spMk id="27" creationId="{4E56288C-5827-FCC2-D7B5-F3182D7FDEE0}"/>
          </ac:spMkLst>
        </pc:spChg>
        <pc:spChg chg="add mod">
          <ac:chgData name="Vitalii Liiko (UA)" userId="c566635d-8ca9-48e2-bfaf-887dbe56ebbc" providerId="ADAL" clId="{290B90F1-943E-4034-A9F4-EBF7271AD770}" dt="2024-06-27T11:16:43.120" v="6"/>
          <ac:spMkLst>
            <pc:docMk/>
            <pc:sldMk cId="3071604049" sldId="2147482026"/>
            <ac:spMk id="28" creationId="{C16C8DB9-3881-94F9-A654-2D14350544F3}"/>
          </ac:spMkLst>
        </pc:spChg>
        <pc:spChg chg="add mod">
          <ac:chgData name="Vitalii Liiko (UA)" userId="c566635d-8ca9-48e2-bfaf-887dbe56ebbc" providerId="ADAL" clId="{290B90F1-943E-4034-A9F4-EBF7271AD770}" dt="2024-06-27T11:17:54.305" v="18" actId="555"/>
          <ac:spMkLst>
            <pc:docMk/>
            <pc:sldMk cId="3071604049" sldId="2147482026"/>
            <ac:spMk id="29" creationId="{9EC6938E-F2BC-AC86-28EB-89CA269398B1}"/>
          </ac:spMkLst>
        </pc:spChg>
        <pc:spChg chg="add del mod">
          <ac:chgData name="Vitalii Liiko (UA)" userId="c566635d-8ca9-48e2-bfaf-887dbe56ebbc" providerId="ADAL" clId="{290B90F1-943E-4034-A9F4-EBF7271AD770}" dt="2024-06-27T11:17:57.106" v="19" actId="478"/>
          <ac:spMkLst>
            <pc:docMk/>
            <pc:sldMk cId="3071604049" sldId="2147482026"/>
            <ac:spMk id="30" creationId="{1A31D865-FA45-D2AA-BC80-2E24FD579999}"/>
          </ac:spMkLst>
        </pc:spChg>
        <pc:picChg chg="add mod">
          <ac:chgData name="Vitalii Liiko (UA)" userId="c566635d-8ca9-48e2-bfaf-887dbe56ebbc" providerId="ADAL" clId="{290B90F1-943E-4034-A9F4-EBF7271AD770}" dt="2024-06-27T11:16:37.370" v="5"/>
          <ac:picMkLst>
            <pc:docMk/>
            <pc:sldMk cId="3071604049" sldId="2147482026"/>
            <ac:picMk id="5" creationId="{631590FE-98F3-B64D-B148-CC7F8DD2FB18}"/>
          </ac:picMkLst>
        </pc:picChg>
        <pc:picChg chg="add mod">
          <ac:chgData name="Vitalii Liiko (UA)" userId="c566635d-8ca9-48e2-bfaf-887dbe56ebbc" providerId="ADAL" clId="{290B90F1-943E-4034-A9F4-EBF7271AD770}" dt="2024-06-27T11:16:37.370" v="5"/>
          <ac:picMkLst>
            <pc:docMk/>
            <pc:sldMk cId="3071604049" sldId="2147482026"/>
            <ac:picMk id="8" creationId="{6A890E5E-5277-4353-F064-A3C824D92D0B}"/>
          </ac:picMkLst>
        </pc:picChg>
        <pc:picChg chg="del">
          <ac:chgData name="Vitalii Liiko (UA)" userId="c566635d-8ca9-48e2-bfaf-887dbe56ebbc" providerId="ADAL" clId="{290B90F1-943E-4034-A9F4-EBF7271AD770}" dt="2024-06-27T11:16:24.934" v="2" actId="478"/>
          <ac:picMkLst>
            <pc:docMk/>
            <pc:sldMk cId="3071604049" sldId="2147482026"/>
            <ac:picMk id="24" creationId="{DD7FB036-F50E-866E-27D7-8D1C7F525956}"/>
          </ac:picMkLst>
        </pc:picChg>
        <pc:picChg chg="del">
          <ac:chgData name="Vitalii Liiko (UA)" userId="c566635d-8ca9-48e2-bfaf-887dbe56ebbc" providerId="ADAL" clId="{290B90F1-943E-4034-A9F4-EBF7271AD770}" dt="2024-06-27T11:16:24.934" v="2" actId="478"/>
          <ac:picMkLst>
            <pc:docMk/>
            <pc:sldMk cId="3071604049" sldId="2147482026"/>
            <ac:picMk id="26" creationId="{D80CFE8D-2180-D6E3-BBA8-F0DCE222FE75}"/>
          </ac:picMkLst>
        </pc:picChg>
      </pc:sldChg>
    </pc:docChg>
  </pc:docChgLst>
  <pc:docChgLst>
    <pc:chgData name="Annemarija Apine (LV)" userId="546f5c59-3b8d-47fd-b739-a8fadc631053" providerId="ADAL" clId="{D82750A9-742A-4217-B17E-AAD0203113A8}"/>
    <pc:docChg chg="custSel replTag">
      <pc:chgData name="Annemarija Apine (LV)" userId="546f5c59-3b8d-47fd-b739-a8fadc631053" providerId="ADAL" clId="{D82750A9-742A-4217-B17E-AAD0203113A8}" dt="2024-03-12T22:59:32.029" v="0"/>
      <pc:docMkLst>
        <pc:docMk/>
      </pc:docMkLst>
    </pc:docChg>
  </pc:docChgLst>
  <pc:docChgLst>
    <pc:chgData name="Annemarija Apine (LV)" userId="546f5c59-3b8d-47fd-b739-a8fadc631053" providerId="ADAL" clId="{34473802-5904-426F-ADDF-0D0D1B44876C}"/>
    <pc:docChg chg="undo redo custSel addSld delSld modSld sldOrd replTag">
      <pc:chgData name="Annemarija Apine (LV)" userId="546f5c59-3b8d-47fd-b739-a8fadc631053" providerId="ADAL" clId="{34473802-5904-426F-ADDF-0D0D1B44876C}" dt="2024-03-11T14:45:56.279" v="10431"/>
      <pc:docMkLst>
        <pc:docMk/>
      </pc:docMkLst>
      <pc:sldChg chg="addSp modSp add mod ord modShow delCm">
        <pc:chgData name="Annemarija Apine (LV)" userId="546f5c59-3b8d-47fd-b739-a8fadc631053" providerId="ADAL" clId="{34473802-5904-426F-ADDF-0D0D1B44876C}" dt="2024-03-08T12:05:02.330" v="9040"/>
        <pc:sldMkLst>
          <pc:docMk/>
          <pc:sldMk cId="0" sldId="258"/>
        </pc:sldMkLst>
        <pc:spChg chg="add mod">
          <ac:chgData name="Annemarija Apine (LV)" userId="546f5c59-3b8d-47fd-b739-a8fadc631053" providerId="ADAL" clId="{34473802-5904-426F-ADDF-0D0D1B44876C}" dt="2024-03-08T11:56:50.044" v="8973" actId="207"/>
          <ac:spMkLst>
            <pc:docMk/>
            <pc:sldMk cId="0" sldId="258"/>
            <ac:spMk id="3" creationId="{DD291347-1263-8A12-F54A-52749B83C743}"/>
          </ac:spMkLst>
        </pc:s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34473802-5904-426F-ADDF-0D0D1B44876C}" dt="2024-03-08T11:56:33.225" v="8953"/>
              <pc2:cmMkLst xmlns:pc2="http://schemas.microsoft.com/office/powerpoint/2019/9/main/command">
                <pc:docMk/>
                <pc:sldMk cId="0" sldId="258"/>
                <pc2:cmMk id="{B76BBA78-E2A9-4377-9FED-9B912B70E58F}"/>
              </pc2:cmMkLst>
            </pc226:cmChg>
          </p:ext>
        </pc:extLst>
      </pc:sldChg>
      <pc:sldChg chg="mod modShow">
        <pc:chgData name="Annemarija Apine (LV)" userId="546f5c59-3b8d-47fd-b739-a8fadc631053" providerId="ADAL" clId="{34473802-5904-426F-ADDF-0D0D1B44876C}" dt="2024-02-25T22:04:01.375" v="133" actId="729"/>
        <pc:sldMkLst>
          <pc:docMk/>
          <pc:sldMk cId="714588004" sldId="277"/>
        </pc:sldMkLst>
      </pc:sldChg>
      <pc:sldChg chg="mod modShow">
        <pc:chgData name="Annemarija Apine (LV)" userId="546f5c59-3b8d-47fd-b739-a8fadc631053" providerId="ADAL" clId="{34473802-5904-426F-ADDF-0D0D1B44876C}" dt="2024-02-25T22:04:01.375" v="133" actId="729"/>
        <pc:sldMkLst>
          <pc:docMk/>
          <pc:sldMk cId="0" sldId="309"/>
        </pc:sldMkLst>
      </pc:sldChg>
      <pc:sldChg chg="mod modShow">
        <pc:chgData name="Annemarija Apine (LV)" userId="546f5c59-3b8d-47fd-b739-a8fadc631053" providerId="ADAL" clId="{34473802-5904-426F-ADDF-0D0D1B44876C}" dt="2024-02-25T22:04:01.375" v="133" actId="729"/>
        <pc:sldMkLst>
          <pc:docMk/>
          <pc:sldMk cId="0" sldId="310"/>
        </pc:sldMkLst>
      </pc:sldChg>
      <pc:sldChg chg="mod modShow">
        <pc:chgData name="Annemarija Apine (LV)" userId="546f5c59-3b8d-47fd-b739-a8fadc631053" providerId="ADAL" clId="{34473802-5904-426F-ADDF-0D0D1B44876C}" dt="2024-02-25T22:04:01.375" v="133" actId="729"/>
        <pc:sldMkLst>
          <pc:docMk/>
          <pc:sldMk cId="0" sldId="312"/>
        </pc:sldMkLst>
      </pc:sldChg>
      <pc:sldChg chg="mod modShow">
        <pc:chgData name="Annemarija Apine (LV)" userId="546f5c59-3b8d-47fd-b739-a8fadc631053" providerId="ADAL" clId="{34473802-5904-426F-ADDF-0D0D1B44876C}" dt="2024-02-25T22:04:01.375" v="133" actId="729"/>
        <pc:sldMkLst>
          <pc:docMk/>
          <pc:sldMk cId="0" sldId="313"/>
        </pc:sldMkLst>
      </pc:sldChg>
      <pc:sldChg chg="mod modShow">
        <pc:chgData name="Annemarija Apine (LV)" userId="546f5c59-3b8d-47fd-b739-a8fadc631053" providerId="ADAL" clId="{34473802-5904-426F-ADDF-0D0D1B44876C}" dt="2024-02-25T22:04:01.375" v="133" actId="729"/>
        <pc:sldMkLst>
          <pc:docMk/>
          <pc:sldMk cId="0" sldId="314"/>
        </pc:sldMkLst>
      </pc:sldChg>
      <pc:sldChg chg="addSp modSp mod addCm delCm modCm">
        <pc:chgData name="Annemarija Apine (LV)" userId="546f5c59-3b8d-47fd-b739-a8fadc631053" providerId="ADAL" clId="{34473802-5904-426F-ADDF-0D0D1B44876C}" dt="2024-03-11T14:37:37.379" v="10112" actId="20577"/>
        <pc:sldMkLst>
          <pc:docMk/>
          <pc:sldMk cId="817197616" sldId="332"/>
        </pc:sldMkLst>
        <pc:spChg chg="add mod">
          <ac:chgData name="Annemarija Apine (LV)" userId="546f5c59-3b8d-47fd-b739-a8fadc631053" providerId="ADAL" clId="{34473802-5904-426F-ADDF-0D0D1B44876C}" dt="2024-03-11T14:37:37.379" v="10112" actId="20577"/>
          <ac:spMkLst>
            <pc:docMk/>
            <pc:sldMk cId="817197616" sldId="332"/>
            <ac:spMk id="4" creationId="{0C2CD556-83F4-5719-B366-7C2EFECB11A1}"/>
          </ac:spMkLst>
        </pc:spChg>
        <pc:spChg chg="mod">
          <ac:chgData name="Annemarija Apine (LV)" userId="546f5c59-3b8d-47fd-b739-a8fadc631053" providerId="ADAL" clId="{34473802-5904-426F-ADDF-0D0D1B44876C}" dt="2024-03-10T23:33:32.409" v="9354" actId="20577"/>
          <ac:spMkLst>
            <pc:docMk/>
            <pc:sldMk cId="817197616" sldId="332"/>
            <ac:spMk id="9" creationId="{9C917BBD-747E-ABCB-3683-E8C68F33230D}"/>
          </ac:spMkLst>
        </pc:spChg>
        <pc:spChg chg="mod">
          <ac:chgData name="Annemarija Apine (LV)" userId="546f5c59-3b8d-47fd-b739-a8fadc631053" providerId="ADAL" clId="{34473802-5904-426F-ADDF-0D0D1B44876C}" dt="2024-03-05T07:29:59.751" v="8842" actId="34135"/>
          <ac:spMkLst>
            <pc:docMk/>
            <pc:sldMk cId="817197616" sldId="332"/>
            <ac:spMk id="15" creationId="{BE44F20B-FA95-2861-40B9-74FCD9F509AC}"/>
          </ac:spMkLst>
        </pc:spChg>
        <pc:extLst>
          <p:ext xmlns:p="http://schemas.openxmlformats.org/presentationml/2006/main" uri="{D6D511B9-2390-475A-947B-AFAB55BFBCF1}">
            <pc226:cmChg xmlns:pc226="http://schemas.microsoft.com/office/powerpoint/2022/06/main/command" chg="add del">
              <pc226:chgData name="Annemarija Apine (LV)" userId="546f5c59-3b8d-47fd-b739-a8fadc631053" providerId="ADAL" clId="{34473802-5904-426F-ADDF-0D0D1B44876C}" dt="2024-03-01T15:36:54.344" v="6863"/>
              <pc2:cmMkLst xmlns:pc2="http://schemas.microsoft.com/office/powerpoint/2019/9/main/command">
                <pc:docMk/>
                <pc:sldMk cId="817197616" sldId="332"/>
                <pc2:cmMk id="{1826A545-1B91-4CEF-8FE2-79E733630A9D}"/>
              </pc2:cmMkLst>
            </pc226:cmChg>
            <pc226:cmChg xmlns:pc226="http://schemas.microsoft.com/office/powerpoint/2022/06/main/command" chg="add">
              <pc226:chgData name="Annemarija Apine (LV)" userId="546f5c59-3b8d-47fd-b739-a8fadc631053" providerId="ADAL" clId="{34473802-5904-426F-ADDF-0D0D1B44876C}" dt="2024-03-01T15:37:19.422" v="6864"/>
              <pc2:cmMkLst xmlns:pc2="http://schemas.microsoft.com/office/powerpoint/2019/9/main/command">
                <pc:docMk/>
                <pc:sldMk cId="817197616" sldId="332"/>
                <pc2:cmMk id="{6773268B-B677-416A-8762-3639ECA47681}"/>
              </pc2:cmMkLst>
            </pc226:cmChg>
            <pc226:cmChg xmlns:pc226="http://schemas.microsoft.com/office/powerpoint/2022/06/main/command" chg="add mod">
              <pc226:chgData name="Annemarija Apine (LV)" userId="546f5c59-3b8d-47fd-b739-a8fadc631053" providerId="ADAL" clId="{34473802-5904-426F-ADDF-0D0D1B44876C}" dt="2024-03-11T14:37:37.379" v="10112" actId="20577"/>
              <pc2:cmMkLst xmlns:pc2="http://schemas.microsoft.com/office/powerpoint/2019/9/main/command">
                <pc:docMk/>
                <pc:sldMk cId="817197616" sldId="332"/>
                <pc2:cmMk id="{2A26C7E2-A8DA-4B24-952F-5705AD58D1EA}"/>
              </pc2:cmMkLst>
            </pc226:cmChg>
          </p:ext>
        </pc:extLst>
      </pc:sldChg>
      <pc:sldChg chg="mod modShow">
        <pc:chgData name="Annemarija Apine (LV)" userId="546f5c59-3b8d-47fd-b739-a8fadc631053" providerId="ADAL" clId="{34473802-5904-426F-ADDF-0D0D1B44876C}" dt="2024-02-25T22:04:01.375" v="133" actId="729"/>
        <pc:sldMkLst>
          <pc:docMk/>
          <pc:sldMk cId="1077060666" sldId="333"/>
        </pc:sldMkLst>
      </pc:sldChg>
      <pc:sldChg chg="mod modShow">
        <pc:chgData name="Annemarija Apine (LV)" userId="546f5c59-3b8d-47fd-b739-a8fadc631053" providerId="ADAL" clId="{34473802-5904-426F-ADDF-0D0D1B44876C}" dt="2024-02-25T22:04:01.375" v="133" actId="729"/>
        <pc:sldMkLst>
          <pc:docMk/>
          <pc:sldMk cId="1586425510" sldId="334"/>
        </pc:sldMkLst>
      </pc:sldChg>
      <pc:sldChg chg="mod modShow">
        <pc:chgData name="Annemarija Apine (LV)" userId="546f5c59-3b8d-47fd-b739-a8fadc631053" providerId="ADAL" clId="{34473802-5904-426F-ADDF-0D0D1B44876C}" dt="2024-02-25T22:04:01.375" v="133" actId="729"/>
        <pc:sldMkLst>
          <pc:docMk/>
          <pc:sldMk cId="3962446863" sldId="335"/>
        </pc:sldMkLst>
      </pc:sldChg>
      <pc:sldChg chg="mod modShow">
        <pc:chgData name="Annemarija Apine (LV)" userId="546f5c59-3b8d-47fd-b739-a8fadc631053" providerId="ADAL" clId="{34473802-5904-426F-ADDF-0D0D1B44876C}" dt="2024-02-25T22:04:01.375" v="133" actId="729"/>
        <pc:sldMkLst>
          <pc:docMk/>
          <pc:sldMk cId="1176371514" sldId="336"/>
        </pc:sldMkLst>
      </pc:sldChg>
      <pc:sldChg chg="mod modShow">
        <pc:chgData name="Annemarija Apine (LV)" userId="546f5c59-3b8d-47fd-b739-a8fadc631053" providerId="ADAL" clId="{34473802-5904-426F-ADDF-0D0D1B44876C}" dt="2024-02-25T22:04:01.375" v="133" actId="729"/>
        <pc:sldMkLst>
          <pc:docMk/>
          <pc:sldMk cId="3244661427" sldId="337"/>
        </pc:sldMkLst>
      </pc:sldChg>
      <pc:sldChg chg="mod modShow">
        <pc:chgData name="Annemarija Apine (LV)" userId="546f5c59-3b8d-47fd-b739-a8fadc631053" providerId="ADAL" clId="{34473802-5904-426F-ADDF-0D0D1B44876C}" dt="2024-02-25T22:04:01.375" v="133" actId="729"/>
        <pc:sldMkLst>
          <pc:docMk/>
          <pc:sldMk cId="2065102976" sldId="338"/>
        </pc:sldMkLst>
      </pc:sldChg>
      <pc:sldChg chg="mod modShow">
        <pc:chgData name="Annemarija Apine (LV)" userId="546f5c59-3b8d-47fd-b739-a8fadc631053" providerId="ADAL" clId="{34473802-5904-426F-ADDF-0D0D1B44876C}" dt="2024-02-25T22:04:01.375" v="133" actId="729"/>
        <pc:sldMkLst>
          <pc:docMk/>
          <pc:sldMk cId="1311325920" sldId="339"/>
        </pc:sldMkLst>
      </pc:sldChg>
      <pc:sldChg chg="mod modShow">
        <pc:chgData name="Annemarija Apine (LV)" userId="546f5c59-3b8d-47fd-b739-a8fadc631053" providerId="ADAL" clId="{34473802-5904-426F-ADDF-0D0D1B44876C}" dt="2024-02-25T22:04:01.375" v="133" actId="729"/>
        <pc:sldMkLst>
          <pc:docMk/>
          <pc:sldMk cId="3750811665" sldId="340"/>
        </pc:sldMkLst>
      </pc:sldChg>
      <pc:sldChg chg="mod modShow">
        <pc:chgData name="Annemarija Apine (LV)" userId="546f5c59-3b8d-47fd-b739-a8fadc631053" providerId="ADAL" clId="{34473802-5904-426F-ADDF-0D0D1B44876C}" dt="2024-02-25T22:04:01.375" v="133" actId="729"/>
        <pc:sldMkLst>
          <pc:docMk/>
          <pc:sldMk cId="633515575" sldId="341"/>
        </pc:sldMkLst>
      </pc:sldChg>
      <pc:sldChg chg="mod modShow">
        <pc:chgData name="Annemarija Apine (LV)" userId="546f5c59-3b8d-47fd-b739-a8fadc631053" providerId="ADAL" clId="{34473802-5904-426F-ADDF-0D0D1B44876C}" dt="2024-02-25T22:04:01.375" v="133" actId="729"/>
        <pc:sldMkLst>
          <pc:docMk/>
          <pc:sldMk cId="0" sldId="351"/>
        </pc:sldMkLst>
      </pc:sldChg>
      <pc:sldChg chg="mod modShow">
        <pc:chgData name="Annemarija Apine (LV)" userId="546f5c59-3b8d-47fd-b739-a8fadc631053" providerId="ADAL" clId="{34473802-5904-426F-ADDF-0D0D1B44876C}" dt="2024-02-25T22:04:01.375" v="133" actId="729"/>
        <pc:sldMkLst>
          <pc:docMk/>
          <pc:sldMk cId="0" sldId="371"/>
        </pc:sldMkLst>
      </pc:sldChg>
      <pc:sldChg chg="mod modShow">
        <pc:chgData name="Annemarija Apine (LV)" userId="546f5c59-3b8d-47fd-b739-a8fadc631053" providerId="ADAL" clId="{34473802-5904-426F-ADDF-0D0D1B44876C}" dt="2024-02-25T22:04:01.375" v="133" actId="729"/>
        <pc:sldMkLst>
          <pc:docMk/>
          <pc:sldMk cId="0" sldId="383"/>
        </pc:sldMkLst>
      </pc:sldChg>
      <pc:sldChg chg="mod modShow">
        <pc:chgData name="Annemarija Apine (LV)" userId="546f5c59-3b8d-47fd-b739-a8fadc631053" providerId="ADAL" clId="{34473802-5904-426F-ADDF-0D0D1B44876C}" dt="2024-02-25T22:04:01.375" v="133" actId="729"/>
        <pc:sldMkLst>
          <pc:docMk/>
          <pc:sldMk cId="0" sldId="392"/>
        </pc:sldMkLst>
      </pc:sldChg>
      <pc:sldChg chg="mod modShow">
        <pc:chgData name="Annemarija Apine (LV)" userId="546f5c59-3b8d-47fd-b739-a8fadc631053" providerId="ADAL" clId="{34473802-5904-426F-ADDF-0D0D1B44876C}" dt="2024-02-25T22:04:01.375" v="133" actId="729"/>
        <pc:sldMkLst>
          <pc:docMk/>
          <pc:sldMk cId="0" sldId="419"/>
        </pc:sldMkLst>
      </pc:sldChg>
      <pc:sldChg chg="mod modShow">
        <pc:chgData name="Annemarija Apine (LV)" userId="546f5c59-3b8d-47fd-b739-a8fadc631053" providerId="ADAL" clId="{34473802-5904-426F-ADDF-0D0D1B44876C}" dt="2024-02-25T22:04:01.375" v="133" actId="729"/>
        <pc:sldMkLst>
          <pc:docMk/>
          <pc:sldMk cId="0" sldId="428"/>
        </pc:sldMkLst>
      </pc:sldChg>
      <pc:sldChg chg="mod modShow">
        <pc:chgData name="Annemarija Apine (LV)" userId="546f5c59-3b8d-47fd-b739-a8fadc631053" providerId="ADAL" clId="{34473802-5904-426F-ADDF-0D0D1B44876C}" dt="2024-02-25T22:04:01.375" v="133" actId="729"/>
        <pc:sldMkLst>
          <pc:docMk/>
          <pc:sldMk cId="0" sldId="429"/>
        </pc:sldMkLst>
      </pc:sldChg>
      <pc:sldChg chg="mod modShow">
        <pc:chgData name="Annemarija Apine (LV)" userId="546f5c59-3b8d-47fd-b739-a8fadc631053" providerId="ADAL" clId="{34473802-5904-426F-ADDF-0D0D1B44876C}" dt="2024-02-25T22:04:01.375" v="133" actId="729"/>
        <pc:sldMkLst>
          <pc:docMk/>
          <pc:sldMk cId="0" sldId="430"/>
        </pc:sldMkLst>
      </pc:sldChg>
      <pc:sldChg chg="mod modShow">
        <pc:chgData name="Annemarija Apine (LV)" userId="546f5c59-3b8d-47fd-b739-a8fadc631053" providerId="ADAL" clId="{34473802-5904-426F-ADDF-0D0D1B44876C}" dt="2024-02-25T22:04:01.375" v="133" actId="729"/>
        <pc:sldMkLst>
          <pc:docMk/>
          <pc:sldMk cId="0" sldId="431"/>
        </pc:sldMkLst>
      </pc:sldChg>
      <pc:sldChg chg="mod modShow">
        <pc:chgData name="Annemarija Apine (LV)" userId="546f5c59-3b8d-47fd-b739-a8fadc631053" providerId="ADAL" clId="{34473802-5904-426F-ADDF-0D0D1B44876C}" dt="2024-02-25T22:04:01.375" v="133" actId="729"/>
        <pc:sldMkLst>
          <pc:docMk/>
          <pc:sldMk cId="0" sldId="432"/>
        </pc:sldMkLst>
      </pc:sldChg>
      <pc:sldChg chg="mod modShow">
        <pc:chgData name="Annemarija Apine (LV)" userId="546f5c59-3b8d-47fd-b739-a8fadc631053" providerId="ADAL" clId="{34473802-5904-426F-ADDF-0D0D1B44876C}" dt="2024-02-25T22:04:01.375" v="133" actId="729"/>
        <pc:sldMkLst>
          <pc:docMk/>
          <pc:sldMk cId="0" sldId="433"/>
        </pc:sldMkLst>
      </pc:sldChg>
      <pc:sldChg chg="mod modShow">
        <pc:chgData name="Annemarija Apine (LV)" userId="546f5c59-3b8d-47fd-b739-a8fadc631053" providerId="ADAL" clId="{34473802-5904-426F-ADDF-0D0D1B44876C}" dt="2024-02-25T22:04:01.375" v="133" actId="729"/>
        <pc:sldMkLst>
          <pc:docMk/>
          <pc:sldMk cId="0" sldId="434"/>
        </pc:sldMkLst>
      </pc:sldChg>
      <pc:sldChg chg="mod modShow">
        <pc:chgData name="Annemarija Apine (LV)" userId="546f5c59-3b8d-47fd-b739-a8fadc631053" providerId="ADAL" clId="{34473802-5904-426F-ADDF-0D0D1B44876C}" dt="2024-02-25T22:04:01.375" v="133" actId="729"/>
        <pc:sldMkLst>
          <pc:docMk/>
          <pc:sldMk cId="0" sldId="435"/>
        </pc:sldMkLst>
      </pc:sldChg>
      <pc:sldChg chg="mod modShow">
        <pc:chgData name="Annemarija Apine (LV)" userId="546f5c59-3b8d-47fd-b739-a8fadc631053" providerId="ADAL" clId="{34473802-5904-426F-ADDF-0D0D1B44876C}" dt="2024-02-25T22:04:01.375" v="133" actId="729"/>
        <pc:sldMkLst>
          <pc:docMk/>
          <pc:sldMk cId="0" sldId="436"/>
        </pc:sldMkLst>
      </pc:sldChg>
      <pc:sldChg chg="mod modShow">
        <pc:chgData name="Annemarija Apine (LV)" userId="546f5c59-3b8d-47fd-b739-a8fadc631053" providerId="ADAL" clId="{34473802-5904-426F-ADDF-0D0D1B44876C}" dt="2024-02-25T22:04:01.375" v="133" actId="729"/>
        <pc:sldMkLst>
          <pc:docMk/>
          <pc:sldMk cId="0" sldId="437"/>
        </pc:sldMkLst>
      </pc:sldChg>
      <pc:sldChg chg="mod modShow">
        <pc:chgData name="Annemarija Apine (LV)" userId="546f5c59-3b8d-47fd-b739-a8fadc631053" providerId="ADAL" clId="{34473802-5904-426F-ADDF-0D0D1B44876C}" dt="2024-02-25T22:04:01.375" v="133" actId="729"/>
        <pc:sldMkLst>
          <pc:docMk/>
          <pc:sldMk cId="0" sldId="438"/>
        </pc:sldMkLst>
      </pc:sldChg>
      <pc:sldChg chg="mod modShow">
        <pc:chgData name="Annemarija Apine (LV)" userId="546f5c59-3b8d-47fd-b739-a8fadc631053" providerId="ADAL" clId="{34473802-5904-426F-ADDF-0D0D1B44876C}" dt="2024-02-25T22:04:01.375" v="133" actId="729"/>
        <pc:sldMkLst>
          <pc:docMk/>
          <pc:sldMk cId="323510126" sldId="439"/>
        </pc:sldMkLst>
      </pc:sldChg>
      <pc:sldChg chg="mod modShow">
        <pc:chgData name="Annemarija Apine (LV)" userId="546f5c59-3b8d-47fd-b739-a8fadc631053" providerId="ADAL" clId="{34473802-5904-426F-ADDF-0D0D1B44876C}" dt="2024-02-25T22:04:01.375" v="133" actId="729"/>
        <pc:sldMkLst>
          <pc:docMk/>
          <pc:sldMk cId="2327326848" sldId="440"/>
        </pc:sldMkLst>
      </pc:sldChg>
      <pc:sldChg chg="mod modShow">
        <pc:chgData name="Annemarija Apine (LV)" userId="546f5c59-3b8d-47fd-b739-a8fadc631053" providerId="ADAL" clId="{34473802-5904-426F-ADDF-0D0D1B44876C}" dt="2024-02-25T22:04:01.375" v="133" actId="729"/>
        <pc:sldMkLst>
          <pc:docMk/>
          <pc:sldMk cId="2336837453" sldId="441"/>
        </pc:sldMkLst>
      </pc:sldChg>
      <pc:sldChg chg="mod modShow">
        <pc:chgData name="Annemarija Apine (LV)" userId="546f5c59-3b8d-47fd-b739-a8fadc631053" providerId="ADAL" clId="{34473802-5904-426F-ADDF-0D0D1B44876C}" dt="2024-02-25T22:04:01.375" v="133" actId="729"/>
        <pc:sldMkLst>
          <pc:docMk/>
          <pc:sldMk cId="4222959714" sldId="442"/>
        </pc:sldMkLst>
      </pc:sldChg>
      <pc:sldChg chg="mod modShow">
        <pc:chgData name="Annemarija Apine (LV)" userId="546f5c59-3b8d-47fd-b739-a8fadc631053" providerId="ADAL" clId="{34473802-5904-426F-ADDF-0D0D1B44876C}" dt="2024-02-25T22:04:01.375" v="133" actId="729"/>
        <pc:sldMkLst>
          <pc:docMk/>
          <pc:sldMk cId="2958925631" sldId="443"/>
        </pc:sldMkLst>
      </pc:sldChg>
      <pc:sldChg chg="mod modShow">
        <pc:chgData name="Annemarija Apine (LV)" userId="546f5c59-3b8d-47fd-b739-a8fadc631053" providerId="ADAL" clId="{34473802-5904-426F-ADDF-0D0D1B44876C}" dt="2024-02-25T22:04:01.375" v="133" actId="729"/>
        <pc:sldMkLst>
          <pc:docMk/>
          <pc:sldMk cId="2811521555" sldId="444"/>
        </pc:sldMkLst>
      </pc:sldChg>
      <pc:sldChg chg="mod modShow">
        <pc:chgData name="Annemarija Apine (LV)" userId="546f5c59-3b8d-47fd-b739-a8fadc631053" providerId="ADAL" clId="{34473802-5904-426F-ADDF-0D0D1B44876C}" dt="2024-02-25T22:04:01.375" v="133" actId="729"/>
        <pc:sldMkLst>
          <pc:docMk/>
          <pc:sldMk cId="4258080952" sldId="445"/>
        </pc:sldMkLst>
      </pc:sldChg>
      <pc:sldChg chg="mod modShow">
        <pc:chgData name="Annemarija Apine (LV)" userId="546f5c59-3b8d-47fd-b739-a8fadc631053" providerId="ADAL" clId="{34473802-5904-426F-ADDF-0D0D1B44876C}" dt="2024-02-25T22:04:01.375" v="133" actId="729"/>
        <pc:sldMkLst>
          <pc:docMk/>
          <pc:sldMk cId="3526594792" sldId="446"/>
        </pc:sldMkLst>
      </pc:sldChg>
      <pc:sldChg chg="mod modShow">
        <pc:chgData name="Annemarija Apine (LV)" userId="546f5c59-3b8d-47fd-b739-a8fadc631053" providerId="ADAL" clId="{34473802-5904-426F-ADDF-0D0D1B44876C}" dt="2024-02-25T22:04:01.375" v="133" actId="729"/>
        <pc:sldMkLst>
          <pc:docMk/>
          <pc:sldMk cId="3932852703" sldId="447"/>
        </pc:sldMkLst>
      </pc:sldChg>
      <pc:sldChg chg="mod modShow">
        <pc:chgData name="Annemarija Apine (LV)" userId="546f5c59-3b8d-47fd-b739-a8fadc631053" providerId="ADAL" clId="{34473802-5904-426F-ADDF-0D0D1B44876C}" dt="2024-02-25T22:04:01.375" v="133" actId="729"/>
        <pc:sldMkLst>
          <pc:docMk/>
          <pc:sldMk cId="1683172751" sldId="448"/>
        </pc:sldMkLst>
      </pc:sldChg>
      <pc:sldChg chg="mod modShow">
        <pc:chgData name="Annemarija Apine (LV)" userId="546f5c59-3b8d-47fd-b739-a8fadc631053" providerId="ADAL" clId="{34473802-5904-426F-ADDF-0D0D1B44876C}" dt="2024-02-25T22:04:01.375" v="133" actId="729"/>
        <pc:sldMkLst>
          <pc:docMk/>
          <pc:sldMk cId="1995840059" sldId="449"/>
        </pc:sldMkLst>
      </pc:sldChg>
      <pc:sldChg chg="new del">
        <pc:chgData name="Annemarija Apine (LV)" userId="546f5c59-3b8d-47fd-b739-a8fadc631053" providerId="ADAL" clId="{34473802-5904-426F-ADDF-0D0D1B44876C}" dt="2024-02-25T21:58:48.794" v="17" actId="47"/>
        <pc:sldMkLst>
          <pc:docMk/>
          <pc:sldMk cId="388760314" sldId="450"/>
        </pc:sldMkLst>
      </pc:sldChg>
      <pc:sldChg chg="addSp delSp modSp new mod ord addCm delCm">
        <pc:chgData name="Annemarija Apine (LV)" userId="546f5c59-3b8d-47fd-b739-a8fadc631053" providerId="ADAL" clId="{34473802-5904-426F-ADDF-0D0D1B44876C}" dt="2024-03-11T14:15:20.417" v="10097" actId="207"/>
        <pc:sldMkLst>
          <pc:docMk/>
          <pc:sldMk cId="399328488" sldId="450"/>
        </pc:sldMkLst>
        <pc:spChg chg="add mod">
          <ac:chgData name="Annemarija Apine (LV)" userId="546f5c59-3b8d-47fd-b739-a8fadc631053" providerId="ADAL" clId="{34473802-5904-426F-ADDF-0D0D1B44876C}" dt="2024-03-10T23:33:41.929" v="9359"/>
          <ac:spMkLst>
            <pc:docMk/>
            <pc:sldMk cId="399328488" sldId="450"/>
            <ac:spMk id="2" creationId="{06CA5123-FA6E-5376-B3D9-BDF5B08EA25B}"/>
          </ac:spMkLst>
        </pc:spChg>
        <pc:spChg chg="mod">
          <ac:chgData name="Annemarija Apine (LV)" userId="546f5c59-3b8d-47fd-b739-a8fadc631053" providerId="ADAL" clId="{34473802-5904-426F-ADDF-0D0D1B44876C}" dt="2024-02-29T08:18:26.694" v="4505" actId="20577"/>
          <ac:spMkLst>
            <pc:docMk/>
            <pc:sldMk cId="399328488" sldId="450"/>
            <ac:spMk id="2" creationId="{20E40FBF-934F-95FE-8778-92F849DEC1EA}"/>
          </ac:spMkLst>
        </pc:spChg>
        <pc:spChg chg="mod">
          <ac:chgData name="Annemarija Apine (LV)" userId="546f5c59-3b8d-47fd-b739-a8fadc631053" providerId="ADAL" clId="{34473802-5904-426F-ADDF-0D0D1B44876C}" dt="2024-02-25T22:03:47.741" v="130" actId="20577"/>
          <ac:spMkLst>
            <pc:docMk/>
            <pc:sldMk cId="399328488" sldId="450"/>
            <ac:spMk id="3" creationId="{AAFE076C-9B8C-9BB3-8680-7E4B60DEC21C}"/>
          </ac:spMkLst>
        </pc:spChg>
        <pc:spChg chg="add mod">
          <ac:chgData name="Annemarija Apine (LV)" userId="546f5c59-3b8d-47fd-b739-a8fadc631053" providerId="ADAL" clId="{34473802-5904-426F-ADDF-0D0D1B44876C}" dt="2024-03-10T23:32:53.532" v="9317"/>
          <ac:spMkLst>
            <pc:docMk/>
            <pc:sldMk cId="399328488" sldId="450"/>
            <ac:spMk id="5" creationId="{B23D23F6-EAA1-C1CC-4EAD-63DE62A28506}"/>
          </ac:spMkLst>
        </pc:spChg>
        <pc:spChg chg="add mod">
          <ac:chgData name="Annemarija Apine (LV)" userId="546f5c59-3b8d-47fd-b739-a8fadc631053" providerId="ADAL" clId="{34473802-5904-426F-ADDF-0D0D1B44876C}" dt="2024-03-10T23:34:56.039" v="9375" actId="20577"/>
          <ac:spMkLst>
            <pc:docMk/>
            <pc:sldMk cId="399328488" sldId="450"/>
            <ac:spMk id="6" creationId="{C921EC8E-0465-7791-299D-694BBCA764E9}"/>
          </ac:spMkLst>
        </pc:spChg>
        <pc:spChg chg="add mod">
          <ac:chgData name="Annemarija Apine (LV)" userId="546f5c59-3b8d-47fd-b739-a8fadc631053" providerId="ADAL" clId="{34473802-5904-426F-ADDF-0D0D1B44876C}" dt="2024-02-29T08:18:29.587" v="4506" actId="20577"/>
          <ac:spMkLst>
            <pc:docMk/>
            <pc:sldMk cId="399328488" sldId="450"/>
            <ac:spMk id="7" creationId="{11B054F7-BD3F-CC04-8F9A-A47566ADA21E}"/>
          </ac:spMkLst>
        </pc:spChg>
        <pc:spChg chg="add mod">
          <ac:chgData name="Annemarija Apine (LV)" userId="546f5c59-3b8d-47fd-b739-a8fadc631053" providerId="ADAL" clId="{34473802-5904-426F-ADDF-0D0D1B44876C}" dt="2024-03-10T23:34:36.593" v="9367" actId="207"/>
          <ac:spMkLst>
            <pc:docMk/>
            <pc:sldMk cId="399328488" sldId="450"/>
            <ac:spMk id="7" creationId="{342010C7-05ED-A506-BB45-990074298A60}"/>
          </ac:spMkLst>
        </pc:spChg>
        <pc:spChg chg="add mod">
          <ac:chgData name="Annemarija Apine (LV)" userId="546f5c59-3b8d-47fd-b739-a8fadc631053" providerId="ADAL" clId="{34473802-5904-426F-ADDF-0D0D1B44876C}" dt="2024-03-10T23:35:36.607" v="9501" actId="207"/>
          <ac:spMkLst>
            <pc:docMk/>
            <pc:sldMk cId="399328488" sldId="450"/>
            <ac:spMk id="8" creationId="{8CC35DE3-4BB1-6CC3-3075-F8F54B9BCE23}"/>
          </ac:spMkLst>
        </pc:spChg>
        <pc:spChg chg="add del mod">
          <ac:chgData name="Annemarija Apine (LV)" userId="546f5c59-3b8d-47fd-b739-a8fadc631053" providerId="ADAL" clId="{34473802-5904-426F-ADDF-0D0D1B44876C}" dt="2024-02-29T08:18:34.514" v="4508" actId="478"/>
          <ac:spMkLst>
            <pc:docMk/>
            <pc:sldMk cId="399328488" sldId="450"/>
            <ac:spMk id="8" creationId="{A2A4EF95-EBC5-2113-75C0-757B07E343F3}"/>
          </ac:spMkLst>
        </pc:spChg>
        <pc:spChg chg="add del mod">
          <ac:chgData name="Annemarija Apine (LV)" userId="546f5c59-3b8d-47fd-b739-a8fadc631053" providerId="ADAL" clId="{34473802-5904-426F-ADDF-0D0D1B44876C}" dt="2024-02-29T08:18:34.103" v="4507" actId="478"/>
          <ac:spMkLst>
            <pc:docMk/>
            <pc:sldMk cId="399328488" sldId="450"/>
            <ac:spMk id="9" creationId="{8A75DB60-66FB-2F24-092E-9D81D3271877}"/>
          </ac:spMkLst>
        </pc:spChg>
        <pc:spChg chg="add mod">
          <ac:chgData name="Annemarija Apine (LV)" userId="546f5c59-3b8d-47fd-b739-a8fadc631053" providerId="ADAL" clId="{34473802-5904-426F-ADDF-0D0D1B44876C}" dt="2024-02-29T08:19:15.620" v="4671" actId="20577"/>
          <ac:spMkLst>
            <pc:docMk/>
            <pc:sldMk cId="399328488" sldId="450"/>
            <ac:spMk id="10" creationId="{9289F6C4-FC0B-0E3A-DAD4-24B0CD0E3DD5}"/>
          </ac:spMkLst>
        </pc:spChg>
        <pc:spChg chg="add mod">
          <ac:chgData name="Annemarija Apine (LV)" userId="546f5c59-3b8d-47fd-b739-a8fadc631053" providerId="ADAL" clId="{34473802-5904-426F-ADDF-0D0D1B44876C}" dt="2024-02-26T14:51:27.706" v="2668" actId="1076"/>
          <ac:spMkLst>
            <pc:docMk/>
            <pc:sldMk cId="399328488" sldId="450"/>
            <ac:spMk id="12" creationId="{5BA3FC79-5B8F-4417-8615-05D13DBFFB22}"/>
          </ac:spMkLst>
        </pc:spChg>
        <pc:spChg chg="add del mod">
          <ac:chgData name="Annemarija Apine (LV)" userId="546f5c59-3b8d-47fd-b739-a8fadc631053" providerId="ADAL" clId="{34473802-5904-426F-ADDF-0D0D1B44876C}" dt="2024-02-28T12:06:09.769" v="4318" actId="478"/>
          <ac:spMkLst>
            <pc:docMk/>
            <pc:sldMk cId="399328488" sldId="450"/>
            <ac:spMk id="13" creationId="{EAE99B63-9C1C-3E70-28F5-951424E6CEA1}"/>
          </ac:spMkLst>
        </pc:spChg>
        <pc:spChg chg="mod">
          <ac:chgData name="Annemarija Apine (LV)" userId="546f5c59-3b8d-47fd-b739-a8fadc631053" providerId="ADAL" clId="{34473802-5904-426F-ADDF-0D0D1B44876C}" dt="2024-03-11T14:15:20.417" v="10097" actId="207"/>
          <ac:spMkLst>
            <pc:docMk/>
            <pc:sldMk cId="399328488" sldId="450"/>
            <ac:spMk id="43" creationId="{E8E63795-2ECA-7132-F643-55B4A59C7A85}"/>
          </ac:spMkLst>
        </pc:spChg>
        <pc:extLst>
          <p:ext xmlns:p="http://schemas.openxmlformats.org/presentationml/2006/main" uri="{D6D511B9-2390-475A-947B-AFAB55BFBCF1}">
            <pc226:cmChg xmlns:pc226="http://schemas.microsoft.com/office/powerpoint/2022/06/main/command" chg="add del">
              <pc226:chgData name="Annemarija Apine (LV)" userId="546f5c59-3b8d-47fd-b739-a8fadc631053" providerId="ADAL" clId="{34473802-5904-426F-ADDF-0D0D1B44876C}" dt="2024-03-04T08:57:00.021" v="7475"/>
              <pc2:cmMkLst xmlns:pc2="http://schemas.microsoft.com/office/powerpoint/2019/9/main/command">
                <pc:docMk/>
                <pc:sldMk cId="399328488" sldId="450"/>
                <pc2:cmMk id="{1D6BFC9B-A326-4BBA-B513-DC7D70D6C01F}"/>
              </pc2:cmMkLst>
            </pc226:cmChg>
            <pc226:cmChg xmlns:pc226="http://schemas.microsoft.com/office/powerpoint/2022/06/main/command" chg="add del">
              <pc226:chgData name="Annemarija Apine (LV)" userId="546f5c59-3b8d-47fd-b739-a8fadc631053" providerId="ADAL" clId="{34473802-5904-426F-ADDF-0D0D1B44876C}" dt="2024-02-29T08:19:40.119" v="4680"/>
              <pc2:cmMkLst xmlns:pc2="http://schemas.microsoft.com/office/powerpoint/2019/9/main/command">
                <pc:docMk/>
                <pc:sldMk cId="399328488" sldId="450"/>
                <pc2:cmMk id="{F8BA90F7-D6F4-48EE-916F-231420625647}"/>
              </pc2:cmMkLst>
            </pc226:cmChg>
          </p:ext>
        </pc:extLst>
      </pc:sldChg>
      <pc:sldChg chg="addSp delSp modSp add mod">
        <pc:chgData name="Annemarija Apine (LV)" userId="546f5c59-3b8d-47fd-b739-a8fadc631053" providerId="ADAL" clId="{34473802-5904-426F-ADDF-0D0D1B44876C}" dt="2024-03-10T23:28:03.384" v="9308" actId="20577"/>
        <pc:sldMkLst>
          <pc:docMk/>
          <pc:sldMk cId="192098022" sldId="769"/>
        </pc:sldMkLst>
        <pc:spChg chg="add mod">
          <ac:chgData name="Annemarija Apine (LV)" userId="546f5c59-3b8d-47fd-b739-a8fadc631053" providerId="ADAL" clId="{34473802-5904-426F-ADDF-0D0D1B44876C}" dt="2024-03-10T23:28:03.384" v="9308" actId="20577"/>
          <ac:spMkLst>
            <pc:docMk/>
            <pc:sldMk cId="192098022" sldId="769"/>
            <ac:spMk id="3" creationId="{490C57A7-69EE-C28F-972B-2E8CBABC00B6}"/>
          </ac:spMkLst>
        </pc:spChg>
        <pc:spChg chg="mod">
          <ac:chgData name="Annemarija Apine (LV)" userId="546f5c59-3b8d-47fd-b739-a8fadc631053" providerId="ADAL" clId="{34473802-5904-426F-ADDF-0D0D1B44876C}" dt="2024-03-08T13:33:19.871" v="9206" actId="12"/>
          <ac:spMkLst>
            <pc:docMk/>
            <pc:sldMk cId="192098022" sldId="769"/>
            <ac:spMk id="6" creationId="{2CB3F9F5-858C-1D21-4D13-EAEDABE2E74A}"/>
          </ac:spMkLst>
        </pc:spChg>
        <pc:spChg chg="mod">
          <ac:chgData name="Annemarija Apine (LV)" userId="546f5c59-3b8d-47fd-b739-a8fadc631053" providerId="ADAL" clId="{34473802-5904-426F-ADDF-0D0D1B44876C}" dt="2024-03-08T14:02:18.111" v="9231" actId="1076"/>
          <ac:spMkLst>
            <pc:docMk/>
            <pc:sldMk cId="192098022" sldId="769"/>
            <ac:spMk id="8" creationId="{B6BFA0E2-7135-FFE5-3283-2EDC43146D38}"/>
          </ac:spMkLst>
        </pc:spChg>
        <pc:spChg chg="del">
          <ac:chgData name="Annemarija Apine (LV)" userId="546f5c59-3b8d-47fd-b739-a8fadc631053" providerId="ADAL" clId="{34473802-5904-426F-ADDF-0D0D1B44876C}" dt="2024-03-08T14:02:14.394" v="9229" actId="478"/>
          <ac:spMkLst>
            <pc:docMk/>
            <pc:sldMk cId="192098022" sldId="769"/>
            <ac:spMk id="24" creationId="{19F3A3EA-1A15-1B4C-8DCB-26EE245E8AFC}"/>
          </ac:spMkLst>
        </pc:spChg>
        <pc:spChg chg="mod">
          <ac:chgData name="Annemarija Apine (LV)" userId="546f5c59-3b8d-47fd-b739-a8fadc631053" providerId="ADAL" clId="{34473802-5904-426F-ADDF-0D0D1B44876C}" dt="2024-03-08T14:02:26.276" v="9232" actId="1076"/>
          <ac:spMkLst>
            <pc:docMk/>
            <pc:sldMk cId="192098022" sldId="769"/>
            <ac:spMk id="25" creationId="{014F40D3-F5E9-404A-8FA7-2C2BFB358B3B}"/>
          </ac:spMkLst>
        </pc:spChg>
      </pc:sldChg>
      <pc:sldChg chg="add mod modShow">
        <pc:chgData name="Annemarija Apine (LV)" userId="546f5c59-3b8d-47fd-b739-a8fadc631053" providerId="ADAL" clId="{34473802-5904-426F-ADDF-0D0D1B44876C}" dt="2024-02-25T22:07:23.984" v="282" actId="729"/>
        <pc:sldMkLst>
          <pc:docMk/>
          <pc:sldMk cId="4246915437" sldId="898"/>
        </pc:sldMkLst>
      </pc:sldChg>
      <pc:sldChg chg="addSp delSp modSp new mod">
        <pc:chgData name="Annemarija Apine (LV)" userId="546f5c59-3b8d-47fd-b739-a8fadc631053" providerId="ADAL" clId="{34473802-5904-426F-ADDF-0D0D1B44876C}" dt="2024-03-10T23:45:26.533" v="9803" actId="5793"/>
        <pc:sldMkLst>
          <pc:docMk/>
          <pc:sldMk cId="2067837237" sldId="899"/>
        </pc:sldMkLst>
        <pc:spChg chg="del">
          <ac:chgData name="Annemarija Apine (LV)" userId="546f5c59-3b8d-47fd-b739-a8fadc631053" providerId="ADAL" clId="{34473802-5904-426F-ADDF-0D0D1B44876C}" dt="2024-02-25T22:10:40.156" v="389" actId="478"/>
          <ac:spMkLst>
            <pc:docMk/>
            <pc:sldMk cId="2067837237" sldId="899"/>
            <ac:spMk id="2" creationId="{6498EE45-A675-E52B-5A4D-9DA7AA8ADA85}"/>
          </ac:spMkLst>
        </pc:spChg>
        <pc:spChg chg="add mod">
          <ac:chgData name="Annemarija Apine (LV)" userId="546f5c59-3b8d-47fd-b739-a8fadc631053" providerId="ADAL" clId="{34473802-5904-426F-ADDF-0D0D1B44876C}" dt="2024-03-10T23:43:33.163" v="9762" actId="20577"/>
          <ac:spMkLst>
            <pc:docMk/>
            <pc:sldMk cId="2067837237" sldId="899"/>
            <ac:spMk id="2" creationId="{8F721146-0146-6364-6B84-91ADE6C70333}"/>
          </ac:spMkLst>
        </pc:spChg>
        <pc:spChg chg="mod">
          <ac:chgData name="Annemarija Apine (LV)" userId="546f5c59-3b8d-47fd-b739-a8fadc631053" providerId="ADAL" clId="{34473802-5904-426F-ADDF-0D0D1B44876C}" dt="2024-03-10T23:44:37.919" v="9775" actId="20577"/>
          <ac:spMkLst>
            <pc:docMk/>
            <pc:sldMk cId="2067837237" sldId="899"/>
            <ac:spMk id="3" creationId="{02A7C9EB-E60F-E4DD-7BE8-A36BF399BA1F}"/>
          </ac:spMkLst>
        </pc:spChg>
        <pc:spChg chg="add mod">
          <ac:chgData name="Annemarija Apine (LV)" userId="546f5c59-3b8d-47fd-b739-a8fadc631053" providerId="ADAL" clId="{34473802-5904-426F-ADDF-0D0D1B44876C}" dt="2024-03-10T23:42:53.690" v="9663" actId="1035"/>
          <ac:spMkLst>
            <pc:docMk/>
            <pc:sldMk cId="2067837237" sldId="899"/>
            <ac:spMk id="5" creationId="{89790A45-B1C9-916E-308B-ECFC34CCA5A7}"/>
          </ac:spMkLst>
        </pc:spChg>
        <pc:spChg chg="add mod">
          <ac:chgData name="Annemarija Apine (LV)" userId="546f5c59-3b8d-47fd-b739-a8fadc631053" providerId="ADAL" clId="{34473802-5904-426F-ADDF-0D0D1B44876C}" dt="2024-03-10T23:42:53.690" v="9663" actId="1035"/>
          <ac:spMkLst>
            <pc:docMk/>
            <pc:sldMk cId="2067837237" sldId="899"/>
            <ac:spMk id="6" creationId="{F1495032-8CCE-D7E1-A57E-AAA5D0489493}"/>
          </ac:spMkLst>
        </pc:spChg>
        <pc:spChg chg="add del mod">
          <ac:chgData name="Annemarija Apine (LV)" userId="546f5c59-3b8d-47fd-b739-a8fadc631053" providerId="ADAL" clId="{34473802-5904-426F-ADDF-0D0D1B44876C}" dt="2024-02-25T22:12:32.581" v="472" actId="478"/>
          <ac:spMkLst>
            <pc:docMk/>
            <pc:sldMk cId="2067837237" sldId="899"/>
            <ac:spMk id="8" creationId="{F89DB002-0985-6D45-D76D-0152BE295B37}"/>
          </ac:spMkLst>
        </pc:spChg>
        <pc:spChg chg="add mod">
          <ac:chgData name="Annemarija Apine (LV)" userId="546f5c59-3b8d-47fd-b739-a8fadc631053" providerId="ADAL" clId="{34473802-5904-426F-ADDF-0D0D1B44876C}" dt="2024-03-10T23:42:38.577" v="9583" actId="1036"/>
          <ac:spMkLst>
            <pc:docMk/>
            <pc:sldMk cId="2067837237" sldId="899"/>
            <ac:spMk id="9" creationId="{4410BDA3-C70D-09A4-DA6C-34323C7C12E7}"/>
          </ac:spMkLst>
        </pc:spChg>
        <pc:spChg chg="add mod">
          <ac:chgData name="Annemarija Apine (LV)" userId="546f5c59-3b8d-47fd-b739-a8fadc631053" providerId="ADAL" clId="{34473802-5904-426F-ADDF-0D0D1B44876C}" dt="2024-03-10T23:42:38.577" v="9583" actId="1036"/>
          <ac:spMkLst>
            <pc:docMk/>
            <pc:sldMk cId="2067837237" sldId="899"/>
            <ac:spMk id="10" creationId="{62B42245-DA42-CBD7-0584-79D1BE955F34}"/>
          </ac:spMkLst>
        </pc:spChg>
        <pc:spChg chg="add mod">
          <ac:chgData name="Annemarija Apine (LV)" userId="546f5c59-3b8d-47fd-b739-a8fadc631053" providerId="ADAL" clId="{34473802-5904-426F-ADDF-0D0D1B44876C}" dt="2024-03-10T23:42:38.577" v="9583" actId="1036"/>
          <ac:spMkLst>
            <pc:docMk/>
            <pc:sldMk cId="2067837237" sldId="899"/>
            <ac:spMk id="11" creationId="{966F4E94-42AF-8C4C-9F85-A34218079A7B}"/>
          </ac:spMkLst>
        </pc:spChg>
        <pc:spChg chg="mod">
          <ac:chgData name="Annemarija Apine (LV)" userId="546f5c59-3b8d-47fd-b739-a8fadc631053" providerId="ADAL" clId="{34473802-5904-426F-ADDF-0D0D1B44876C}" dt="2024-03-04T11:52:08.004" v="8773"/>
          <ac:spMkLst>
            <pc:docMk/>
            <pc:sldMk cId="2067837237" sldId="899"/>
            <ac:spMk id="12" creationId="{59570E3C-8765-A94C-7261-D36E33888E65}"/>
          </ac:spMkLst>
        </pc:spChg>
        <pc:spChg chg="mod">
          <ac:chgData name="Annemarija Apine (LV)" userId="546f5c59-3b8d-47fd-b739-a8fadc631053" providerId="ADAL" clId="{34473802-5904-426F-ADDF-0D0D1B44876C}" dt="2024-03-04T11:52:08.004" v="8773"/>
          <ac:spMkLst>
            <pc:docMk/>
            <pc:sldMk cId="2067837237" sldId="899"/>
            <ac:spMk id="13" creationId="{4647954E-59DB-A280-1B10-8EDB944564FD}"/>
          </ac:spMkLst>
        </pc:spChg>
        <pc:spChg chg="add del">
          <ac:chgData name="Annemarija Apine (LV)" userId="546f5c59-3b8d-47fd-b739-a8fadc631053" providerId="ADAL" clId="{34473802-5904-426F-ADDF-0D0D1B44876C}" dt="2024-02-25T22:11:40.152" v="455" actId="22"/>
          <ac:spMkLst>
            <pc:docMk/>
            <pc:sldMk cId="2067837237" sldId="899"/>
            <ac:spMk id="13" creationId="{B2848C25-D987-838F-6E82-74E667B7D6C6}"/>
          </ac:spMkLst>
        </pc:spChg>
        <pc:spChg chg="add mod">
          <ac:chgData name="Annemarija Apine (LV)" userId="546f5c59-3b8d-47fd-b739-a8fadc631053" providerId="ADAL" clId="{34473802-5904-426F-ADDF-0D0D1B44876C}" dt="2024-03-10T23:42:38.577" v="9583" actId="1036"/>
          <ac:spMkLst>
            <pc:docMk/>
            <pc:sldMk cId="2067837237" sldId="899"/>
            <ac:spMk id="14" creationId="{C12F4A68-0A98-B4BF-1D5E-5B0917DB284B}"/>
          </ac:spMkLst>
        </pc:spChg>
        <pc:spChg chg="add mod">
          <ac:chgData name="Annemarija Apine (LV)" userId="546f5c59-3b8d-47fd-b739-a8fadc631053" providerId="ADAL" clId="{34473802-5904-426F-ADDF-0D0D1B44876C}" dt="2024-03-10T23:42:38.577" v="9583" actId="1036"/>
          <ac:spMkLst>
            <pc:docMk/>
            <pc:sldMk cId="2067837237" sldId="899"/>
            <ac:spMk id="15" creationId="{18CF1D23-C8C0-7311-A610-9559FB968B61}"/>
          </ac:spMkLst>
        </pc:spChg>
        <pc:spChg chg="add del mod">
          <ac:chgData name="Annemarija Apine (LV)" userId="546f5c59-3b8d-47fd-b739-a8fadc631053" providerId="ADAL" clId="{34473802-5904-426F-ADDF-0D0D1B44876C}" dt="2024-02-25T22:12:44.369" v="475"/>
          <ac:spMkLst>
            <pc:docMk/>
            <pc:sldMk cId="2067837237" sldId="899"/>
            <ac:spMk id="16" creationId="{6F86A9AC-7955-AF92-9DC9-B0075111ECED}"/>
          </ac:spMkLst>
        </pc:spChg>
        <pc:spChg chg="mod">
          <ac:chgData name="Annemarija Apine (LV)" userId="546f5c59-3b8d-47fd-b739-a8fadc631053" providerId="ADAL" clId="{34473802-5904-426F-ADDF-0D0D1B44876C}" dt="2024-03-04T11:52:08.004" v="8773"/>
          <ac:spMkLst>
            <pc:docMk/>
            <pc:sldMk cId="2067837237" sldId="899"/>
            <ac:spMk id="16" creationId="{F29F4A2F-451A-F99B-EB5A-0D60FA5C2C8A}"/>
          </ac:spMkLst>
        </pc:spChg>
        <pc:spChg chg="mod">
          <ac:chgData name="Annemarija Apine (LV)" userId="546f5c59-3b8d-47fd-b739-a8fadc631053" providerId="ADAL" clId="{34473802-5904-426F-ADDF-0D0D1B44876C}" dt="2024-03-04T11:52:08.004" v="8773"/>
          <ac:spMkLst>
            <pc:docMk/>
            <pc:sldMk cId="2067837237" sldId="899"/>
            <ac:spMk id="17" creationId="{0AA97745-27DF-35EE-F202-D55C2D9DB2C7}"/>
          </ac:spMkLst>
        </pc:spChg>
        <pc:spChg chg="add del mod">
          <ac:chgData name="Annemarija Apine (LV)" userId="546f5c59-3b8d-47fd-b739-a8fadc631053" providerId="ADAL" clId="{34473802-5904-426F-ADDF-0D0D1B44876C}" dt="2024-02-25T22:12:44.369" v="475"/>
          <ac:spMkLst>
            <pc:docMk/>
            <pc:sldMk cId="2067837237" sldId="899"/>
            <ac:spMk id="17" creationId="{97D4E144-978B-72E5-7168-D81E19B4F69C}"/>
          </ac:spMkLst>
        </pc:spChg>
        <pc:spChg chg="mod">
          <ac:chgData name="Annemarija Apine (LV)" userId="546f5c59-3b8d-47fd-b739-a8fadc631053" providerId="ADAL" clId="{34473802-5904-426F-ADDF-0D0D1B44876C}" dt="2024-03-04T11:52:08.004" v="8773"/>
          <ac:spMkLst>
            <pc:docMk/>
            <pc:sldMk cId="2067837237" sldId="899"/>
            <ac:spMk id="18" creationId="{064D3708-7E17-6041-2789-BF93A249F670}"/>
          </ac:spMkLst>
        </pc:spChg>
        <pc:spChg chg="add del mod">
          <ac:chgData name="Annemarija Apine (LV)" userId="546f5c59-3b8d-47fd-b739-a8fadc631053" providerId="ADAL" clId="{34473802-5904-426F-ADDF-0D0D1B44876C}" dt="2024-02-25T22:12:44.369" v="475"/>
          <ac:spMkLst>
            <pc:docMk/>
            <pc:sldMk cId="2067837237" sldId="899"/>
            <ac:spMk id="18" creationId="{8883BCBC-0329-47A6-C2D3-2D61D01025F2}"/>
          </ac:spMkLst>
        </pc:spChg>
        <pc:spChg chg="add del mod">
          <ac:chgData name="Annemarija Apine (LV)" userId="546f5c59-3b8d-47fd-b739-a8fadc631053" providerId="ADAL" clId="{34473802-5904-426F-ADDF-0D0D1B44876C}" dt="2024-02-25T22:12:44.369" v="475"/>
          <ac:spMkLst>
            <pc:docMk/>
            <pc:sldMk cId="2067837237" sldId="899"/>
            <ac:spMk id="19" creationId="{26BAB468-E2F8-DC4E-EAF8-0768E726D270}"/>
          </ac:spMkLst>
        </pc:spChg>
        <pc:spChg chg="add del mod">
          <ac:chgData name="Annemarija Apine (LV)" userId="546f5c59-3b8d-47fd-b739-a8fadc631053" providerId="ADAL" clId="{34473802-5904-426F-ADDF-0D0D1B44876C}" dt="2024-02-25T22:12:44.369" v="475"/>
          <ac:spMkLst>
            <pc:docMk/>
            <pc:sldMk cId="2067837237" sldId="899"/>
            <ac:spMk id="20" creationId="{1FE3CD6B-D6CD-8482-1DB4-0B19C4145511}"/>
          </ac:spMkLst>
        </pc:spChg>
        <pc:spChg chg="mod">
          <ac:chgData name="Annemarija Apine (LV)" userId="546f5c59-3b8d-47fd-b739-a8fadc631053" providerId="ADAL" clId="{34473802-5904-426F-ADDF-0D0D1B44876C}" dt="2024-03-10T23:45:13.993" v="9781" actId="5793"/>
          <ac:spMkLst>
            <pc:docMk/>
            <pc:sldMk cId="2067837237" sldId="899"/>
            <ac:spMk id="20" creationId="{5FE60873-156A-58E0-91C4-D2678DCF6C33}"/>
          </ac:spMkLst>
        </pc:spChg>
        <pc:spChg chg="add mod">
          <ac:chgData name="Annemarija Apine (LV)" userId="546f5c59-3b8d-47fd-b739-a8fadc631053" providerId="ADAL" clId="{34473802-5904-426F-ADDF-0D0D1B44876C}" dt="2024-02-25T22:14:46.765" v="541" actId="208"/>
          <ac:spMkLst>
            <pc:docMk/>
            <pc:sldMk cId="2067837237" sldId="899"/>
            <ac:spMk id="21" creationId="{7AE0AAE5-4EC9-DD53-56C2-33377686F8EF}"/>
          </ac:spMkLst>
        </pc:spChg>
        <pc:spChg chg="add mod">
          <ac:chgData name="Annemarija Apine (LV)" userId="546f5c59-3b8d-47fd-b739-a8fadc631053" providerId="ADAL" clId="{34473802-5904-426F-ADDF-0D0D1B44876C}" dt="2024-02-25T22:14:46.765" v="541" actId="208"/>
          <ac:spMkLst>
            <pc:docMk/>
            <pc:sldMk cId="2067837237" sldId="899"/>
            <ac:spMk id="22" creationId="{EC93622C-265E-D387-2605-AE4A4548EFAD}"/>
          </ac:spMkLst>
        </pc:spChg>
        <pc:spChg chg="add mod">
          <ac:chgData name="Annemarija Apine (LV)" userId="546f5c59-3b8d-47fd-b739-a8fadc631053" providerId="ADAL" clId="{34473802-5904-426F-ADDF-0D0D1B44876C}" dt="2024-02-25T22:14:46.765" v="541" actId="208"/>
          <ac:spMkLst>
            <pc:docMk/>
            <pc:sldMk cId="2067837237" sldId="899"/>
            <ac:spMk id="23" creationId="{1B89C6A7-D4E1-CA3E-6BF6-16634CCB8552}"/>
          </ac:spMkLst>
        </pc:spChg>
        <pc:spChg chg="add mod">
          <ac:chgData name="Annemarija Apine (LV)" userId="546f5c59-3b8d-47fd-b739-a8fadc631053" providerId="ADAL" clId="{34473802-5904-426F-ADDF-0D0D1B44876C}" dt="2024-02-25T22:14:46.765" v="541" actId="208"/>
          <ac:spMkLst>
            <pc:docMk/>
            <pc:sldMk cId="2067837237" sldId="899"/>
            <ac:spMk id="24" creationId="{5FEC99C6-C046-6B8B-B626-B348A583E386}"/>
          </ac:spMkLst>
        </pc:spChg>
        <pc:spChg chg="add mod">
          <ac:chgData name="Annemarija Apine (LV)" userId="546f5c59-3b8d-47fd-b739-a8fadc631053" providerId="ADAL" clId="{34473802-5904-426F-ADDF-0D0D1B44876C}" dt="2024-02-25T22:14:46.765" v="541" actId="208"/>
          <ac:spMkLst>
            <pc:docMk/>
            <pc:sldMk cId="2067837237" sldId="899"/>
            <ac:spMk id="25" creationId="{E3A1C324-4553-CB6A-8B81-8B007C858F90}"/>
          </ac:spMkLst>
        </pc:spChg>
        <pc:spChg chg="add del mod">
          <ac:chgData name="Annemarija Apine (LV)" userId="546f5c59-3b8d-47fd-b739-a8fadc631053" providerId="ADAL" clId="{34473802-5904-426F-ADDF-0D0D1B44876C}" dt="2024-02-25T22:13:38.487" v="493" actId="478"/>
          <ac:spMkLst>
            <pc:docMk/>
            <pc:sldMk cId="2067837237" sldId="899"/>
            <ac:spMk id="26" creationId="{340CF34B-5228-9A8D-D75D-09380F9B077B}"/>
          </ac:spMkLst>
        </pc:spChg>
        <pc:spChg chg="add">
          <ac:chgData name="Annemarija Apine (LV)" userId="546f5c59-3b8d-47fd-b739-a8fadc631053" providerId="ADAL" clId="{34473802-5904-426F-ADDF-0D0D1B44876C}" dt="2024-02-25T22:13:47.946" v="494" actId="11529"/>
          <ac:spMkLst>
            <pc:docMk/>
            <pc:sldMk cId="2067837237" sldId="899"/>
            <ac:spMk id="27" creationId="{8ED5A468-3446-C52F-684C-4DAFAC567CBD}"/>
          </ac:spMkLst>
        </pc:spChg>
        <pc:spChg chg="add mod">
          <ac:chgData name="Annemarija Apine (LV)" userId="546f5c59-3b8d-47fd-b739-a8fadc631053" providerId="ADAL" clId="{34473802-5904-426F-ADDF-0D0D1B44876C}" dt="2024-02-25T22:13:52.729" v="496" actId="1076"/>
          <ac:spMkLst>
            <pc:docMk/>
            <pc:sldMk cId="2067837237" sldId="899"/>
            <ac:spMk id="28" creationId="{4D83F920-03F2-22B6-3A4C-F3510C600538}"/>
          </ac:spMkLst>
        </pc:spChg>
        <pc:spChg chg="add mod">
          <ac:chgData name="Annemarija Apine (LV)" userId="546f5c59-3b8d-47fd-b739-a8fadc631053" providerId="ADAL" clId="{34473802-5904-426F-ADDF-0D0D1B44876C}" dt="2024-02-25T22:13:58.378" v="511" actId="1037"/>
          <ac:spMkLst>
            <pc:docMk/>
            <pc:sldMk cId="2067837237" sldId="899"/>
            <ac:spMk id="29" creationId="{A36EBB3A-5319-594E-ADF6-54CF90574679}"/>
          </ac:spMkLst>
        </pc:spChg>
        <pc:spChg chg="add mod">
          <ac:chgData name="Annemarija Apine (LV)" userId="546f5c59-3b8d-47fd-b739-a8fadc631053" providerId="ADAL" clId="{34473802-5904-426F-ADDF-0D0D1B44876C}" dt="2024-02-25T22:13:56.154" v="506" actId="1037"/>
          <ac:spMkLst>
            <pc:docMk/>
            <pc:sldMk cId="2067837237" sldId="899"/>
            <ac:spMk id="30" creationId="{0E5402E0-269A-92B5-BC8D-30D2207F23A4}"/>
          </ac:spMkLst>
        </pc:spChg>
        <pc:spChg chg="add mod">
          <ac:chgData name="Annemarija Apine (LV)" userId="546f5c59-3b8d-47fd-b739-a8fadc631053" providerId="ADAL" clId="{34473802-5904-426F-ADDF-0D0D1B44876C}" dt="2024-02-25T22:14:13.413" v="522" actId="1076"/>
          <ac:spMkLst>
            <pc:docMk/>
            <pc:sldMk cId="2067837237" sldId="899"/>
            <ac:spMk id="31" creationId="{873D60D4-E5D9-76E3-AEF9-264F4B971AF2}"/>
          </ac:spMkLst>
        </pc:spChg>
        <pc:spChg chg="add mod">
          <ac:chgData name="Annemarija Apine (LV)" userId="546f5c59-3b8d-47fd-b739-a8fadc631053" providerId="ADAL" clId="{34473802-5904-426F-ADDF-0D0D1B44876C}" dt="2024-02-25T22:14:18.365" v="528" actId="20577"/>
          <ac:spMkLst>
            <pc:docMk/>
            <pc:sldMk cId="2067837237" sldId="899"/>
            <ac:spMk id="32" creationId="{828F63E3-7455-B74D-F267-F3ABBA37707E}"/>
          </ac:spMkLst>
        </pc:spChg>
        <pc:spChg chg="add mod">
          <ac:chgData name="Annemarija Apine (LV)" userId="546f5c59-3b8d-47fd-b739-a8fadc631053" providerId="ADAL" clId="{34473802-5904-426F-ADDF-0D0D1B44876C}" dt="2024-02-25T22:14:23.795" v="532" actId="20577"/>
          <ac:spMkLst>
            <pc:docMk/>
            <pc:sldMk cId="2067837237" sldId="899"/>
            <ac:spMk id="33" creationId="{5F327F10-6150-0B2C-F4B7-AC6868A99C72}"/>
          </ac:spMkLst>
        </pc:spChg>
        <pc:spChg chg="add mod">
          <ac:chgData name="Annemarija Apine (LV)" userId="546f5c59-3b8d-47fd-b739-a8fadc631053" providerId="ADAL" clId="{34473802-5904-426F-ADDF-0D0D1B44876C}" dt="2024-02-25T22:14:29.653" v="536" actId="20577"/>
          <ac:spMkLst>
            <pc:docMk/>
            <pc:sldMk cId="2067837237" sldId="899"/>
            <ac:spMk id="34" creationId="{EA15E7A7-0EEE-9431-1144-1E3F177D6BC3}"/>
          </ac:spMkLst>
        </pc:spChg>
        <pc:spChg chg="add mod">
          <ac:chgData name="Annemarija Apine (LV)" userId="546f5c59-3b8d-47fd-b739-a8fadc631053" providerId="ADAL" clId="{34473802-5904-426F-ADDF-0D0D1B44876C}" dt="2024-02-25T22:14:34.821" v="540" actId="20577"/>
          <ac:spMkLst>
            <pc:docMk/>
            <pc:sldMk cId="2067837237" sldId="899"/>
            <ac:spMk id="35" creationId="{E26A329B-76CE-04FA-D6CD-A9A7093BE66A}"/>
          </ac:spMkLst>
        </pc:spChg>
        <pc:spChg chg="mod">
          <ac:chgData name="Annemarija Apine (LV)" userId="546f5c59-3b8d-47fd-b739-a8fadc631053" providerId="ADAL" clId="{34473802-5904-426F-ADDF-0D0D1B44876C}" dt="2024-03-10T23:45:20.567" v="9791" actId="20577"/>
          <ac:spMkLst>
            <pc:docMk/>
            <pc:sldMk cId="2067837237" sldId="899"/>
            <ac:spMk id="37" creationId="{B6DDB0A2-47C9-76F8-7A2C-69EB8DD17565}"/>
          </ac:spMkLst>
        </pc:spChg>
        <pc:spChg chg="mod">
          <ac:chgData name="Annemarija Apine (LV)" userId="546f5c59-3b8d-47fd-b739-a8fadc631053" providerId="ADAL" clId="{34473802-5904-426F-ADDF-0D0D1B44876C}" dt="2024-03-10T23:45:22.096" v="9795" actId="5793"/>
          <ac:spMkLst>
            <pc:docMk/>
            <pc:sldMk cId="2067837237" sldId="899"/>
            <ac:spMk id="40" creationId="{29BA4A71-B7C9-A424-C282-D4ED9B1216C9}"/>
          </ac:spMkLst>
        </pc:spChg>
        <pc:spChg chg="mod">
          <ac:chgData name="Annemarija Apine (LV)" userId="546f5c59-3b8d-47fd-b739-a8fadc631053" providerId="ADAL" clId="{34473802-5904-426F-ADDF-0D0D1B44876C}" dt="2024-03-10T23:45:24.318" v="9799" actId="5793"/>
          <ac:spMkLst>
            <pc:docMk/>
            <pc:sldMk cId="2067837237" sldId="899"/>
            <ac:spMk id="43" creationId="{A4C86A5D-5866-D51D-FE31-1FACF697AC6E}"/>
          </ac:spMkLst>
        </pc:spChg>
        <pc:spChg chg="mod">
          <ac:chgData name="Annemarija Apine (LV)" userId="546f5c59-3b8d-47fd-b739-a8fadc631053" providerId="ADAL" clId="{34473802-5904-426F-ADDF-0D0D1B44876C}" dt="2024-03-10T23:45:26.533" v="9803" actId="5793"/>
          <ac:spMkLst>
            <pc:docMk/>
            <pc:sldMk cId="2067837237" sldId="899"/>
            <ac:spMk id="46" creationId="{D68576F3-035C-863F-7882-50755D2DB247}"/>
          </ac:spMkLst>
        </pc:spChg>
        <pc:spChg chg="mod">
          <ac:chgData name="Annemarija Apine (LV)" userId="546f5c59-3b8d-47fd-b739-a8fadc631053" providerId="ADAL" clId="{34473802-5904-426F-ADDF-0D0D1B44876C}" dt="2024-03-04T11:52:08.004" v="8773"/>
          <ac:spMkLst>
            <pc:docMk/>
            <pc:sldMk cId="2067837237" sldId="899"/>
            <ac:spMk id="57" creationId="{3E9228D8-9AAE-DA69-2A08-E3C6CC255060}"/>
          </ac:spMkLst>
        </pc:spChg>
        <pc:grpChg chg="add del mod">
          <ac:chgData name="Annemarija Apine (LV)" userId="546f5c59-3b8d-47fd-b739-a8fadc631053" providerId="ADAL" clId="{34473802-5904-426F-ADDF-0D0D1B44876C}" dt="2024-03-04T11:52:25.006" v="8774"/>
          <ac:grpSpMkLst>
            <pc:docMk/>
            <pc:sldMk cId="2067837237" sldId="899"/>
            <ac:grpSpMk id="2" creationId="{88D4D4AA-CC41-971E-060A-2535507B505D}"/>
          </ac:grpSpMkLst>
        </pc:grpChg>
        <pc:cxnChg chg="mod">
          <ac:chgData name="Annemarija Apine (LV)" userId="546f5c59-3b8d-47fd-b739-a8fadc631053" providerId="ADAL" clId="{34473802-5904-426F-ADDF-0D0D1B44876C}" dt="2024-03-04T11:52:08.004" v="8773"/>
          <ac:cxnSpMkLst>
            <pc:docMk/>
            <pc:sldMk cId="2067837237" sldId="899"/>
            <ac:cxnSpMk id="8" creationId="{232A8111-9947-3825-F415-88095FFCC0BF}"/>
          </ac:cxnSpMkLst>
        </pc:cxnChg>
        <pc:cxnChg chg="add del mod">
          <ac:chgData name="Annemarija Apine (LV)" userId="546f5c59-3b8d-47fd-b739-a8fadc631053" providerId="ADAL" clId="{34473802-5904-426F-ADDF-0D0D1B44876C}" dt="2024-03-10T23:41:39.023" v="9549" actId="1035"/>
          <ac:cxnSpMkLst>
            <pc:docMk/>
            <pc:sldMk cId="2067837237" sldId="899"/>
            <ac:cxnSpMk id="58" creationId="{40D223D7-59FB-34E8-848D-B3340127E7BE}"/>
          </ac:cxnSpMkLst>
        </pc:cxnChg>
      </pc:sldChg>
      <pc:sldChg chg="addSp delSp modSp add mod addCm delCm">
        <pc:chgData name="Annemarija Apine (LV)" userId="546f5c59-3b8d-47fd-b739-a8fadc631053" providerId="ADAL" clId="{34473802-5904-426F-ADDF-0D0D1B44876C}" dt="2024-03-08T11:55:36.386" v="8945" actId="207"/>
        <pc:sldMkLst>
          <pc:docMk/>
          <pc:sldMk cId="1735191326" sldId="900"/>
        </pc:sldMkLst>
        <pc:spChg chg="add mod">
          <ac:chgData name="Annemarija Apine (LV)" userId="546f5c59-3b8d-47fd-b739-a8fadc631053" providerId="ADAL" clId="{34473802-5904-426F-ADDF-0D0D1B44876C}" dt="2024-03-04T11:50:55.152" v="8719" actId="1076"/>
          <ac:spMkLst>
            <pc:docMk/>
            <pc:sldMk cId="1735191326" sldId="900"/>
            <ac:spMk id="2" creationId="{C697EF02-3183-316C-47B1-AAA43503E885}"/>
          </ac:spMkLst>
        </pc:spChg>
        <pc:spChg chg="mod">
          <ac:chgData name="Annemarija Apine (LV)" userId="546f5c59-3b8d-47fd-b739-a8fadc631053" providerId="ADAL" clId="{34473802-5904-426F-ADDF-0D0D1B44876C}" dt="2024-02-25T22:16:29.838" v="563" actId="1076"/>
          <ac:spMkLst>
            <pc:docMk/>
            <pc:sldMk cId="1735191326" sldId="900"/>
            <ac:spMk id="3" creationId="{02A7C9EB-E60F-E4DD-7BE8-A36BF399BA1F}"/>
          </ac:spMkLst>
        </pc:spChg>
        <pc:spChg chg="add del mod">
          <ac:chgData name="Annemarija Apine (LV)" userId="546f5c59-3b8d-47fd-b739-a8fadc631053" providerId="ADAL" clId="{34473802-5904-426F-ADDF-0D0D1B44876C}" dt="2024-02-28T10:33:02.695" v="4300" actId="478"/>
          <ac:spMkLst>
            <pc:docMk/>
            <pc:sldMk cId="1735191326" sldId="900"/>
            <ac:spMk id="7" creationId="{E9F05862-4666-889F-45AF-4CC4550647A6}"/>
          </ac:spMkLst>
        </pc:spChg>
        <pc:spChg chg="add mod">
          <ac:chgData name="Annemarija Apine (LV)" userId="546f5c59-3b8d-47fd-b739-a8fadc631053" providerId="ADAL" clId="{34473802-5904-426F-ADDF-0D0D1B44876C}" dt="2024-02-29T08:20:08.072" v="4732" actId="207"/>
          <ac:spMkLst>
            <pc:docMk/>
            <pc:sldMk cId="1735191326" sldId="900"/>
            <ac:spMk id="8" creationId="{6780DFA8-A076-77AE-8C21-E7D9C3E8632C}"/>
          </ac:spMkLst>
        </pc:spChg>
        <pc:spChg chg="del">
          <ac:chgData name="Annemarija Apine (LV)" userId="546f5c59-3b8d-47fd-b739-a8fadc631053" providerId="ADAL" clId="{34473802-5904-426F-ADDF-0D0D1B44876C}" dt="2024-02-25T22:16:32.740" v="564" actId="478"/>
          <ac:spMkLst>
            <pc:docMk/>
            <pc:sldMk cId="1735191326" sldId="900"/>
            <ac:spMk id="9" creationId="{4410BDA3-C70D-09A4-DA6C-34323C7C12E7}"/>
          </ac:spMkLst>
        </pc:spChg>
        <pc:spChg chg="del">
          <ac:chgData name="Annemarija Apine (LV)" userId="546f5c59-3b8d-47fd-b739-a8fadc631053" providerId="ADAL" clId="{34473802-5904-426F-ADDF-0D0D1B44876C}" dt="2024-02-25T22:16:32.740" v="564" actId="478"/>
          <ac:spMkLst>
            <pc:docMk/>
            <pc:sldMk cId="1735191326" sldId="900"/>
            <ac:spMk id="10" creationId="{62B42245-DA42-CBD7-0584-79D1BE955F34}"/>
          </ac:spMkLst>
        </pc:spChg>
        <pc:spChg chg="add del mod">
          <ac:chgData name="Annemarija Apine (LV)" userId="546f5c59-3b8d-47fd-b739-a8fadc631053" providerId="ADAL" clId="{34473802-5904-426F-ADDF-0D0D1B44876C}" dt="2024-03-04T11:49:25.227" v="8700" actId="478"/>
          <ac:spMkLst>
            <pc:docMk/>
            <pc:sldMk cId="1735191326" sldId="900"/>
            <ac:spMk id="10" creationId="{7408BA9A-4A8C-4BE9-83EA-4BEC92CFB222}"/>
          </ac:spMkLst>
        </pc:spChg>
        <pc:spChg chg="del">
          <ac:chgData name="Annemarija Apine (LV)" userId="546f5c59-3b8d-47fd-b739-a8fadc631053" providerId="ADAL" clId="{34473802-5904-426F-ADDF-0D0D1B44876C}" dt="2024-02-25T22:16:32.740" v="564" actId="478"/>
          <ac:spMkLst>
            <pc:docMk/>
            <pc:sldMk cId="1735191326" sldId="900"/>
            <ac:spMk id="11" creationId="{966F4E94-42AF-8C4C-9F85-A34218079A7B}"/>
          </ac:spMkLst>
        </pc:spChg>
        <pc:spChg chg="del">
          <ac:chgData name="Annemarija Apine (LV)" userId="546f5c59-3b8d-47fd-b739-a8fadc631053" providerId="ADAL" clId="{34473802-5904-426F-ADDF-0D0D1B44876C}" dt="2024-02-25T22:16:32.740" v="564" actId="478"/>
          <ac:spMkLst>
            <pc:docMk/>
            <pc:sldMk cId="1735191326" sldId="900"/>
            <ac:spMk id="14" creationId="{C12F4A68-0A98-B4BF-1D5E-5B0917DB284B}"/>
          </ac:spMkLst>
        </pc:spChg>
        <pc:spChg chg="del">
          <ac:chgData name="Annemarija Apine (LV)" userId="546f5c59-3b8d-47fd-b739-a8fadc631053" providerId="ADAL" clId="{34473802-5904-426F-ADDF-0D0D1B44876C}" dt="2024-02-25T22:16:32.740" v="564" actId="478"/>
          <ac:spMkLst>
            <pc:docMk/>
            <pc:sldMk cId="1735191326" sldId="900"/>
            <ac:spMk id="15" creationId="{18CF1D23-C8C0-7311-A610-9559FB968B61}"/>
          </ac:spMkLst>
        </pc:spChg>
        <pc:spChg chg="mod">
          <ac:chgData name="Annemarija Apine (LV)" userId="546f5c59-3b8d-47fd-b739-a8fadc631053" providerId="ADAL" clId="{34473802-5904-426F-ADDF-0D0D1B44876C}" dt="2024-03-04T11:50:12.830" v="8714" actId="1035"/>
          <ac:spMkLst>
            <pc:docMk/>
            <pc:sldMk cId="1735191326" sldId="900"/>
            <ac:spMk id="16" creationId="{BA798A18-B6C9-5AD5-0309-542D9063F7F3}"/>
          </ac:spMkLst>
        </pc:spChg>
        <pc:spChg chg="mod">
          <ac:chgData name="Annemarija Apine (LV)" userId="546f5c59-3b8d-47fd-b739-a8fadc631053" providerId="ADAL" clId="{34473802-5904-426F-ADDF-0D0D1B44876C}" dt="2024-03-04T11:50:12.830" v="8714" actId="1035"/>
          <ac:spMkLst>
            <pc:docMk/>
            <pc:sldMk cId="1735191326" sldId="900"/>
            <ac:spMk id="17" creationId="{8151CA2C-8981-B68D-64B7-28A4A90DA327}"/>
          </ac:spMkLst>
        </pc:spChg>
        <pc:spChg chg="mod">
          <ac:chgData name="Annemarija Apine (LV)" userId="546f5c59-3b8d-47fd-b739-a8fadc631053" providerId="ADAL" clId="{34473802-5904-426F-ADDF-0D0D1B44876C}" dt="2024-02-25T22:16:13.820" v="560" actId="208"/>
          <ac:spMkLst>
            <pc:docMk/>
            <pc:sldMk cId="1735191326" sldId="900"/>
            <ac:spMk id="21" creationId="{7AE0AAE5-4EC9-DD53-56C2-33377686F8EF}"/>
          </ac:spMkLst>
        </pc:spChg>
        <pc:spChg chg="mod">
          <ac:chgData name="Annemarija Apine (LV)" userId="546f5c59-3b8d-47fd-b739-a8fadc631053" providerId="ADAL" clId="{34473802-5904-426F-ADDF-0D0D1B44876C}" dt="2024-02-25T22:15:59.233" v="558"/>
          <ac:spMkLst>
            <pc:docMk/>
            <pc:sldMk cId="1735191326" sldId="900"/>
            <ac:spMk id="22" creationId="{EC93622C-265E-D387-2605-AE4A4548EFAD}"/>
          </ac:spMkLst>
        </pc:spChg>
        <pc:spChg chg="mod">
          <ac:chgData name="Annemarija Apine (LV)" userId="546f5c59-3b8d-47fd-b739-a8fadc631053" providerId="ADAL" clId="{34473802-5904-426F-ADDF-0D0D1B44876C}" dt="2024-02-25T22:16:13.820" v="560" actId="208"/>
          <ac:spMkLst>
            <pc:docMk/>
            <pc:sldMk cId="1735191326" sldId="900"/>
            <ac:spMk id="23" creationId="{1B89C6A7-D4E1-CA3E-6BF6-16634CCB8552}"/>
          </ac:spMkLst>
        </pc:spChg>
        <pc:spChg chg="mod">
          <ac:chgData name="Annemarija Apine (LV)" userId="546f5c59-3b8d-47fd-b739-a8fadc631053" providerId="ADAL" clId="{34473802-5904-426F-ADDF-0D0D1B44876C}" dt="2024-02-25T22:16:13.820" v="560" actId="208"/>
          <ac:spMkLst>
            <pc:docMk/>
            <pc:sldMk cId="1735191326" sldId="900"/>
            <ac:spMk id="24" creationId="{5FEC99C6-C046-6B8B-B626-B348A583E386}"/>
          </ac:spMkLst>
        </pc:spChg>
        <pc:spChg chg="mod">
          <ac:chgData name="Annemarija Apine (LV)" userId="546f5c59-3b8d-47fd-b739-a8fadc631053" providerId="ADAL" clId="{34473802-5904-426F-ADDF-0D0D1B44876C}" dt="2024-02-25T22:16:01.836" v="559"/>
          <ac:spMkLst>
            <pc:docMk/>
            <pc:sldMk cId="1735191326" sldId="900"/>
            <ac:spMk id="25" creationId="{E3A1C324-4553-CB6A-8B81-8B007C858F90}"/>
          </ac:spMkLst>
        </pc:spChg>
        <pc:spChg chg="mod">
          <ac:chgData name="Annemarija Apine (LV)" userId="546f5c59-3b8d-47fd-b739-a8fadc631053" providerId="ADAL" clId="{34473802-5904-426F-ADDF-0D0D1B44876C}" dt="2024-03-04T11:50:12.830" v="8714" actId="1035"/>
          <ac:spMkLst>
            <pc:docMk/>
            <pc:sldMk cId="1735191326" sldId="900"/>
            <ac:spMk id="26" creationId="{65EC1BE1-13D8-345C-448E-BFA1A08ADD25}"/>
          </ac:spMkLst>
        </pc:spChg>
        <pc:spChg chg="mod">
          <ac:chgData name="Annemarija Apine (LV)" userId="546f5c59-3b8d-47fd-b739-a8fadc631053" providerId="ADAL" clId="{34473802-5904-426F-ADDF-0D0D1B44876C}" dt="2024-03-04T11:50:12.830" v="8714" actId="1035"/>
          <ac:spMkLst>
            <pc:docMk/>
            <pc:sldMk cId="1735191326" sldId="900"/>
            <ac:spMk id="30" creationId="{0E5402E0-269A-92B5-BC8D-30D2207F23A4}"/>
          </ac:spMkLst>
        </pc:spChg>
        <pc:spChg chg="mod">
          <ac:chgData name="Annemarija Apine (LV)" userId="546f5c59-3b8d-47fd-b739-a8fadc631053" providerId="ADAL" clId="{34473802-5904-426F-ADDF-0D0D1B44876C}" dt="2024-03-04T11:50:12.830" v="8714" actId="1035"/>
          <ac:spMkLst>
            <pc:docMk/>
            <pc:sldMk cId="1735191326" sldId="900"/>
            <ac:spMk id="38" creationId="{B3BF45B1-878A-6384-B57A-0E2DDAE87F72}"/>
          </ac:spMkLst>
        </pc:spChg>
        <pc:spChg chg="mod">
          <ac:chgData name="Annemarija Apine (LV)" userId="546f5c59-3b8d-47fd-b739-a8fadc631053" providerId="ADAL" clId="{34473802-5904-426F-ADDF-0D0D1B44876C}" dt="2024-03-04T11:50:12.830" v="8714" actId="1035"/>
          <ac:spMkLst>
            <pc:docMk/>
            <pc:sldMk cId="1735191326" sldId="900"/>
            <ac:spMk id="39" creationId="{6FBC0546-09C1-004A-40CC-EF2125A3E636}"/>
          </ac:spMkLst>
        </pc:spChg>
        <pc:spChg chg="mod">
          <ac:chgData name="Annemarija Apine (LV)" userId="546f5c59-3b8d-47fd-b739-a8fadc631053" providerId="ADAL" clId="{34473802-5904-426F-ADDF-0D0D1B44876C}" dt="2024-03-04T11:50:12.830" v="8714" actId="1035"/>
          <ac:spMkLst>
            <pc:docMk/>
            <pc:sldMk cId="1735191326" sldId="900"/>
            <ac:spMk id="40" creationId="{57B73D69-1346-AB3E-2B83-74CE4618BD54}"/>
          </ac:spMkLst>
        </pc:spChg>
        <pc:spChg chg="mod">
          <ac:chgData name="Annemarija Apine (LV)" userId="546f5c59-3b8d-47fd-b739-a8fadc631053" providerId="ADAL" clId="{34473802-5904-426F-ADDF-0D0D1B44876C}" dt="2024-03-04T11:50:12.830" v="8714" actId="1035"/>
          <ac:spMkLst>
            <pc:docMk/>
            <pc:sldMk cId="1735191326" sldId="900"/>
            <ac:spMk id="43" creationId="{B7165ACE-6816-8C1A-0E1A-FCA6963F41F4}"/>
          </ac:spMkLst>
        </pc:spChg>
        <pc:spChg chg="mod">
          <ac:chgData name="Annemarija Apine (LV)" userId="546f5c59-3b8d-47fd-b739-a8fadc631053" providerId="ADAL" clId="{34473802-5904-426F-ADDF-0D0D1B44876C}" dt="2024-03-04T11:50:12.830" v="8714" actId="1035"/>
          <ac:spMkLst>
            <pc:docMk/>
            <pc:sldMk cId="1735191326" sldId="900"/>
            <ac:spMk id="44" creationId="{7B06B257-212B-0CF9-9F65-466A796A3B21}"/>
          </ac:spMkLst>
        </pc:spChg>
        <pc:spChg chg="mod">
          <ac:chgData name="Annemarija Apine (LV)" userId="546f5c59-3b8d-47fd-b739-a8fadc631053" providerId="ADAL" clId="{34473802-5904-426F-ADDF-0D0D1B44876C}" dt="2024-03-04T11:50:12.830" v="8714" actId="1035"/>
          <ac:spMkLst>
            <pc:docMk/>
            <pc:sldMk cId="1735191326" sldId="900"/>
            <ac:spMk id="45" creationId="{D55CC03F-D983-B21C-EA37-379DE9F97A03}"/>
          </ac:spMkLst>
        </pc:spChg>
        <pc:spChg chg="mod">
          <ac:chgData name="Annemarija Apine (LV)" userId="546f5c59-3b8d-47fd-b739-a8fadc631053" providerId="ADAL" clId="{34473802-5904-426F-ADDF-0D0D1B44876C}" dt="2024-03-08T11:55:36.386" v="8945" actId="207"/>
          <ac:spMkLst>
            <pc:docMk/>
            <pc:sldMk cId="1735191326" sldId="900"/>
            <ac:spMk id="47" creationId="{2DD24A6F-2555-7D50-6B9E-19589A959683}"/>
          </ac:spMkLst>
        </pc:spChg>
        <pc:spChg chg="mod">
          <ac:chgData name="Annemarija Apine (LV)" userId="546f5c59-3b8d-47fd-b739-a8fadc631053" providerId="ADAL" clId="{34473802-5904-426F-ADDF-0D0D1B44876C}" dt="2024-03-04T11:50:12.830" v="8714" actId="1035"/>
          <ac:spMkLst>
            <pc:docMk/>
            <pc:sldMk cId="1735191326" sldId="900"/>
            <ac:spMk id="48" creationId="{CAAFFC2F-2EFD-CD7C-DEEE-DBA02C9CB423}"/>
          </ac:spMkLst>
        </pc:spChg>
        <pc:spChg chg="mod">
          <ac:chgData name="Annemarija Apine (LV)" userId="546f5c59-3b8d-47fd-b739-a8fadc631053" providerId="ADAL" clId="{34473802-5904-426F-ADDF-0D0D1B44876C}" dt="2024-03-04T11:50:12.830" v="8714" actId="1035"/>
          <ac:spMkLst>
            <pc:docMk/>
            <pc:sldMk cId="1735191326" sldId="900"/>
            <ac:spMk id="49" creationId="{53548C78-2935-71B8-851B-769FCB896034}"/>
          </ac:spMkLst>
        </pc:spChg>
        <pc:spChg chg="mod">
          <ac:chgData name="Annemarija Apine (LV)" userId="546f5c59-3b8d-47fd-b739-a8fadc631053" providerId="ADAL" clId="{34473802-5904-426F-ADDF-0D0D1B44876C}" dt="2024-03-08T11:55:36.386" v="8945" actId="207"/>
          <ac:spMkLst>
            <pc:docMk/>
            <pc:sldMk cId="1735191326" sldId="900"/>
            <ac:spMk id="55" creationId="{D19AF0DB-E5A6-2252-087C-6AA7A679E44D}"/>
          </ac:spMkLst>
        </pc:spChg>
        <pc:spChg chg="mod">
          <ac:chgData name="Annemarija Apine (LV)" userId="546f5c59-3b8d-47fd-b739-a8fadc631053" providerId="ADAL" clId="{34473802-5904-426F-ADDF-0D0D1B44876C}" dt="2024-03-04T11:50:12.830" v="8714" actId="1035"/>
          <ac:spMkLst>
            <pc:docMk/>
            <pc:sldMk cId="1735191326" sldId="900"/>
            <ac:spMk id="56" creationId="{3A969FC1-A5DF-7F7A-364B-B4B37D4AA186}"/>
          </ac:spMkLst>
        </pc:spChg>
        <pc:spChg chg="mod">
          <ac:chgData name="Annemarija Apine (LV)" userId="546f5c59-3b8d-47fd-b739-a8fadc631053" providerId="ADAL" clId="{34473802-5904-426F-ADDF-0D0D1B44876C}" dt="2024-03-04T11:50:12.830" v="8714" actId="1035"/>
          <ac:spMkLst>
            <pc:docMk/>
            <pc:sldMk cId="1735191326" sldId="900"/>
            <ac:spMk id="57" creationId="{6E357888-D229-2881-630B-92EDB810D202}"/>
          </ac:spMkLst>
        </pc:spChg>
        <pc:spChg chg="mod">
          <ac:chgData name="Annemarija Apine (LV)" userId="546f5c59-3b8d-47fd-b739-a8fadc631053" providerId="ADAL" clId="{34473802-5904-426F-ADDF-0D0D1B44876C}" dt="2024-03-04T11:50:12.830" v="8714" actId="1035"/>
          <ac:spMkLst>
            <pc:docMk/>
            <pc:sldMk cId="1735191326" sldId="900"/>
            <ac:spMk id="58" creationId="{73A5DA40-EC68-C1DD-E470-027AE8CCAA6A}"/>
          </ac:spMkLst>
        </pc:spChg>
        <pc:spChg chg="mod">
          <ac:chgData name="Annemarija Apine (LV)" userId="546f5c59-3b8d-47fd-b739-a8fadc631053" providerId="ADAL" clId="{34473802-5904-426F-ADDF-0D0D1B44876C}" dt="2024-03-04T11:50:12.830" v="8714" actId="1035"/>
          <ac:spMkLst>
            <pc:docMk/>
            <pc:sldMk cId="1735191326" sldId="900"/>
            <ac:spMk id="59" creationId="{69BA0589-D566-AAB4-31E4-35DD4F0EA8AD}"/>
          </ac:spMkLst>
        </pc:spChg>
        <pc:spChg chg="mod">
          <ac:chgData name="Annemarija Apine (LV)" userId="546f5c59-3b8d-47fd-b739-a8fadc631053" providerId="ADAL" clId="{34473802-5904-426F-ADDF-0D0D1B44876C}" dt="2024-03-04T11:50:12.830" v="8714" actId="1035"/>
          <ac:spMkLst>
            <pc:docMk/>
            <pc:sldMk cId="1735191326" sldId="900"/>
            <ac:spMk id="60" creationId="{CB6722E8-D1A5-E761-7A03-E5BE22B6FF50}"/>
          </ac:spMkLst>
        </pc:spChg>
        <pc:spChg chg="mod">
          <ac:chgData name="Annemarija Apine (LV)" userId="546f5c59-3b8d-47fd-b739-a8fadc631053" providerId="ADAL" clId="{34473802-5904-426F-ADDF-0D0D1B44876C}" dt="2024-03-04T11:50:12.830" v="8714" actId="1035"/>
          <ac:spMkLst>
            <pc:docMk/>
            <pc:sldMk cId="1735191326" sldId="900"/>
            <ac:spMk id="61" creationId="{B96B44FD-B302-C466-E087-68303F31E913}"/>
          </ac:spMkLst>
        </pc:spChg>
        <pc:spChg chg="mod">
          <ac:chgData name="Annemarija Apine (LV)" userId="546f5c59-3b8d-47fd-b739-a8fadc631053" providerId="ADAL" clId="{34473802-5904-426F-ADDF-0D0D1B44876C}" dt="2024-03-04T11:50:12.830" v="8714" actId="1035"/>
          <ac:spMkLst>
            <pc:docMk/>
            <pc:sldMk cId="1735191326" sldId="900"/>
            <ac:spMk id="62" creationId="{AAF63E4B-E49D-0898-F096-917EC5BB8784}"/>
          </ac:spMkLst>
        </pc:spChg>
        <pc:spChg chg="mod">
          <ac:chgData name="Annemarija Apine (LV)" userId="546f5c59-3b8d-47fd-b739-a8fadc631053" providerId="ADAL" clId="{34473802-5904-426F-ADDF-0D0D1B44876C}" dt="2024-03-04T11:50:12.830" v="8714" actId="1035"/>
          <ac:spMkLst>
            <pc:docMk/>
            <pc:sldMk cId="1735191326" sldId="900"/>
            <ac:spMk id="63" creationId="{C107C544-9363-E16D-C21A-14EB3086FD5E}"/>
          </ac:spMkLst>
        </pc:spChg>
        <pc:spChg chg="mod">
          <ac:chgData name="Annemarija Apine (LV)" userId="546f5c59-3b8d-47fd-b739-a8fadc631053" providerId="ADAL" clId="{34473802-5904-426F-ADDF-0D0D1B44876C}" dt="2024-03-04T11:50:12.830" v="8714" actId="1035"/>
          <ac:spMkLst>
            <pc:docMk/>
            <pc:sldMk cId="1735191326" sldId="900"/>
            <ac:spMk id="64" creationId="{BAC6FD31-C415-55AA-743A-8F036F3BF365}"/>
          </ac:spMkLst>
        </pc:spChg>
        <pc:spChg chg="mod">
          <ac:chgData name="Annemarija Apine (LV)" userId="546f5c59-3b8d-47fd-b739-a8fadc631053" providerId="ADAL" clId="{34473802-5904-426F-ADDF-0D0D1B44876C}" dt="2024-03-04T11:50:12.830" v="8714" actId="1035"/>
          <ac:spMkLst>
            <pc:docMk/>
            <pc:sldMk cId="1735191326" sldId="900"/>
            <ac:spMk id="65" creationId="{DFB0571C-3F32-08BC-2216-A09604DF1E6C}"/>
          </ac:spMkLst>
        </pc:spChg>
        <pc:spChg chg="mod">
          <ac:chgData name="Annemarija Apine (LV)" userId="546f5c59-3b8d-47fd-b739-a8fadc631053" providerId="ADAL" clId="{34473802-5904-426F-ADDF-0D0D1B44876C}" dt="2024-03-04T11:50:12.830" v="8714" actId="1035"/>
          <ac:spMkLst>
            <pc:docMk/>
            <pc:sldMk cId="1735191326" sldId="900"/>
            <ac:spMk id="81" creationId="{DDCA628C-F107-F2EE-29A3-F9E29FA8073D}"/>
          </ac:spMkLst>
        </pc:spChg>
        <pc:grpChg chg="mod">
          <ac:chgData name="Annemarija Apine (LV)" userId="546f5c59-3b8d-47fd-b739-a8fadc631053" providerId="ADAL" clId="{34473802-5904-426F-ADDF-0D0D1B44876C}" dt="2024-03-04T11:50:49.856" v="8718" actId="1076"/>
          <ac:grpSpMkLst>
            <pc:docMk/>
            <pc:sldMk cId="1735191326" sldId="900"/>
            <ac:grpSpMk id="80" creationId="{A4F7EE97-2488-C4D0-BB25-B488D03588E8}"/>
          </ac:grpSpMkLst>
        </pc:grpChg>
        <pc:grpChg chg="mod">
          <ac:chgData name="Annemarija Apine (LV)" userId="546f5c59-3b8d-47fd-b739-a8fadc631053" providerId="ADAL" clId="{34473802-5904-426F-ADDF-0D0D1B44876C}" dt="2024-03-04T11:50:12.830" v="8714" actId="1035"/>
          <ac:grpSpMkLst>
            <pc:docMk/>
            <pc:sldMk cId="1735191326" sldId="900"/>
            <ac:grpSpMk id="82" creationId="{496FB1E0-A56A-675A-A493-CE87F37A3B9E}"/>
          </ac:grpSpMkLst>
        </pc:grpChg>
        <pc:grpChg chg="mod">
          <ac:chgData name="Annemarija Apine (LV)" userId="546f5c59-3b8d-47fd-b739-a8fadc631053" providerId="ADAL" clId="{34473802-5904-426F-ADDF-0D0D1B44876C}" dt="2024-03-04T11:50:12.830" v="8714" actId="1035"/>
          <ac:grpSpMkLst>
            <pc:docMk/>
            <pc:sldMk cId="1735191326" sldId="900"/>
            <ac:grpSpMk id="88" creationId="{35189943-8174-BDC5-E00B-6AA3B261EF4D}"/>
          </ac:grpSpMkLst>
        </pc:grpChg>
        <pc:grpChg chg="mod">
          <ac:chgData name="Annemarija Apine (LV)" userId="546f5c59-3b8d-47fd-b739-a8fadc631053" providerId="ADAL" clId="{34473802-5904-426F-ADDF-0D0D1B44876C}" dt="2024-03-04T11:50:12.830" v="8714" actId="1035"/>
          <ac:grpSpMkLst>
            <pc:docMk/>
            <pc:sldMk cId="1735191326" sldId="900"/>
            <ac:grpSpMk id="94" creationId="{594AAC2C-5B65-E8F9-8ECC-13E411076E0A}"/>
          </ac:grpSpMkLst>
        </pc:grpChg>
        <pc:grpChg chg="mod">
          <ac:chgData name="Annemarija Apine (LV)" userId="546f5c59-3b8d-47fd-b739-a8fadc631053" providerId="ADAL" clId="{34473802-5904-426F-ADDF-0D0D1B44876C}" dt="2024-03-04T11:50:12.830" v="8714" actId="1035"/>
          <ac:grpSpMkLst>
            <pc:docMk/>
            <pc:sldMk cId="1735191326" sldId="900"/>
            <ac:grpSpMk id="111" creationId="{25E49F92-0710-7B61-8355-C954630A29B3}"/>
          </ac:grpSpMkLst>
        </pc:grpChg>
        <pc:extLst>
          <p:ext xmlns:p="http://schemas.openxmlformats.org/presentationml/2006/main" uri="{D6D511B9-2390-475A-947B-AFAB55BFBCF1}">
            <pc226:cmChg xmlns:pc226="http://schemas.microsoft.com/office/powerpoint/2022/06/main/command" chg="add del">
              <pc226:chgData name="Annemarija Apine (LV)" userId="546f5c59-3b8d-47fd-b739-a8fadc631053" providerId="ADAL" clId="{34473802-5904-426F-ADDF-0D0D1B44876C}" dt="2024-03-01T15:37:38.176" v="6874"/>
              <pc2:cmMkLst xmlns:pc2="http://schemas.microsoft.com/office/powerpoint/2019/9/main/command">
                <pc:docMk/>
                <pc:sldMk cId="1735191326" sldId="900"/>
                <pc2:cmMk id="{C4902351-19A0-4C9B-8AB4-BDDA6FC0D33F}"/>
              </pc2:cmMkLst>
            </pc226:cmChg>
          </p:ext>
        </pc:extLst>
      </pc:sldChg>
      <pc:sldChg chg="modSp new mod">
        <pc:chgData name="Annemarija Apine (LV)" userId="546f5c59-3b8d-47fd-b739-a8fadc631053" providerId="ADAL" clId="{34473802-5904-426F-ADDF-0D0D1B44876C}" dt="2024-02-25T22:20:11.217" v="645" actId="20577"/>
        <pc:sldMkLst>
          <pc:docMk/>
          <pc:sldMk cId="1633958630" sldId="901"/>
        </pc:sldMkLst>
        <pc:spChg chg="mod">
          <ac:chgData name="Annemarija Apine (LV)" userId="546f5c59-3b8d-47fd-b739-a8fadc631053" providerId="ADAL" clId="{34473802-5904-426F-ADDF-0D0D1B44876C}" dt="2024-02-25T22:20:11.217" v="645" actId="20577"/>
          <ac:spMkLst>
            <pc:docMk/>
            <pc:sldMk cId="1633958630" sldId="901"/>
            <ac:spMk id="2" creationId="{DFA3F87B-F232-7860-4612-ADEBE46AD28C}"/>
          </ac:spMkLst>
        </pc:spChg>
      </pc:sldChg>
      <pc:sldChg chg="modSp add mod ord">
        <pc:chgData name="Annemarija Apine (LV)" userId="546f5c59-3b8d-47fd-b739-a8fadc631053" providerId="ADAL" clId="{34473802-5904-426F-ADDF-0D0D1B44876C}" dt="2024-02-25T22:21:23.491" v="702"/>
        <pc:sldMkLst>
          <pc:docMk/>
          <pc:sldMk cId="3784150892" sldId="902"/>
        </pc:sldMkLst>
        <pc:spChg chg="mod">
          <ac:chgData name="Annemarija Apine (LV)" userId="546f5c59-3b8d-47fd-b739-a8fadc631053" providerId="ADAL" clId="{34473802-5904-426F-ADDF-0D0D1B44876C}" dt="2024-02-25T22:21:21.530" v="700" actId="20577"/>
          <ac:spMkLst>
            <pc:docMk/>
            <pc:sldMk cId="3784150892" sldId="902"/>
            <ac:spMk id="2" creationId="{DFA3F87B-F232-7860-4612-ADEBE46AD28C}"/>
          </ac:spMkLst>
        </pc:spChg>
      </pc:sldChg>
      <pc:sldChg chg="addSp delSp modSp new mod modNotesTx">
        <pc:chgData name="Annemarija Apine (LV)" userId="546f5c59-3b8d-47fd-b739-a8fadc631053" providerId="ADAL" clId="{34473802-5904-426F-ADDF-0D0D1B44876C}" dt="2024-03-04T09:09:39.746" v="7734" actId="255"/>
        <pc:sldMkLst>
          <pc:docMk/>
          <pc:sldMk cId="3011875620" sldId="903"/>
        </pc:sldMkLst>
        <pc:spChg chg="mod">
          <ac:chgData name="Annemarija Apine (LV)" userId="546f5c59-3b8d-47fd-b739-a8fadc631053" providerId="ADAL" clId="{34473802-5904-426F-ADDF-0D0D1B44876C}" dt="2024-02-25T22:22:31.991" v="757" actId="20577"/>
          <ac:spMkLst>
            <pc:docMk/>
            <pc:sldMk cId="3011875620" sldId="903"/>
            <ac:spMk id="2" creationId="{EDFBCEAB-7D4A-91D0-E036-AAFACC3ABE8D}"/>
          </ac:spMkLst>
        </pc:spChg>
        <pc:spChg chg="mod">
          <ac:chgData name="Annemarija Apine (LV)" userId="546f5c59-3b8d-47fd-b739-a8fadc631053" providerId="ADAL" clId="{34473802-5904-426F-ADDF-0D0D1B44876C}" dt="2024-02-29T08:29:26.207" v="5006" actId="207"/>
          <ac:spMkLst>
            <pc:docMk/>
            <pc:sldMk cId="3011875620" sldId="903"/>
            <ac:spMk id="3" creationId="{26614F0E-2835-BB69-9173-4B170029D0DD}"/>
          </ac:spMkLst>
        </pc:spChg>
        <pc:spChg chg="add mod">
          <ac:chgData name="Annemarija Apine (LV)" userId="546f5c59-3b8d-47fd-b739-a8fadc631053" providerId="ADAL" clId="{34473802-5904-426F-ADDF-0D0D1B44876C}" dt="2024-03-04T09:09:39.746" v="7734" actId="255"/>
          <ac:spMkLst>
            <pc:docMk/>
            <pc:sldMk cId="3011875620" sldId="903"/>
            <ac:spMk id="7" creationId="{ABE8EE39-C466-6083-2B14-0237C935C96B}"/>
          </ac:spMkLst>
        </pc:spChg>
        <pc:spChg chg="add mod">
          <ac:chgData name="Annemarija Apine (LV)" userId="546f5c59-3b8d-47fd-b739-a8fadc631053" providerId="ADAL" clId="{34473802-5904-426F-ADDF-0D0D1B44876C}" dt="2024-03-04T09:09:39.746" v="7734" actId="255"/>
          <ac:spMkLst>
            <pc:docMk/>
            <pc:sldMk cId="3011875620" sldId="903"/>
            <ac:spMk id="8" creationId="{D3075EA9-222C-FBAB-0F0E-D4775F00C87E}"/>
          </ac:spMkLst>
        </pc:spChg>
        <pc:spChg chg="add mod">
          <ac:chgData name="Annemarija Apine (LV)" userId="546f5c59-3b8d-47fd-b739-a8fadc631053" providerId="ADAL" clId="{34473802-5904-426F-ADDF-0D0D1B44876C}" dt="2024-03-04T09:09:39.746" v="7734" actId="255"/>
          <ac:spMkLst>
            <pc:docMk/>
            <pc:sldMk cId="3011875620" sldId="903"/>
            <ac:spMk id="9" creationId="{08B6A8B7-7C80-74FA-BFD5-B86DDE664F74}"/>
          </ac:spMkLst>
        </pc:spChg>
        <pc:spChg chg="add mod">
          <ac:chgData name="Annemarija Apine (LV)" userId="546f5c59-3b8d-47fd-b739-a8fadc631053" providerId="ADAL" clId="{34473802-5904-426F-ADDF-0D0D1B44876C}" dt="2024-02-25T22:21:51.206" v="715" actId="1076"/>
          <ac:spMkLst>
            <pc:docMk/>
            <pc:sldMk cId="3011875620" sldId="903"/>
            <ac:spMk id="10" creationId="{B337C822-0ACB-7395-4E9F-FE78A0258C7B}"/>
          </ac:spMkLst>
        </pc:spChg>
        <pc:spChg chg="add mod">
          <ac:chgData name="Annemarija Apine (LV)" userId="546f5c59-3b8d-47fd-b739-a8fadc631053" providerId="ADAL" clId="{34473802-5904-426F-ADDF-0D0D1B44876C}" dt="2024-02-25T22:21:51.206" v="715" actId="1076"/>
          <ac:spMkLst>
            <pc:docMk/>
            <pc:sldMk cId="3011875620" sldId="903"/>
            <ac:spMk id="11" creationId="{BEFB8D44-5692-BC7D-1631-1623E5005441}"/>
          </ac:spMkLst>
        </pc:spChg>
        <pc:spChg chg="add mod">
          <ac:chgData name="Annemarija Apine (LV)" userId="546f5c59-3b8d-47fd-b739-a8fadc631053" providerId="ADAL" clId="{34473802-5904-426F-ADDF-0D0D1B44876C}" dt="2024-02-29T08:30:11.360" v="5127" actId="207"/>
          <ac:spMkLst>
            <pc:docMk/>
            <pc:sldMk cId="3011875620" sldId="903"/>
            <ac:spMk id="12" creationId="{DBFB2BB3-C6FD-C05A-7AC0-6ECF93BB1AD1}"/>
          </ac:spMkLst>
        </pc:spChg>
        <pc:spChg chg="add mod">
          <ac:chgData name="Annemarija Apine (LV)" userId="546f5c59-3b8d-47fd-b739-a8fadc631053" providerId="ADAL" clId="{34473802-5904-426F-ADDF-0D0D1B44876C}" dt="2024-02-29T08:30:40.809" v="5183" actId="12"/>
          <ac:spMkLst>
            <pc:docMk/>
            <pc:sldMk cId="3011875620" sldId="903"/>
            <ac:spMk id="13" creationId="{9483E848-E37C-5DCE-0BB4-A09AE6853B17}"/>
          </ac:spMkLst>
        </pc:spChg>
        <pc:spChg chg="add del mod">
          <ac:chgData name="Annemarija Apine (LV)" userId="546f5c59-3b8d-47fd-b739-a8fadc631053" providerId="ADAL" clId="{34473802-5904-426F-ADDF-0D0D1B44876C}" dt="2024-02-29T08:30:17.995" v="5130" actId="478"/>
          <ac:spMkLst>
            <pc:docMk/>
            <pc:sldMk cId="3011875620" sldId="903"/>
            <ac:spMk id="14" creationId="{F403939B-2395-3E1A-3449-786201A90C7E}"/>
          </ac:spMkLst>
        </pc:spChg>
        <pc:spChg chg="add del mod">
          <ac:chgData name="Annemarija Apine (LV)" userId="546f5c59-3b8d-47fd-b739-a8fadc631053" providerId="ADAL" clId="{34473802-5904-426F-ADDF-0D0D1B44876C}" dt="2024-02-29T08:30:16.880" v="5129" actId="478"/>
          <ac:spMkLst>
            <pc:docMk/>
            <pc:sldMk cId="3011875620" sldId="903"/>
            <ac:spMk id="15" creationId="{51A50EE3-6FA8-B20D-030B-8CC29A56A44F}"/>
          </ac:spMkLst>
        </pc:spChg>
      </pc:sldChg>
      <pc:sldChg chg="add del ord">
        <pc:chgData name="Annemarija Apine (LV)" userId="546f5c59-3b8d-47fd-b739-a8fadc631053" providerId="ADAL" clId="{34473802-5904-426F-ADDF-0D0D1B44876C}" dt="2024-02-25T22:21:28.367" v="708" actId="47"/>
        <pc:sldMkLst>
          <pc:docMk/>
          <pc:sldMk cId="8239825" sldId="904"/>
        </pc:sldMkLst>
      </pc:sldChg>
      <pc:sldChg chg="addSp delSp modSp add mod addCm delCm modNotesTx">
        <pc:chgData name="Annemarija Apine (LV)" userId="546f5c59-3b8d-47fd-b739-a8fadc631053" providerId="ADAL" clId="{34473802-5904-426F-ADDF-0D0D1B44876C}" dt="2024-03-04T09:16:34.867" v="7851" actId="20577"/>
        <pc:sldMkLst>
          <pc:docMk/>
          <pc:sldMk cId="795685229" sldId="904"/>
        </pc:sldMkLst>
        <pc:spChg chg="mod">
          <ac:chgData name="Annemarija Apine (LV)" userId="546f5c59-3b8d-47fd-b739-a8fadc631053" providerId="ADAL" clId="{34473802-5904-426F-ADDF-0D0D1B44876C}" dt="2024-02-25T22:30:12.144" v="1123" actId="20577"/>
          <ac:spMkLst>
            <pc:docMk/>
            <pc:sldMk cId="795685229" sldId="904"/>
            <ac:spMk id="2" creationId="{EDFBCEAB-7D4A-91D0-E036-AAFACC3ABE8D}"/>
          </ac:spMkLst>
        </pc:spChg>
        <pc:spChg chg="mod">
          <ac:chgData name="Annemarija Apine (LV)" userId="546f5c59-3b8d-47fd-b739-a8fadc631053" providerId="ADAL" clId="{34473802-5904-426F-ADDF-0D0D1B44876C}" dt="2024-02-25T22:35:47.605" v="1414" actId="13926"/>
          <ac:spMkLst>
            <pc:docMk/>
            <pc:sldMk cId="795685229" sldId="904"/>
            <ac:spMk id="3" creationId="{26614F0E-2835-BB69-9173-4B170029D0DD}"/>
          </ac:spMkLst>
        </pc:spChg>
        <pc:spChg chg="mod">
          <ac:chgData name="Annemarija Apine (LV)" userId="546f5c59-3b8d-47fd-b739-a8fadc631053" providerId="ADAL" clId="{34473802-5904-426F-ADDF-0D0D1B44876C}" dt="2024-02-25T22:27:06.195" v="1058" actId="208"/>
          <ac:spMkLst>
            <pc:docMk/>
            <pc:sldMk cId="795685229" sldId="904"/>
            <ac:spMk id="7" creationId="{ABE8EE39-C466-6083-2B14-0237C935C96B}"/>
          </ac:spMkLst>
        </pc:spChg>
        <pc:spChg chg="mod">
          <ac:chgData name="Annemarija Apine (LV)" userId="546f5c59-3b8d-47fd-b739-a8fadc631053" providerId="ADAL" clId="{34473802-5904-426F-ADDF-0D0D1B44876C}" dt="2024-02-25T22:27:15.292" v="1060" actId="208"/>
          <ac:spMkLst>
            <pc:docMk/>
            <pc:sldMk cId="795685229" sldId="904"/>
            <ac:spMk id="8" creationId="{D3075EA9-222C-FBAB-0F0E-D4775F00C87E}"/>
          </ac:spMkLst>
        </pc:spChg>
        <pc:spChg chg="mod">
          <ac:chgData name="Annemarija Apine (LV)" userId="546f5c59-3b8d-47fd-b739-a8fadc631053" providerId="ADAL" clId="{34473802-5904-426F-ADDF-0D0D1B44876C}" dt="2024-02-25T22:33:48.966" v="1251" actId="1076"/>
          <ac:spMkLst>
            <pc:docMk/>
            <pc:sldMk cId="795685229" sldId="904"/>
            <ac:spMk id="12" creationId="{DBFB2BB3-C6FD-C05A-7AC0-6ECF93BB1AD1}"/>
          </ac:spMkLst>
        </pc:spChg>
        <pc:spChg chg="del mod">
          <ac:chgData name="Annemarija Apine (LV)" userId="546f5c59-3b8d-47fd-b739-a8fadc631053" providerId="ADAL" clId="{34473802-5904-426F-ADDF-0D0D1B44876C}" dt="2024-02-25T22:31:09.510" v="1158" actId="478"/>
          <ac:spMkLst>
            <pc:docMk/>
            <pc:sldMk cId="795685229" sldId="904"/>
            <ac:spMk id="13" creationId="{9483E848-E37C-5DCE-0BB4-A09AE6853B17}"/>
          </ac:spMkLst>
        </pc:spChg>
        <pc:spChg chg="del">
          <ac:chgData name="Annemarija Apine (LV)" userId="546f5c59-3b8d-47fd-b739-a8fadc631053" providerId="ADAL" clId="{34473802-5904-426F-ADDF-0D0D1B44876C}" dt="2024-02-25T22:30:14.706" v="1124" actId="478"/>
          <ac:spMkLst>
            <pc:docMk/>
            <pc:sldMk cId="795685229" sldId="904"/>
            <ac:spMk id="14" creationId="{F403939B-2395-3E1A-3449-786201A90C7E}"/>
          </ac:spMkLst>
        </pc:spChg>
        <pc:spChg chg="add del mod">
          <ac:chgData name="Annemarija Apine (LV)" userId="546f5c59-3b8d-47fd-b739-a8fadc631053" providerId="ADAL" clId="{34473802-5904-426F-ADDF-0D0D1B44876C}" dt="2024-02-25T22:32:34.834" v="1208"/>
          <ac:spMkLst>
            <pc:docMk/>
            <pc:sldMk cId="795685229" sldId="904"/>
            <ac:spMk id="17" creationId="{F3826855-E239-ACC8-4554-9C77BAF8FAE5}"/>
          </ac:spMkLst>
        </pc:spChg>
        <pc:spChg chg="add del mod">
          <ac:chgData name="Annemarija Apine (LV)" userId="546f5c59-3b8d-47fd-b739-a8fadc631053" providerId="ADAL" clId="{34473802-5904-426F-ADDF-0D0D1B44876C}" dt="2024-02-25T22:32:34.834" v="1208"/>
          <ac:spMkLst>
            <pc:docMk/>
            <pc:sldMk cId="795685229" sldId="904"/>
            <ac:spMk id="18" creationId="{F6F63F30-30E9-54C5-C606-8963AAA21943}"/>
          </ac:spMkLst>
        </pc:spChg>
        <pc:spChg chg="add mod">
          <ac:chgData name="Annemarija Apine (LV)" userId="546f5c59-3b8d-47fd-b739-a8fadc631053" providerId="ADAL" clId="{34473802-5904-426F-ADDF-0D0D1B44876C}" dt="2024-02-29T08:33:30.236" v="5190" actId="20577"/>
          <ac:spMkLst>
            <pc:docMk/>
            <pc:sldMk cId="795685229" sldId="904"/>
            <ac:spMk id="19" creationId="{048A5838-6D25-2779-8C89-C2A6CF8D5120}"/>
          </ac:spMkLst>
        </pc:spChg>
        <pc:spChg chg="add mod">
          <ac:chgData name="Annemarija Apine (LV)" userId="546f5c59-3b8d-47fd-b739-a8fadc631053" providerId="ADAL" clId="{34473802-5904-426F-ADDF-0D0D1B44876C}" dt="2024-02-29T08:33:41.663" v="5199" actId="20577"/>
          <ac:spMkLst>
            <pc:docMk/>
            <pc:sldMk cId="795685229" sldId="904"/>
            <ac:spMk id="20" creationId="{13D2366C-A215-8EED-AC5E-4C4A9ACD1E0F}"/>
          </ac:spMkLst>
        </pc:spChg>
        <pc:spChg chg="add mod">
          <ac:chgData name="Annemarija Apine (LV)" userId="546f5c59-3b8d-47fd-b739-a8fadc631053" providerId="ADAL" clId="{34473802-5904-426F-ADDF-0D0D1B44876C}" dt="2024-02-29T08:33:52.367" v="5200" actId="20577"/>
          <ac:spMkLst>
            <pc:docMk/>
            <pc:sldMk cId="795685229" sldId="904"/>
            <ac:spMk id="21" creationId="{2F5D67B3-FA6B-A9D2-F814-CB68500CCB66}"/>
          </ac:spMkLst>
        </pc:spChg>
        <pc:spChg chg="add mod">
          <ac:chgData name="Annemarija Apine (LV)" userId="546f5c59-3b8d-47fd-b739-a8fadc631053" providerId="ADAL" clId="{34473802-5904-426F-ADDF-0D0D1B44876C}" dt="2024-02-25T22:35:34.931" v="1413" actId="20577"/>
          <ac:spMkLst>
            <pc:docMk/>
            <pc:sldMk cId="795685229" sldId="904"/>
            <ac:spMk id="22" creationId="{FD456066-D6DB-ED05-F1F7-BFB8E89B2676}"/>
          </ac:spMkLst>
        </pc:spChg>
        <pc:spChg chg="mod">
          <ac:chgData name="Annemarija Apine (LV)" userId="546f5c59-3b8d-47fd-b739-a8fadc631053" providerId="ADAL" clId="{34473802-5904-426F-ADDF-0D0D1B44876C}" dt="2024-03-04T09:09:45.848" v="7736" actId="255"/>
          <ac:spMkLst>
            <pc:docMk/>
            <pc:sldMk cId="795685229" sldId="904"/>
            <ac:spMk id="26" creationId="{CA90F111-E668-30BE-440B-5CC38462EB08}"/>
          </ac:spMkLst>
        </pc:spChg>
        <pc:spChg chg="mod">
          <ac:chgData name="Annemarija Apine (LV)" userId="546f5c59-3b8d-47fd-b739-a8fadc631053" providerId="ADAL" clId="{34473802-5904-426F-ADDF-0D0D1B44876C}" dt="2024-03-04T09:09:45.848" v="7736" actId="255"/>
          <ac:spMkLst>
            <pc:docMk/>
            <pc:sldMk cId="795685229" sldId="904"/>
            <ac:spMk id="27" creationId="{172E5147-E792-A60A-3E58-BBA21B93A3CD}"/>
          </ac:spMkLst>
        </pc:spChg>
        <pc:spChg chg="mod">
          <ac:chgData name="Annemarija Apine (LV)" userId="546f5c59-3b8d-47fd-b739-a8fadc631053" providerId="ADAL" clId="{34473802-5904-426F-ADDF-0D0D1B44876C}" dt="2024-03-04T09:09:45.848" v="7736" actId="255"/>
          <ac:spMkLst>
            <pc:docMk/>
            <pc:sldMk cId="795685229" sldId="904"/>
            <ac:spMk id="28" creationId="{113D09D0-B233-D26A-50AA-AAC45C1DB393}"/>
          </ac:spMkLst>
        </pc:spChg>
        <pc:spChg chg="mod">
          <ac:chgData name="Annemarija Apine (LV)" userId="546f5c59-3b8d-47fd-b739-a8fadc631053" providerId="ADAL" clId="{34473802-5904-426F-ADDF-0D0D1B44876C}" dt="2024-03-04T09:09:10.565" v="7728" actId="20577"/>
          <ac:spMkLst>
            <pc:docMk/>
            <pc:sldMk cId="795685229" sldId="904"/>
            <ac:spMk id="59" creationId="{34CAA65D-F32B-4FFB-DA56-9F4BF785AA35}"/>
          </ac:spMkLst>
        </pc:spChg>
        <pc:spChg chg="mod">
          <ac:chgData name="Annemarija Apine (LV)" userId="546f5c59-3b8d-47fd-b739-a8fadc631053" providerId="ADAL" clId="{34473802-5904-426F-ADDF-0D0D1B44876C}" dt="2024-03-04T09:15:10.357" v="7831" actId="20577"/>
          <ac:spMkLst>
            <pc:docMk/>
            <pc:sldMk cId="795685229" sldId="904"/>
            <ac:spMk id="125" creationId="{1734212E-2EA2-B135-55B3-866F1CF570E1}"/>
          </ac:spMkLst>
        </pc:spChg>
        <pc:grpChg chg="mod">
          <ac:chgData name="Annemarija Apine (LV)" userId="546f5c59-3b8d-47fd-b739-a8fadc631053" providerId="ADAL" clId="{34473802-5904-426F-ADDF-0D0D1B44876C}" dt="2024-03-04T09:09:21.366" v="7730" actId="1076"/>
          <ac:grpSpMkLst>
            <pc:docMk/>
            <pc:sldMk cId="795685229" sldId="904"/>
            <ac:grpSpMk id="25" creationId="{BACE7719-6924-A295-8F4C-2DE5F6D26049}"/>
          </ac:grpSpMkLst>
        </pc:grpChg>
        <pc:picChg chg="add mod">
          <ac:chgData name="Annemarija Apine (LV)" userId="546f5c59-3b8d-47fd-b739-a8fadc631053" providerId="ADAL" clId="{34473802-5904-426F-ADDF-0D0D1B44876C}" dt="2024-02-25T22:34:42.511" v="1348" actId="1076"/>
          <ac:picMkLst>
            <pc:docMk/>
            <pc:sldMk cId="795685229" sldId="904"/>
            <ac:picMk id="16" creationId="{7CBA6D7D-8652-84AD-7984-01250C47A431}"/>
          </ac:picMkLst>
        </pc:picChg>
        <pc:extLst>
          <p:ext xmlns:p="http://schemas.openxmlformats.org/presentationml/2006/main" uri="{D6D511B9-2390-475A-947B-AFAB55BFBCF1}">
            <pc226:cmChg xmlns:pc226="http://schemas.microsoft.com/office/powerpoint/2022/06/main/command" chg="add del">
              <pc226:chgData name="Annemarija Apine (LV)" userId="546f5c59-3b8d-47fd-b739-a8fadc631053" providerId="ADAL" clId="{34473802-5904-426F-ADDF-0D0D1B44876C}" dt="2024-02-29T08:28:11.183" v="4792"/>
              <pc2:cmMkLst xmlns:pc2="http://schemas.microsoft.com/office/powerpoint/2019/9/main/command">
                <pc:docMk/>
                <pc:sldMk cId="795685229" sldId="904"/>
                <pc2:cmMk id="{2D3D7C13-53F8-4650-B7B3-9A019D02621E}"/>
              </pc2:cmMkLst>
            </pc226:cmChg>
          </p:ext>
        </pc:extLst>
      </pc:sldChg>
      <pc:sldChg chg="addSp delSp modSp add mod ord addCm modCm modNotesTx">
        <pc:chgData name="Annemarija Apine (LV)" userId="546f5c59-3b8d-47fd-b739-a8fadc631053" providerId="ADAL" clId="{34473802-5904-426F-ADDF-0D0D1B44876C}" dt="2024-03-04T09:13:32.451" v="7796"/>
        <pc:sldMkLst>
          <pc:docMk/>
          <pc:sldMk cId="507333055" sldId="905"/>
        </pc:sldMkLst>
        <pc:spChg chg="del">
          <ac:chgData name="Annemarija Apine (LV)" userId="546f5c59-3b8d-47fd-b739-a8fadc631053" providerId="ADAL" clId="{34473802-5904-426F-ADDF-0D0D1B44876C}" dt="2024-02-25T22:43:11.854" v="1456" actId="478"/>
          <ac:spMkLst>
            <pc:docMk/>
            <pc:sldMk cId="507333055" sldId="905"/>
            <ac:spMk id="3" creationId="{26614F0E-2835-BB69-9173-4B170029D0DD}"/>
          </ac:spMkLst>
        </pc:spChg>
        <pc:spChg chg="mod">
          <ac:chgData name="Annemarija Apine (LV)" userId="546f5c59-3b8d-47fd-b739-a8fadc631053" providerId="ADAL" clId="{34473802-5904-426F-ADDF-0D0D1B44876C}" dt="2024-02-25T22:36:19.768" v="1423" actId="208"/>
          <ac:spMkLst>
            <pc:docMk/>
            <pc:sldMk cId="507333055" sldId="905"/>
            <ac:spMk id="7" creationId="{ABE8EE39-C466-6083-2B14-0237C935C96B}"/>
          </ac:spMkLst>
        </pc:spChg>
        <pc:spChg chg="mod">
          <ac:chgData name="Annemarija Apine (LV)" userId="546f5c59-3b8d-47fd-b739-a8fadc631053" providerId="ADAL" clId="{34473802-5904-426F-ADDF-0D0D1B44876C}" dt="2024-02-25T22:36:25.447" v="1425" actId="207"/>
          <ac:spMkLst>
            <pc:docMk/>
            <pc:sldMk cId="507333055" sldId="905"/>
            <ac:spMk id="9" creationId="{08B6A8B7-7C80-74FA-BFD5-B86DDE664F74}"/>
          </ac:spMkLst>
        </pc:spChg>
        <pc:spChg chg="del mod">
          <ac:chgData name="Annemarija Apine (LV)" userId="546f5c59-3b8d-47fd-b739-a8fadc631053" providerId="ADAL" clId="{34473802-5904-426F-ADDF-0D0D1B44876C}" dt="2024-02-25T22:43:13.870" v="1458" actId="478"/>
          <ac:spMkLst>
            <pc:docMk/>
            <pc:sldMk cId="507333055" sldId="905"/>
            <ac:spMk id="12" creationId="{DBFB2BB3-C6FD-C05A-7AC0-6ECF93BB1AD1}"/>
          </ac:spMkLst>
        </pc:spChg>
        <pc:spChg chg="del">
          <ac:chgData name="Annemarija Apine (LV)" userId="546f5c59-3b8d-47fd-b739-a8fadc631053" providerId="ADAL" clId="{34473802-5904-426F-ADDF-0D0D1B44876C}" dt="2024-02-25T22:43:16.709" v="1460" actId="478"/>
          <ac:spMkLst>
            <pc:docMk/>
            <pc:sldMk cId="507333055" sldId="905"/>
            <ac:spMk id="13" creationId="{9483E848-E37C-5DCE-0BB4-A09AE6853B17}"/>
          </ac:spMkLst>
        </pc:spChg>
        <pc:spChg chg="del mod">
          <ac:chgData name="Annemarija Apine (LV)" userId="546f5c59-3b8d-47fd-b739-a8fadc631053" providerId="ADAL" clId="{34473802-5904-426F-ADDF-0D0D1B44876C}" dt="2024-02-25T22:36:29.028" v="1427" actId="478"/>
          <ac:spMkLst>
            <pc:docMk/>
            <pc:sldMk cId="507333055" sldId="905"/>
            <ac:spMk id="14" creationId="{F403939B-2395-3E1A-3449-786201A90C7E}"/>
          </ac:spMkLst>
        </pc:spChg>
        <pc:spChg chg="add del mod">
          <ac:chgData name="Annemarija Apine (LV)" userId="546f5c59-3b8d-47fd-b739-a8fadc631053" providerId="ADAL" clId="{34473802-5904-426F-ADDF-0D0D1B44876C}" dt="2024-02-25T22:43:14.373" v="1459" actId="478"/>
          <ac:spMkLst>
            <pc:docMk/>
            <pc:sldMk cId="507333055" sldId="905"/>
            <ac:spMk id="16" creationId="{48642E50-065F-12D7-6D52-C3BFA0979F2A}"/>
          </ac:spMkLst>
        </pc:spChg>
        <pc:spChg chg="add mod">
          <ac:chgData name="Annemarija Apine (LV)" userId="546f5c59-3b8d-47fd-b739-a8fadc631053" providerId="ADAL" clId="{34473802-5904-426F-ADDF-0D0D1B44876C}" dt="2024-02-29T08:34:30.127" v="5212" actId="20577"/>
          <ac:spMkLst>
            <pc:docMk/>
            <pc:sldMk cId="507333055" sldId="905"/>
            <ac:spMk id="18" creationId="{22980002-C01F-4035-66FB-BB909C9376A3}"/>
          </ac:spMkLst>
        </pc:spChg>
        <pc:spChg chg="add mod">
          <ac:chgData name="Annemarija Apine (LV)" userId="546f5c59-3b8d-47fd-b739-a8fadc631053" providerId="ADAL" clId="{34473802-5904-426F-ADDF-0D0D1B44876C}" dt="2024-02-25T22:43:35.518" v="1489" actId="207"/>
          <ac:spMkLst>
            <pc:docMk/>
            <pc:sldMk cId="507333055" sldId="905"/>
            <ac:spMk id="19" creationId="{E0084A30-D99D-E96E-31F4-0E0CFAAD99C4}"/>
          </ac:spMkLst>
        </pc:spChg>
        <pc:spChg chg="mod">
          <ac:chgData name="Annemarija Apine (LV)" userId="546f5c59-3b8d-47fd-b739-a8fadc631053" providerId="ADAL" clId="{34473802-5904-426F-ADDF-0D0D1B44876C}" dt="2024-03-04T09:09:57.241" v="7738" actId="255"/>
          <ac:spMkLst>
            <pc:docMk/>
            <pc:sldMk cId="507333055" sldId="905"/>
            <ac:spMk id="21" creationId="{38BB8091-1076-C602-6CED-C2AE6678F5A9}"/>
          </ac:spMkLst>
        </pc:spChg>
        <pc:spChg chg="mod">
          <ac:chgData name="Annemarija Apine (LV)" userId="546f5c59-3b8d-47fd-b739-a8fadc631053" providerId="ADAL" clId="{34473802-5904-426F-ADDF-0D0D1B44876C}" dt="2024-03-04T09:09:57.241" v="7738" actId="255"/>
          <ac:spMkLst>
            <pc:docMk/>
            <pc:sldMk cId="507333055" sldId="905"/>
            <ac:spMk id="22" creationId="{14F35E1A-2C93-B6CB-918D-868C9B06B0A7}"/>
          </ac:spMkLst>
        </pc:spChg>
        <pc:spChg chg="mod">
          <ac:chgData name="Annemarija Apine (LV)" userId="546f5c59-3b8d-47fd-b739-a8fadc631053" providerId="ADAL" clId="{34473802-5904-426F-ADDF-0D0D1B44876C}" dt="2024-03-04T09:09:57.241" v="7738" actId="255"/>
          <ac:spMkLst>
            <pc:docMk/>
            <pc:sldMk cId="507333055" sldId="905"/>
            <ac:spMk id="23" creationId="{F97CB2C5-7142-8223-7214-B1FDFDA9926A}"/>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4T09:13:32.451" v="7796"/>
              <pc2:cmMkLst xmlns:pc2="http://schemas.microsoft.com/office/powerpoint/2019/9/main/command">
                <pc:docMk/>
                <pc:sldMk cId="507333055" sldId="905"/>
                <pc2:cmMk id="{043AF3E3-9509-4AC0-99BD-DC4BF84F371C}"/>
              </pc2:cmMkLst>
              <pc226:cmRplyChg chg="add">
                <pc226:chgData name="Annemarija Apine (LV)" userId="546f5c59-3b8d-47fd-b739-a8fadc631053" providerId="ADAL" clId="{34473802-5904-426F-ADDF-0D0D1B44876C}" dt="2024-03-04T09:13:32.451" v="7796"/>
                <pc2:cmRplyMkLst xmlns:pc2="http://schemas.microsoft.com/office/powerpoint/2019/9/main/command">
                  <pc:docMk/>
                  <pc:sldMk cId="507333055" sldId="905"/>
                  <pc2:cmMk id="{043AF3E3-9509-4AC0-99BD-DC4BF84F371C}"/>
                  <pc2:cmRplyMk id="{1F928A31-189D-4F4F-8DE1-48F41019596D}"/>
                </pc2:cmRplyMkLst>
              </pc226:cmRplyChg>
            </pc226:cmChg>
          </p:ext>
        </pc:extLst>
      </pc:sldChg>
      <pc:sldChg chg="modSp new mod">
        <pc:chgData name="Annemarija Apine (LV)" userId="546f5c59-3b8d-47fd-b739-a8fadc631053" providerId="ADAL" clId="{34473802-5904-426F-ADDF-0D0D1B44876C}" dt="2024-03-01T10:37:58.101" v="5376" actId="20577"/>
        <pc:sldMkLst>
          <pc:docMk/>
          <pc:sldMk cId="1164346809" sldId="906"/>
        </pc:sldMkLst>
        <pc:spChg chg="mod">
          <ac:chgData name="Annemarija Apine (LV)" userId="546f5c59-3b8d-47fd-b739-a8fadc631053" providerId="ADAL" clId="{34473802-5904-426F-ADDF-0D0D1B44876C}" dt="2024-02-25T22:40:28.877" v="1452" actId="21"/>
          <ac:spMkLst>
            <pc:docMk/>
            <pc:sldMk cId="1164346809" sldId="906"/>
            <ac:spMk id="2" creationId="{C4A22B0F-AF4B-A2E9-A8E1-27275AED3C0E}"/>
          </ac:spMkLst>
        </pc:spChg>
        <pc:spChg chg="mod">
          <ac:chgData name="Annemarija Apine (LV)" userId="546f5c59-3b8d-47fd-b739-a8fadc631053" providerId="ADAL" clId="{34473802-5904-426F-ADDF-0D0D1B44876C}" dt="2024-02-25T22:40:29.493" v="1453"/>
          <ac:spMkLst>
            <pc:docMk/>
            <pc:sldMk cId="1164346809" sldId="906"/>
            <ac:spMk id="3" creationId="{686732B2-5FB3-221B-0CA8-0EE49D36265B}"/>
          </ac:spMkLst>
        </pc:spChg>
        <pc:spChg chg="mod">
          <ac:chgData name="Annemarija Apine (LV)" userId="546f5c59-3b8d-47fd-b739-a8fadc631053" providerId="ADAL" clId="{34473802-5904-426F-ADDF-0D0D1B44876C}" dt="2024-03-01T10:37:58.101" v="5376" actId="20577"/>
          <ac:spMkLst>
            <pc:docMk/>
            <pc:sldMk cId="1164346809" sldId="906"/>
            <ac:spMk id="25" creationId="{D0C17218-A0C6-A96B-4B0D-6C054C03A15C}"/>
          </ac:spMkLst>
        </pc:spChg>
      </pc:sldChg>
      <pc:sldChg chg="new del">
        <pc:chgData name="Annemarija Apine (LV)" userId="546f5c59-3b8d-47fd-b739-a8fadc631053" providerId="ADAL" clId="{34473802-5904-426F-ADDF-0D0D1B44876C}" dt="2024-02-25T22:38:30.861" v="1432" actId="47"/>
        <pc:sldMkLst>
          <pc:docMk/>
          <pc:sldMk cId="3596295574" sldId="906"/>
        </pc:sldMkLst>
      </pc:sldChg>
      <pc:sldChg chg="modSp new mod">
        <pc:chgData name="Annemarija Apine (LV)" userId="546f5c59-3b8d-47fd-b739-a8fadc631053" providerId="ADAL" clId="{34473802-5904-426F-ADDF-0D0D1B44876C}" dt="2024-02-25T22:44:00.686" v="1518" actId="20577"/>
        <pc:sldMkLst>
          <pc:docMk/>
          <pc:sldMk cId="1763387258" sldId="907"/>
        </pc:sldMkLst>
        <pc:spChg chg="mod">
          <ac:chgData name="Annemarija Apine (LV)" userId="546f5c59-3b8d-47fd-b739-a8fadc631053" providerId="ADAL" clId="{34473802-5904-426F-ADDF-0D0D1B44876C}" dt="2024-02-25T22:44:00.686" v="1518" actId="20577"/>
          <ac:spMkLst>
            <pc:docMk/>
            <pc:sldMk cId="1763387258" sldId="907"/>
            <ac:spMk id="2" creationId="{A60D9000-B106-EBC6-D720-BB2BD8542F11}"/>
          </ac:spMkLst>
        </pc:spChg>
      </pc:sldChg>
      <pc:sldChg chg="addSp delSp modSp new mod addCm modCm modNotesTx">
        <pc:chgData name="Annemarija Apine (LV)" userId="546f5c59-3b8d-47fd-b739-a8fadc631053" providerId="ADAL" clId="{34473802-5904-426F-ADDF-0D0D1B44876C}" dt="2024-03-10T23:46:46.716" v="9918" actId="207"/>
        <pc:sldMkLst>
          <pc:docMk/>
          <pc:sldMk cId="2300626159" sldId="908"/>
        </pc:sldMkLst>
        <pc:spChg chg="del">
          <ac:chgData name="Annemarija Apine (LV)" userId="546f5c59-3b8d-47fd-b739-a8fadc631053" providerId="ADAL" clId="{34473802-5904-426F-ADDF-0D0D1B44876C}" dt="2024-02-25T22:44:27.175" v="1523" actId="478"/>
          <ac:spMkLst>
            <pc:docMk/>
            <pc:sldMk cId="2300626159" sldId="908"/>
            <ac:spMk id="2" creationId="{4BED1570-714C-005E-0A38-E97100372231}"/>
          </ac:spMkLst>
        </pc:spChg>
        <pc:spChg chg="mod">
          <ac:chgData name="Annemarija Apine (LV)" userId="546f5c59-3b8d-47fd-b739-a8fadc631053" providerId="ADAL" clId="{34473802-5904-426F-ADDF-0D0D1B44876C}" dt="2024-03-10T23:46:15.229" v="9843" actId="20577"/>
          <ac:spMkLst>
            <pc:docMk/>
            <pc:sldMk cId="2300626159" sldId="908"/>
            <ac:spMk id="2" creationId="{B3B9B40C-89D0-00A8-E1FD-6C775139BEFB}"/>
          </ac:spMkLst>
        </pc:spChg>
        <pc:spChg chg="mod">
          <ac:chgData name="Annemarija Apine (LV)" userId="546f5c59-3b8d-47fd-b739-a8fadc631053" providerId="ADAL" clId="{34473802-5904-426F-ADDF-0D0D1B44876C}" dt="2024-02-25T22:44:44.164" v="1565" actId="20577"/>
          <ac:spMkLst>
            <pc:docMk/>
            <pc:sldMk cId="2300626159" sldId="908"/>
            <ac:spMk id="3" creationId="{18D846C5-0FE1-0722-5504-7D4D452EA64C}"/>
          </ac:spMkLst>
        </pc:spChg>
        <pc:spChg chg="add mod">
          <ac:chgData name="Annemarija Apine (LV)" userId="546f5c59-3b8d-47fd-b739-a8fadc631053" providerId="ADAL" clId="{34473802-5904-426F-ADDF-0D0D1B44876C}" dt="2024-03-10T23:46:46.716" v="9918" actId="207"/>
          <ac:spMkLst>
            <pc:docMk/>
            <pc:sldMk cId="2300626159" sldId="908"/>
            <ac:spMk id="6" creationId="{0AFC7914-6E3C-A739-5002-91A3B8F51557}"/>
          </ac:spMkLst>
        </pc:spChg>
        <pc:spChg chg="add mod">
          <ac:chgData name="Annemarija Apine (LV)" userId="546f5c59-3b8d-47fd-b739-a8fadc631053" providerId="ADAL" clId="{34473802-5904-426F-ADDF-0D0D1B44876C}" dt="2024-02-25T22:44:31.185" v="1524"/>
          <ac:spMkLst>
            <pc:docMk/>
            <pc:sldMk cId="2300626159" sldId="908"/>
            <ac:spMk id="9" creationId="{A2B233A5-ED06-3246-BD46-B7B39150B709}"/>
          </ac:spMkLst>
        </pc:spChg>
        <pc:spChg chg="add mod">
          <ac:chgData name="Annemarija Apine (LV)" userId="546f5c59-3b8d-47fd-b739-a8fadc631053" providerId="ADAL" clId="{34473802-5904-426F-ADDF-0D0D1B44876C}" dt="2024-02-25T22:44:31.185" v="1524"/>
          <ac:spMkLst>
            <pc:docMk/>
            <pc:sldMk cId="2300626159" sldId="908"/>
            <ac:spMk id="10" creationId="{C3DFDFF4-18D2-A047-B0B2-4C063F2C571A}"/>
          </ac:spMkLst>
        </pc:spChg>
        <pc:spChg chg="add mod">
          <ac:chgData name="Annemarija Apine (LV)" userId="546f5c59-3b8d-47fd-b739-a8fadc631053" providerId="ADAL" clId="{34473802-5904-426F-ADDF-0D0D1B44876C}" dt="2024-02-25T22:44:31.185" v="1524"/>
          <ac:spMkLst>
            <pc:docMk/>
            <pc:sldMk cId="2300626159" sldId="908"/>
            <ac:spMk id="11" creationId="{ABB70BD2-60C1-064D-95BB-38DE736A1572}"/>
          </ac:spMkLst>
        </pc:spChg>
        <pc:spChg chg="add mod">
          <ac:chgData name="Annemarija Apine (LV)" userId="546f5c59-3b8d-47fd-b739-a8fadc631053" providerId="ADAL" clId="{34473802-5904-426F-ADDF-0D0D1B44876C}" dt="2024-02-25T22:44:31.185" v="1524"/>
          <ac:spMkLst>
            <pc:docMk/>
            <pc:sldMk cId="2300626159" sldId="908"/>
            <ac:spMk id="12" creationId="{90E04B7C-9E41-4641-A5D6-FF34530482E0}"/>
          </ac:spMkLst>
        </pc:spChg>
        <pc:spChg chg="add mod">
          <ac:chgData name="Annemarija Apine (LV)" userId="546f5c59-3b8d-47fd-b739-a8fadc631053" providerId="ADAL" clId="{34473802-5904-426F-ADDF-0D0D1B44876C}" dt="2024-02-25T22:44:31.185" v="1524"/>
          <ac:spMkLst>
            <pc:docMk/>
            <pc:sldMk cId="2300626159" sldId="908"/>
            <ac:spMk id="13" creationId="{FFA0AA22-B08B-7F4A-B365-587EEE2D842D}"/>
          </ac:spMkLst>
        </pc:spChg>
        <pc:spChg chg="add mod">
          <ac:chgData name="Annemarija Apine (LV)" userId="546f5c59-3b8d-47fd-b739-a8fadc631053" providerId="ADAL" clId="{34473802-5904-426F-ADDF-0D0D1B44876C}" dt="2024-02-25T22:44:31.185" v="1524"/>
          <ac:spMkLst>
            <pc:docMk/>
            <pc:sldMk cId="2300626159" sldId="908"/>
            <ac:spMk id="15" creationId="{817192BF-33DA-6E42-944F-7B2F09E52C43}"/>
          </ac:spMkLst>
        </pc:spChg>
        <pc:spChg chg="add mod">
          <ac:chgData name="Annemarija Apine (LV)" userId="546f5c59-3b8d-47fd-b739-a8fadc631053" providerId="ADAL" clId="{34473802-5904-426F-ADDF-0D0D1B44876C}" dt="2024-02-25T22:44:31.185" v="1524"/>
          <ac:spMkLst>
            <pc:docMk/>
            <pc:sldMk cId="2300626159" sldId="908"/>
            <ac:spMk id="16" creationId="{2AA0056B-1B3F-9647-9399-DD6B5207FA3B}"/>
          </ac:spMkLst>
        </pc:spChg>
        <pc:spChg chg="add mod">
          <ac:chgData name="Annemarija Apine (LV)" userId="546f5c59-3b8d-47fd-b739-a8fadc631053" providerId="ADAL" clId="{34473802-5904-426F-ADDF-0D0D1B44876C}" dt="2024-02-25T22:44:31.185" v="1524"/>
          <ac:spMkLst>
            <pc:docMk/>
            <pc:sldMk cId="2300626159" sldId="908"/>
            <ac:spMk id="17" creationId="{C1683A97-5B75-9940-AD67-614A9DFD6627}"/>
          </ac:spMkLst>
        </pc:spChg>
        <pc:spChg chg="add mod">
          <ac:chgData name="Annemarija Apine (LV)" userId="546f5c59-3b8d-47fd-b739-a8fadc631053" providerId="ADAL" clId="{34473802-5904-426F-ADDF-0D0D1B44876C}" dt="2024-02-25T22:44:31.185" v="1524"/>
          <ac:spMkLst>
            <pc:docMk/>
            <pc:sldMk cId="2300626159" sldId="908"/>
            <ac:spMk id="18" creationId="{E4C5F8F0-E4BD-274A-8190-28583D21E512}"/>
          </ac:spMkLst>
        </pc:spChg>
        <pc:spChg chg="add mod">
          <ac:chgData name="Annemarija Apine (LV)" userId="546f5c59-3b8d-47fd-b739-a8fadc631053" providerId="ADAL" clId="{34473802-5904-426F-ADDF-0D0D1B44876C}" dt="2024-02-25T22:44:31.185" v="1524"/>
          <ac:spMkLst>
            <pc:docMk/>
            <pc:sldMk cId="2300626159" sldId="908"/>
            <ac:spMk id="23" creationId="{1DFA226E-CAF3-2D42-AC96-11A51BD07541}"/>
          </ac:spMkLst>
        </pc:spChg>
        <pc:spChg chg="add mod">
          <ac:chgData name="Annemarija Apine (LV)" userId="546f5c59-3b8d-47fd-b739-a8fadc631053" providerId="ADAL" clId="{34473802-5904-426F-ADDF-0D0D1B44876C}" dt="2024-02-25T22:44:31.185" v="1524"/>
          <ac:spMkLst>
            <pc:docMk/>
            <pc:sldMk cId="2300626159" sldId="908"/>
            <ac:spMk id="24" creationId="{10B15265-346F-0349-AF94-74C872CA65DD}"/>
          </ac:spMkLst>
        </pc:spChg>
        <pc:spChg chg="add mod">
          <ac:chgData name="Annemarija Apine (LV)" userId="546f5c59-3b8d-47fd-b739-a8fadc631053" providerId="ADAL" clId="{34473802-5904-426F-ADDF-0D0D1B44876C}" dt="2024-02-25T22:44:31.185" v="1524"/>
          <ac:spMkLst>
            <pc:docMk/>
            <pc:sldMk cId="2300626159" sldId="908"/>
            <ac:spMk id="25" creationId="{73F30B4C-A440-674A-9472-8F1EB39DA9F2}"/>
          </ac:spMkLst>
        </pc:spChg>
        <pc:spChg chg="add mod">
          <ac:chgData name="Annemarija Apine (LV)" userId="546f5c59-3b8d-47fd-b739-a8fadc631053" providerId="ADAL" clId="{34473802-5904-426F-ADDF-0D0D1B44876C}" dt="2024-03-01T12:33:45.930" v="5543" actId="20577"/>
          <ac:spMkLst>
            <pc:docMk/>
            <pc:sldMk cId="2300626159" sldId="908"/>
            <ac:spMk id="26" creationId="{8B070493-BB90-AA4F-AE2F-427F4E058BD7}"/>
          </ac:spMkLst>
        </pc:spChg>
        <pc:spChg chg="add mod">
          <ac:chgData name="Annemarija Apine (LV)" userId="546f5c59-3b8d-47fd-b739-a8fadc631053" providerId="ADAL" clId="{34473802-5904-426F-ADDF-0D0D1B44876C}" dt="2024-02-25T22:45:30.256" v="1607" actId="207"/>
          <ac:spMkLst>
            <pc:docMk/>
            <pc:sldMk cId="2300626159" sldId="908"/>
            <ac:spMk id="29" creationId="{1C1F5916-342D-144A-EBAF-E126E12E2DB7}"/>
          </ac:spMkLst>
        </pc:spChg>
        <pc:spChg chg="add del mod">
          <ac:chgData name="Annemarija Apine (LV)" userId="546f5c59-3b8d-47fd-b739-a8fadc631053" providerId="ADAL" clId="{34473802-5904-426F-ADDF-0D0D1B44876C}" dt="2024-02-28T12:49:37.594" v="4422" actId="478"/>
          <ac:spMkLst>
            <pc:docMk/>
            <pc:sldMk cId="2300626159" sldId="908"/>
            <ac:spMk id="30" creationId="{8F9292AA-0E3D-C981-C963-559CC0C93D0B}"/>
          </ac:spMkLst>
        </pc:spChg>
        <pc:grpChg chg="add mod">
          <ac:chgData name="Annemarija Apine (LV)" userId="546f5c59-3b8d-47fd-b739-a8fadc631053" providerId="ADAL" clId="{34473802-5904-426F-ADDF-0D0D1B44876C}" dt="2024-02-25T22:52:08.236" v="1718" actId="1076"/>
          <ac:grpSpMkLst>
            <pc:docMk/>
            <pc:sldMk cId="2300626159" sldId="908"/>
            <ac:grpSpMk id="7" creationId="{D6EAC053-21F2-E444-83CB-A1A2DC51780B}"/>
          </ac:grpSpMkLst>
        </pc:grpChg>
        <pc:grpChg chg="add mod">
          <ac:chgData name="Annemarija Apine (LV)" userId="546f5c59-3b8d-47fd-b739-a8fadc631053" providerId="ADAL" clId="{34473802-5904-426F-ADDF-0D0D1B44876C}" dt="2024-02-25T22:44:31.185" v="1524"/>
          <ac:grpSpMkLst>
            <pc:docMk/>
            <pc:sldMk cId="2300626159" sldId="908"/>
            <ac:grpSpMk id="8" creationId="{86977D4D-C135-A840-81B7-0E87940ADF9D}"/>
          </ac:grpSpMkLst>
        </pc:grpChg>
        <pc:grpChg chg="add mod">
          <ac:chgData name="Annemarija Apine (LV)" userId="546f5c59-3b8d-47fd-b739-a8fadc631053" providerId="ADAL" clId="{34473802-5904-426F-ADDF-0D0D1B44876C}" dt="2024-02-25T22:44:31.185" v="1524"/>
          <ac:grpSpMkLst>
            <pc:docMk/>
            <pc:sldMk cId="2300626159" sldId="908"/>
            <ac:grpSpMk id="22" creationId="{B4EA56F4-F992-AF49-B00A-59645909B400}"/>
          </ac:grpSpMkLst>
        </pc:grpChg>
        <pc:picChg chg="add del mod">
          <ac:chgData name="Annemarija Apine (LV)" userId="546f5c59-3b8d-47fd-b739-a8fadc631053" providerId="ADAL" clId="{34473802-5904-426F-ADDF-0D0D1B44876C}" dt="2024-03-04T09:17:11.776" v="7857" actId="478"/>
          <ac:picMkLst>
            <pc:docMk/>
            <pc:sldMk cId="2300626159" sldId="908"/>
            <ac:picMk id="28" creationId="{AD222C1E-263F-07AF-2E47-D775770A7384}"/>
          </ac:picMkLst>
        </pc:picChg>
        <pc:cxnChg chg="add mod">
          <ac:chgData name="Annemarija Apine (LV)" userId="546f5c59-3b8d-47fd-b739-a8fadc631053" providerId="ADAL" clId="{34473802-5904-426F-ADDF-0D0D1B44876C}" dt="2024-02-25T22:44:31.185" v="1524"/>
          <ac:cxnSpMkLst>
            <pc:docMk/>
            <pc:sldMk cId="2300626159" sldId="908"/>
            <ac:cxnSpMk id="14" creationId="{E144EF51-9752-2643-8FD1-0B2B33AE78C8}"/>
          </ac:cxnSpMkLst>
        </pc:cxnChg>
        <pc:cxnChg chg="add mod">
          <ac:chgData name="Annemarija Apine (LV)" userId="546f5c59-3b8d-47fd-b739-a8fadc631053" providerId="ADAL" clId="{34473802-5904-426F-ADDF-0D0D1B44876C}" dt="2024-02-25T22:44:31.185" v="1524"/>
          <ac:cxnSpMkLst>
            <pc:docMk/>
            <pc:sldMk cId="2300626159" sldId="908"/>
            <ac:cxnSpMk id="19" creationId="{9284D3D4-0D07-EA44-BBB7-4997056954EB}"/>
          </ac:cxnSpMkLst>
        </pc:cxnChg>
        <pc:cxnChg chg="add mod">
          <ac:chgData name="Annemarija Apine (LV)" userId="546f5c59-3b8d-47fd-b739-a8fadc631053" providerId="ADAL" clId="{34473802-5904-426F-ADDF-0D0D1B44876C}" dt="2024-02-25T22:44:31.185" v="1524"/>
          <ac:cxnSpMkLst>
            <pc:docMk/>
            <pc:sldMk cId="2300626159" sldId="908"/>
            <ac:cxnSpMk id="20" creationId="{7E5909C4-5B13-6F4C-A109-9212461D0EC8}"/>
          </ac:cxnSpMkLst>
        </pc:cxnChg>
        <pc:cxnChg chg="add mod">
          <ac:chgData name="Annemarija Apine (LV)" userId="546f5c59-3b8d-47fd-b739-a8fadc631053" providerId="ADAL" clId="{34473802-5904-426F-ADDF-0D0D1B44876C}" dt="2024-02-25T22:44:31.185" v="1524"/>
          <ac:cxnSpMkLst>
            <pc:docMk/>
            <pc:sldMk cId="2300626159" sldId="908"/>
            <ac:cxnSpMk id="21" creationId="{3F449FC9-9CBC-9C40-9884-03C02B0890C5}"/>
          </ac:cxnSpMkLst>
        </pc:cxnChg>
        <pc:extLst>
          <p:ext xmlns:p="http://schemas.openxmlformats.org/presentationml/2006/main" uri="{D6D511B9-2390-475A-947B-AFAB55BFBCF1}">
            <pc226:cmChg xmlns:pc226="http://schemas.microsoft.com/office/powerpoint/2022/06/main/command" chg="add mod">
              <pc226:chgData name="Annemarija Apine (LV)" userId="546f5c59-3b8d-47fd-b739-a8fadc631053" providerId="ADAL" clId="{34473802-5904-426F-ADDF-0D0D1B44876C}" dt="2024-03-04T09:15:47.627" v="7840"/>
              <pc2:cmMkLst xmlns:pc2="http://schemas.microsoft.com/office/powerpoint/2019/9/main/command">
                <pc:docMk/>
                <pc:sldMk cId="2300626159" sldId="908"/>
                <pc2:cmMk id="{9EB49911-F31C-40DF-85BF-E42ABCAEF3DF}"/>
              </pc2:cmMkLst>
            </pc226:cmChg>
            <pc226:cmChg xmlns:pc226="http://schemas.microsoft.com/office/powerpoint/2022/06/main/command" chg="add">
              <pc226:chgData name="Annemarija Apine (LV)" userId="546f5c59-3b8d-47fd-b739-a8fadc631053" providerId="ADAL" clId="{34473802-5904-426F-ADDF-0D0D1B44876C}" dt="2024-03-01T15:42:09.112" v="6887"/>
              <pc2:cmMkLst xmlns:pc2="http://schemas.microsoft.com/office/powerpoint/2019/9/main/command">
                <pc:docMk/>
                <pc:sldMk cId="2300626159" sldId="908"/>
                <pc2:cmMk id="{FC7E61B3-0B67-4E2A-96C5-34AA02841D10}"/>
              </pc2:cmMkLst>
            </pc226:cmChg>
            <pc226:cmChg xmlns:pc226="http://schemas.microsoft.com/office/powerpoint/2022/06/main/command" chg="add">
              <pc226:chgData name="Annemarija Apine (LV)" userId="546f5c59-3b8d-47fd-b739-a8fadc631053" providerId="ADAL" clId="{34473802-5904-426F-ADDF-0D0D1B44876C}" dt="2024-03-01T15:38:38.288" v="6882"/>
              <pc2:cmMkLst xmlns:pc2="http://schemas.microsoft.com/office/powerpoint/2019/9/main/command">
                <pc:docMk/>
                <pc:sldMk cId="2300626159" sldId="908"/>
                <pc2:cmMk id="{EB40C0CD-5758-4469-A4F4-96B6F7B1BF19}"/>
              </pc2:cmMkLst>
            </pc226:cmChg>
          </p:ext>
        </pc:extLst>
      </pc:sldChg>
      <pc:sldChg chg="addSp delSp modSp add mod modNotesTx">
        <pc:chgData name="Annemarija Apine (LV)" userId="546f5c59-3b8d-47fd-b739-a8fadc631053" providerId="ADAL" clId="{34473802-5904-426F-ADDF-0D0D1B44876C}" dt="2024-03-04T09:17:29.529" v="7861" actId="20577"/>
        <pc:sldMkLst>
          <pc:docMk/>
          <pc:sldMk cId="1764034675" sldId="909"/>
        </pc:sldMkLst>
        <pc:spChg chg="mod">
          <ac:chgData name="Annemarija Apine (LV)" userId="546f5c59-3b8d-47fd-b739-a8fadc631053" providerId="ADAL" clId="{34473802-5904-426F-ADDF-0D0D1B44876C}" dt="2024-02-25T22:46:28.029" v="1640"/>
          <ac:spMkLst>
            <pc:docMk/>
            <pc:sldMk cId="1764034675" sldId="909"/>
            <ac:spMk id="3" creationId="{18D846C5-0FE1-0722-5504-7D4D452EA64C}"/>
          </ac:spMkLst>
        </pc:spChg>
        <pc:spChg chg="mod">
          <ac:chgData name="Annemarija Apine (LV)" userId="546f5c59-3b8d-47fd-b739-a8fadc631053" providerId="ADAL" clId="{34473802-5904-426F-ADDF-0D0D1B44876C}" dt="2024-03-04T09:17:29.529" v="7861" actId="20577"/>
          <ac:spMkLst>
            <pc:docMk/>
            <pc:sldMk cId="1764034675" sldId="909"/>
            <ac:spMk id="19" creationId="{EF4D8BEF-8566-D43D-9B28-E036D42EE6BC}"/>
          </ac:spMkLst>
        </pc:spChg>
        <pc:spChg chg="add mod">
          <ac:chgData name="Annemarija Apine (LV)" userId="546f5c59-3b8d-47fd-b739-a8fadc631053" providerId="ADAL" clId="{34473802-5904-426F-ADDF-0D0D1B44876C}" dt="2024-02-25T22:46:38.719" v="1645" actId="1076"/>
          <ac:spMkLst>
            <pc:docMk/>
            <pc:sldMk cId="1764034675" sldId="909"/>
            <ac:spMk id="27" creationId="{1268ADC1-4788-3BD9-6185-9FFA4639C3A2}"/>
          </ac:spMkLst>
        </pc:spChg>
        <pc:spChg chg="del">
          <ac:chgData name="Annemarija Apine (LV)" userId="546f5c59-3b8d-47fd-b739-a8fadc631053" providerId="ADAL" clId="{34473802-5904-426F-ADDF-0D0D1B44876C}" dt="2024-02-25T22:45:52.010" v="1613" actId="478"/>
          <ac:spMkLst>
            <pc:docMk/>
            <pc:sldMk cId="1764034675" sldId="909"/>
            <ac:spMk id="29" creationId="{1C1F5916-342D-144A-EBAF-E126E12E2DB7}"/>
          </ac:spMkLst>
        </pc:spChg>
        <pc:spChg chg="add del mod">
          <ac:chgData name="Annemarija Apine (LV)" userId="546f5c59-3b8d-47fd-b739-a8fadc631053" providerId="ADAL" clId="{34473802-5904-426F-ADDF-0D0D1B44876C}" dt="2024-03-01T12:34:01.305" v="5546" actId="478"/>
          <ac:spMkLst>
            <pc:docMk/>
            <pc:sldMk cId="1764034675" sldId="909"/>
            <ac:spMk id="32" creationId="{07B47C77-2929-B899-4FE7-A074A3441532}"/>
          </ac:spMkLst>
        </pc:spChg>
        <pc:spChg chg="add del mod">
          <ac:chgData name="Annemarija Apine (LV)" userId="546f5c59-3b8d-47fd-b739-a8fadc631053" providerId="ADAL" clId="{34473802-5904-426F-ADDF-0D0D1B44876C}" dt="2024-03-01T12:34:07.174" v="5549" actId="478"/>
          <ac:spMkLst>
            <pc:docMk/>
            <pc:sldMk cId="1764034675" sldId="909"/>
            <ac:spMk id="33" creationId="{58A662B3-2A79-7B9A-8B47-853A3D730B8F}"/>
          </ac:spMkLst>
        </pc:spChg>
        <pc:grpChg chg="del mod">
          <ac:chgData name="Annemarija Apine (LV)" userId="546f5c59-3b8d-47fd-b739-a8fadc631053" providerId="ADAL" clId="{34473802-5904-426F-ADDF-0D0D1B44876C}" dt="2024-02-25T22:46:01.202" v="1616" actId="478"/>
          <ac:grpSpMkLst>
            <pc:docMk/>
            <pc:sldMk cId="1764034675" sldId="909"/>
            <ac:grpSpMk id="7" creationId="{D6EAC053-21F2-E444-83CB-A1A2DC51780B}"/>
          </ac:grpSpMkLst>
        </pc:grpChg>
        <pc:picChg chg="del">
          <ac:chgData name="Annemarija Apine (LV)" userId="546f5c59-3b8d-47fd-b739-a8fadc631053" providerId="ADAL" clId="{34473802-5904-426F-ADDF-0D0D1B44876C}" dt="2024-02-25T22:45:52.705" v="1614" actId="478"/>
          <ac:picMkLst>
            <pc:docMk/>
            <pc:sldMk cId="1764034675" sldId="909"/>
            <ac:picMk id="28" creationId="{AD222C1E-263F-07AF-2E47-D775770A7384}"/>
          </ac:picMkLst>
        </pc:picChg>
        <pc:picChg chg="add del mod">
          <ac:chgData name="Annemarija Apine (LV)" userId="546f5c59-3b8d-47fd-b739-a8fadc631053" providerId="ADAL" clId="{34473802-5904-426F-ADDF-0D0D1B44876C}" dt="2024-03-01T12:33:59.946" v="5545" actId="478"/>
          <ac:picMkLst>
            <pc:docMk/>
            <pc:sldMk cId="1764034675" sldId="909"/>
            <ac:picMk id="31" creationId="{DAB24842-7F5B-C11C-5CF1-06E1F8554D0B}"/>
          </ac:picMkLst>
        </pc:picChg>
        <pc:cxnChg chg="mod">
          <ac:chgData name="Annemarija Apine (LV)" userId="546f5c59-3b8d-47fd-b739-a8fadc631053" providerId="ADAL" clId="{34473802-5904-426F-ADDF-0D0D1B44876C}" dt="2024-02-25T22:46:01.202" v="1616" actId="478"/>
          <ac:cxnSpMkLst>
            <pc:docMk/>
            <pc:sldMk cId="1764034675" sldId="909"/>
            <ac:cxnSpMk id="14" creationId="{E144EF51-9752-2643-8FD1-0B2B33AE78C8}"/>
          </ac:cxnSpMkLst>
        </pc:cxnChg>
      </pc:sldChg>
      <pc:sldChg chg="modSp add mod ord">
        <pc:chgData name="Annemarija Apine (LV)" userId="546f5c59-3b8d-47fd-b739-a8fadc631053" providerId="ADAL" clId="{34473802-5904-426F-ADDF-0D0D1B44876C}" dt="2024-02-26T00:00:30.690" v="1875" actId="20577"/>
        <pc:sldMkLst>
          <pc:docMk/>
          <pc:sldMk cId="3199894501" sldId="910"/>
        </pc:sldMkLst>
        <pc:spChg chg="mod">
          <ac:chgData name="Annemarija Apine (LV)" userId="546f5c59-3b8d-47fd-b739-a8fadc631053" providerId="ADAL" clId="{34473802-5904-426F-ADDF-0D0D1B44876C}" dt="2024-02-26T00:00:30.690" v="1875" actId="20577"/>
          <ac:spMkLst>
            <pc:docMk/>
            <pc:sldMk cId="3199894501" sldId="910"/>
            <ac:spMk id="2" creationId="{A60D9000-B106-EBC6-D720-BB2BD8542F11}"/>
          </ac:spMkLst>
        </pc:spChg>
      </pc:sldChg>
      <pc:sldChg chg="addSp delSp modSp new mod ord modNotesTx">
        <pc:chgData name="Annemarija Apine (LV)" userId="546f5c59-3b8d-47fd-b739-a8fadc631053" providerId="ADAL" clId="{34473802-5904-426F-ADDF-0D0D1B44876C}" dt="2024-03-04T09:20:41.109" v="7940" actId="20577"/>
        <pc:sldMkLst>
          <pc:docMk/>
          <pc:sldMk cId="2040534611" sldId="911"/>
        </pc:sldMkLst>
        <pc:spChg chg="mod">
          <ac:chgData name="Annemarija Apine (LV)" userId="546f5c59-3b8d-47fd-b739-a8fadc631053" providerId="ADAL" clId="{34473802-5904-426F-ADDF-0D0D1B44876C}" dt="2024-02-26T00:05:47.301" v="2322"/>
          <ac:spMkLst>
            <pc:docMk/>
            <pc:sldMk cId="2040534611" sldId="911"/>
            <ac:spMk id="2" creationId="{A1EA5253-E431-DFFC-E94A-6F8E087CC2C0}"/>
          </ac:spMkLst>
        </pc:spChg>
        <pc:spChg chg="mod">
          <ac:chgData name="Annemarija Apine (LV)" userId="546f5c59-3b8d-47fd-b739-a8fadc631053" providerId="ADAL" clId="{34473802-5904-426F-ADDF-0D0D1B44876C}" dt="2024-03-04T09:20:41.109" v="7940" actId="20577"/>
          <ac:spMkLst>
            <pc:docMk/>
            <pc:sldMk cId="2040534611" sldId="911"/>
            <ac:spMk id="3" creationId="{F4CCF02E-F3C4-C376-8F56-61BD85A2E74B}"/>
          </ac:spMkLst>
        </pc:spChg>
        <pc:spChg chg="add mod">
          <ac:chgData name="Annemarija Apine (LV)" userId="546f5c59-3b8d-47fd-b739-a8fadc631053" providerId="ADAL" clId="{34473802-5904-426F-ADDF-0D0D1B44876C}" dt="2024-02-26T00:09:36.721" v="2426" actId="20577"/>
          <ac:spMkLst>
            <pc:docMk/>
            <pc:sldMk cId="2040534611" sldId="911"/>
            <ac:spMk id="7" creationId="{C808DA25-FA14-FF3C-E908-05869001F803}"/>
          </ac:spMkLst>
        </pc:spChg>
        <pc:spChg chg="add del mod">
          <ac:chgData name="Annemarija Apine (LV)" userId="546f5c59-3b8d-47fd-b739-a8fadc631053" providerId="ADAL" clId="{34473802-5904-426F-ADDF-0D0D1B44876C}" dt="2024-02-26T00:05:08.334" v="2289" actId="478"/>
          <ac:spMkLst>
            <pc:docMk/>
            <pc:sldMk cId="2040534611" sldId="911"/>
            <ac:spMk id="8" creationId="{2292A5BD-BBCF-E009-4522-732CB9873538}"/>
          </ac:spMkLst>
        </pc:spChg>
        <pc:spChg chg="add mod">
          <ac:chgData name="Annemarija Apine (LV)" userId="546f5c59-3b8d-47fd-b739-a8fadc631053" providerId="ADAL" clId="{34473802-5904-426F-ADDF-0D0D1B44876C}" dt="2024-02-26T00:06:07.221" v="2327"/>
          <ac:spMkLst>
            <pc:docMk/>
            <pc:sldMk cId="2040534611" sldId="911"/>
            <ac:spMk id="9" creationId="{87836C41-8052-C603-D229-3FB1E5E9CE1A}"/>
          </ac:spMkLst>
        </pc:spChg>
        <pc:spChg chg="add mod">
          <ac:chgData name="Annemarija Apine (LV)" userId="546f5c59-3b8d-47fd-b739-a8fadc631053" providerId="ADAL" clId="{34473802-5904-426F-ADDF-0D0D1B44876C}" dt="2024-02-26T00:05:06.388" v="2288"/>
          <ac:spMkLst>
            <pc:docMk/>
            <pc:sldMk cId="2040534611" sldId="911"/>
            <ac:spMk id="10" creationId="{489B7680-E5EE-2A50-7733-37F2F144B869}"/>
          </ac:spMkLst>
        </pc:spChg>
        <pc:spChg chg="add mod">
          <ac:chgData name="Annemarija Apine (LV)" userId="546f5c59-3b8d-47fd-b739-a8fadc631053" providerId="ADAL" clId="{34473802-5904-426F-ADDF-0D0D1B44876C}" dt="2024-02-26T00:07:47.761" v="2379" actId="20577"/>
          <ac:spMkLst>
            <pc:docMk/>
            <pc:sldMk cId="2040534611" sldId="911"/>
            <ac:spMk id="11" creationId="{597D3F9D-B1C1-4C06-C77E-3378939A3472}"/>
          </ac:spMkLst>
        </pc:spChg>
      </pc:sldChg>
      <pc:sldChg chg="addSp modSp add mod ord">
        <pc:chgData name="Annemarija Apine (LV)" userId="546f5c59-3b8d-47fd-b739-a8fadc631053" providerId="ADAL" clId="{34473802-5904-426F-ADDF-0D0D1B44876C}" dt="2024-02-29T08:35:27.215" v="5232" actId="20577"/>
        <pc:sldMkLst>
          <pc:docMk/>
          <pc:sldMk cId="1829617463" sldId="912"/>
        </pc:sldMkLst>
        <pc:spChg chg="mod">
          <ac:chgData name="Annemarija Apine (LV)" userId="546f5c59-3b8d-47fd-b739-a8fadc631053" providerId="ADAL" clId="{34473802-5904-426F-ADDF-0D0D1B44876C}" dt="2024-02-26T00:05:32.883" v="2318" actId="20577"/>
          <ac:spMkLst>
            <pc:docMk/>
            <pc:sldMk cId="1829617463" sldId="912"/>
            <ac:spMk id="3" creationId="{F4CCF02E-F3C4-C376-8F56-61BD85A2E74B}"/>
          </ac:spMkLst>
        </pc:spChg>
        <pc:spChg chg="mod">
          <ac:chgData name="Annemarija Apine (LV)" userId="546f5c59-3b8d-47fd-b739-a8fadc631053" providerId="ADAL" clId="{34473802-5904-426F-ADDF-0D0D1B44876C}" dt="2024-02-29T08:35:27.215" v="5232" actId="20577"/>
          <ac:spMkLst>
            <pc:docMk/>
            <pc:sldMk cId="1829617463" sldId="912"/>
            <ac:spMk id="8" creationId="{2292A5BD-BBCF-E009-4522-732CB9873538}"/>
          </ac:spMkLst>
        </pc:spChg>
        <pc:spChg chg="add mod">
          <ac:chgData name="Annemarija Apine (LV)" userId="546f5c59-3b8d-47fd-b739-a8fadc631053" providerId="ADAL" clId="{34473802-5904-426F-ADDF-0D0D1B44876C}" dt="2024-02-26T00:04:49.695" v="2250" actId="207"/>
          <ac:spMkLst>
            <pc:docMk/>
            <pc:sldMk cId="1829617463" sldId="912"/>
            <ac:spMk id="10" creationId="{6F55AA3F-6103-110B-C367-10711AC49356}"/>
          </ac:spMkLst>
        </pc:spChg>
      </pc:sldChg>
      <pc:sldChg chg="modSp add del mod modNotesTx">
        <pc:chgData name="Annemarija Apine (LV)" userId="546f5c59-3b8d-47fd-b739-a8fadc631053" providerId="ADAL" clId="{34473802-5904-426F-ADDF-0D0D1B44876C}" dt="2024-02-26T22:59:40.571" v="3204" actId="47"/>
        <pc:sldMkLst>
          <pc:docMk/>
          <pc:sldMk cId="447902919" sldId="913"/>
        </pc:sldMkLst>
        <pc:spChg chg="mod">
          <ac:chgData name="Annemarija Apine (LV)" userId="546f5c59-3b8d-47fd-b739-a8fadc631053" providerId="ADAL" clId="{34473802-5904-426F-ADDF-0D0D1B44876C}" dt="2024-02-26T00:07:08.974" v="2342"/>
          <ac:spMkLst>
            <pc:docMk/>
            <pc:sldMk cId="447902919" sldId="913"/>
            <ac:spMk id="2" creationId="{A1EA5253-E431-DFFC-E94A-6F8E087CC2C0}"/>
          </ac:spMkLst>
        </pc:spChg>
        <pc:spChg chg="mod">
          <ac:chgData name="Annemarija Apine (LV)" userId="546f5c59-3b8d-47fd-b739-a8fadc631053" providerId="ADAL" clId="{34473802-5904-426F-ADDF-0D0D1B44876C}" dt="2024-02-26T00:06:51.247" v="2339" actId="20577"/>
          <ac:spMkLst>
            <pc:docMk/>
            <pc:sldMk cId="447902919" sldId="913"/>
            <ac:spMk id="3" creationId="{F4CCF02E-F3C4-C376-8F56-61BD85A2E74B}"/>
          </ac:spMkLst>
        </pc:spChg>
        <pc:spChg chg="mod">
          <ac:chgData name="Annemarija Apine (LV)" userId="546f5c59-3b8d-47fd-b739-a8fadc631053" providerId="ADAL" clId="{34473802-5904-426F-ADDF-0D0D1B44876C}" dt="2024-02-26T00:09:40.443" v="2428" actId="20577"/>
          <ac:spMkLst>
            <pc:docMk/>
            <pc:sldMk cId="447902919" sldId="913"/>
            <ac:spMk id="7" creationId="{C808DA25-FA14-FF3C-E908-05869001F803}"/>
          </ac:spMkLst>
        </pc:spChg>
        <pc:spChg chg="mod">
          <ac:chgData name="Annemarija Apine (LV)" userId="546f5c59-3b8d-47fd-b739-a8fadc631053" providerId="ADAL" clId="{34473802-5904-426F-ADDF-0D0D1B44876C}" dt="2024-02-26T00:07:30.192" v="2347" actId="20577"/>
          <ac:spMkLst>
            <pc:docMk/>
            <pc:sldMk cId="447902919" sldId="913"/>
            <ac:spMk id="9" creationId="{87836C41-8052-C603-D229-3FB1E5E9CE1A}"/>
          </ac:spMkLst>
        </pc:spChg>
      </pc:sldChg>
      <pc:sldChg chg="modSp add mod modNotesTx">
        <pc:chgData name="Annemarija Apine (LV)" userId="546f5c59-3b8d-47fd-b739-a8fadc631053" providerId="ADAL" clId="{34473802-5904-426F-ADDF-0D0D1B44876C}" dt="2024-03-04T09:23:38.921" v="8187" actId="20577"/>
        <pc:sldMkLst>
          <pc:docMk/>
          <pc:sldMk cId="3429470186" sldId="914"/>
        </pc:sldMkLst>
        <pc:spChg chg="mod">
          <ac:chgData name="Annemarija Apine (LV)" userId="546f5c59-3b8d-47fd-b739-a8fadc631053" providerId="ADAL" clId="{34473802-5904-426F-ADDF-0D0D1B44876C}" dt="2024-03-04T09:21:16.111" v="8008" actId="20577"/>
          <ac:spMkLst>
            <pc:docMk/>
            <pc:sldMk cId="3429470186" sldId="914"/>
            <ac:spMk id="3" creationId="{F4CCF02E-F3C4-C376-8F56-61BD85A2E74B}"/>
          </ac:spMkLst>
        </pc:spChg>
        <pc:spChg chg="mod">
          <ac:chgData name="Annemarija Apine (LV)" userId="546f5c59-3b8d-47fd-b739-a8fadc631053" providerId="ADAL" clId="{34473802-5904-426F-ADDF-0D0D1B44876C}" dt="2024-02-26T00:09:42.897" v="2430" actId="20577"/>
          <ac:spMkLst>
            <pc:docMk/>
            <pc:sldMk cId="3429470186" sldId="914"/>
            <ac:spMk id="7" creationId="{C808DA25-FA14-FF3C-E908-05869001F803}"/>
          </ac:spMkLst>
        </pc:spChg>
        <pc:spChg chg="mod">
          <ac:chgData name="Annemarija Apine (LV)" userId="546f5c59-3b8d-47fd-b739-a8fadc631053" providerId="ADAL" clId="{34473802-5904-426F-ADDF-0D0D1B44876C}" dt="2024-02-26T00:08:37.760" v="2398" actId="20577"/>
          <ac:spMkLst>
            <pc:docMk/>
            <pc:sldMk cId="3429470186" sldId="914"/>
            <ac:spMk id="9" creationId="{87836C41-8052-C603-D229-3FB1E5E9CE1A}"/>
          </ac:spMkLst>
        </pc:spChg>
        <pc:spChg chg="mod">
          <ac:chgData name="Annemarija Apine (LV)" userId="546f5c59-3b8d-47fd-b739-a8fadc631053" providerId="ADAL" clId="{34473802-5904-426F-ADDF-0D0D1B44876C}" dt="2024-03-04T09:23:32.252" v="8186" actId="20577"/>
          <ac:spMkLst>
            <pc:docMk/>
            <pc:sldMk cId="3429470186" sldId="914"/>
            <ac:spMk id="16" creationId="{25A25F16-3DF9-5BEF-8F70-42FAB50A6BCE}"/>
          </ac:spMkLst>
        </pc:spChg>
      </pc:sldChg>
      <pc:sldChg chg="addSp delSp modSp add mod addCm modNotesTx">
        <pc:chgData name="Annemarija Apine (LV)" userId="546f5c59-3b8d-47fd-b739-a8fadc631053" providerId="ADAL" clId="{34473802-5904-426F-ADDF-0D0D1B44876C}" dt="2024-03-11T14:41:59.591" v="10300" actId="21"/>
        <pc:sldMkLst>
          <pc:docMk/>
          <pc:sldMk cId="1981412866" sldId="915"/>
        </pc:sldMkLst>
        <pc:spChg chg="mod">
          <ac:chgData name="Annemarija Apine (LV)" userId="546f5c59-3b8d-47fd-b739-a8fadc631053" providerId="ADAL" clId="{34473802-5904-426F-ADDF-0D0D1B44876C}" dt="2024-02-26T00:10:35.842" v="2519" actId="14100"/>
          <ac:spMkLst>
            <pc:docMk/>
            <pc:sldMk cId="1981412866" sldId="915"/>
            <ac:spMk id="2" creationId="{A1EA5253-E431-DFFC-E94A-6F8E087CC2C0}"/>
          </ac:spMkLst>
        </pc:spChg>
        <pc:spChg chg="mod">
          <ac:chgData name="Annemarija Apine (LV)" userId="546f5c59-3b8d-47fd-b739-a8fadc631053" providerId="ADAL" clId="{34473802-5904-426F-ADDF-0D0D1B44876C}" dt="2024-02-26T00:09:24.419" v="2418" actId="20577"/>
          <ac:spMkLst>
            <pc:docMk/>
            <pc:sldMk cId="1981412866" sldId="915"/>
            <ac:spMk id="3" creationId="{F4CCF02E-F3C4-C376-8F56-61BD85A2E74B}"/>
          </ac:spMkLst>
        </pc:spChg>
        <pc:spChg chg="del mod">
          <ac:chgData name="Annemarija Apine (LV)" userId="546f5c59-3b8d-47fd-b739-a8fadc631053" providerId="ADAL" clId="{34473802-5904-426F-ADDF-0D0D1B44876C}" dt="2024-02-26T00:09:50.030" v="2433" actId="478"/>
          <ac:spMkLst>
            <pc:docMk/>
            <pc:sldMk cId="1981412866" sldId="915"/>
            <ac:spMk id="7" creationId="{C808DA25-FA14-FF3C-E908-05869001F803}"/>
          </ac:spMkLst>
        </pc:spChg>
        <pc:spChg chg="add mod">
          <ac:chgData name="Annemarija Apine (LV)" userId="546f5c59-3b8d-47fd-b739-a8fadc631053" providerId="ADAL" clId="{34473802-5904-426F-ADDF-0D0D1B44876C}" dt="2024-02-26T14:51:02.537" v="2657" actId="20577"/>
          <ac:spMkLst>
            <pc:docMk/>
            <pc:sldMk cId="1981412866" sldId="915"/>
            <ac:spMk id="8" creationId="{598AB23C-0BF9-85FE-4B7A-DC0CF1A85603}"/>
          </ac:spMkLst>
        </pc:spChg>
        <pc:spChg chg="del mod">
          <ac:chgData name="Annemarija Apine (LV)" userId="546f5c59-3b8d-47fd-b739-a8fadc631053" providerId="ADAL" clId="{34473802-5904-426F-ADDF-0D0D1B44876C}" dt="2024-02-26T00:10:51.200" v="2523" actId="478"/>
          <ac:spMkLst>
            <pc:docMk/>
            <pc:sldMk cId="1981412866" sldId="915"/>
            <ac:spMk id="9" creationId="{87836C41-8052-C603-D229-3FB1E5E9CE1A}"/>
          </ac:spMkLst>
        </pc:spChg>
        <pc:spChg chg="add mod">
          <ac:chgData name="Annemarija Apine (LV)" userId="546f5c59-3b8d-47fd-b739-a8fadc631053" providerId="ADAL" clId="{34473802-5904-426F-ADDF-0D0D1B44876C}" dt="2024-02-26T00:12:33.428" v="2562" actId="12"/>
          <ac:spMkLst>
            <pc:docMk/>
            <pc:sldMk cId="1981412866" sldId="915"/>
            <ac:spMk id="11" creationId="{327B1A4B-6980-7B00-091C-6006703B82A0}"/>
          </ac:spMkLst>
        </pc:spChg>
        <pc:spChg chg="add del mod">
          <ac:chgData name="Annemarija Apine (LV)" userId="546f5c59-3b8d-47fd-b739-a8fadc631053" providerId="ADAL" clId="{34473802-5904-426F-ADDF-0D0D1B44876C}" dt="2024-02-26T22:53:03.232" v="2715" actId="21"/>
          <ac:spMkLst>
            <pc:docMk/>
            <pc:sldMk cId="1981412866" sldId="915"/>
            <ac:spMk id="12" creationId="{659F5A23-83C2-3FB5-5C9C-13F41BA750FF}"/>
          </ac:spMkLst>
        </pc:spChg>
        <pc:grpChg chg="add del">
          <ac:chgData name="Annemarija Apine (LV)" userId="546f5c59-3b8d-47fd-b739-a8fadc631053" providerId="ADAL" clId="{34473802-5904-426F-ADDF-0D0D1B44876C}" dt="2024-03-11T14:41:59.591" v="10300" actId="21"/>
          <ac:grpSpMkLst>
            <pc:docMk/>
            <pc:sldMk cId="1981412866" sldId="915"/>
            <ac:grpSpMk id="18" creationId="{A49FE20D-FD8B-8459-9736-4ADAB34854A3}"/>
          </ac:grpSpMkLst>
        </pc:gr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4T09:27:33.350" v="8216"/>
              <pc2:cmMkLst xmlns:pc2="http://schemas.microsoft.com/office/powerpoint/2019/9/main/command">
                <pc:docMk/>
                <pc:sldMk cId="1981412866" sldId="915"/>
                <pc2:cmMk id="{0A2FB834-DE41-4211-88A4-807F40A0D977}"/>
              </pc2:cmMkLst>
            </pc226:cmChg>
          </p:ext>
        </pc:extLst>
      </pc:sldChg>
      <pc:sldChg chg="addSp delSp modSp add mod addCm modNotesTx">
        <pc:chgData name="Annemarija Apine (LV)" userId="546f5c59-3b8d-47fd-b739-a8fadc631053" providerId="ADAL" clId="{34473802-5904-426F-ADDF-0D0D1B44876C}" dt="2024-03-11T14:42:02.099" v="10325"/>
        <pc:sldMkLst>
          <pc:docMk/>
          <pc:sldMk cId="64855802" sldId="916"/>
        </pc:sldMkLst>
        <pc:spChg chg="mod">
          <ac:chgData name="Annemarija Apine (LV)" userId="546f5c59-3b8d-47fd-b739-a8fadc631053" providerId="ADAL" clId="{34473802-5904-426F-ADDF-0D0D1B44876C}" dt="2024-02-26T23:02:55.995" v="3376" actId="113"/>
          <ac:spMkLst>
            <pc:docMk/>
            <pc:sldMk cId="64855802" sldId="916"/>
            <ac:spMk id="2" creationId="{A1EA5253-E431-DFFC-E94A-6F8E087CC2C0}"/>
          </ac:spMkLst>
        </pc:spChg>
        <pc:spChg chg="mod">
          <ac:chgData name="Annemarija Apine (LV)" userId="546f5c59-3b8d-47fd-b739-a8fadc631053" providerId="ADAL" clId="{34473802-5904-426F-ADDF-0D0D1B44876C}" dt="2024-02-26T22:55:25.472" v="2812" actId="20577"/>
          <ac:spMkLst>
            <pc:docMk/>
            <pc:sldMk cId="64855802" sldId="916"/>
            <ac:spMk id="3" creationId="{F4CCF02E-F3C4-C376-8F56-61BD85A2E74B}"/>
          </ac:spMkLst>
        </pc:spChg>
        <pc:spChg chg="add mod">
          <ac:chgData name="Annemarija Apine (LV)" userId="546f5c59-3b8d-47fd-b739-a8fadc631053" providerId="ADAL" clId="{34473802-5904-426F-ADDF-0D0D1B44876C}" dt="2024-02-26T22:56:43.481" v="3088" actId="20577"/>
          <ac:spMkLst>
            <pc:docMk/>
            <pc:sldMk cId="64855802" sldId="916"/>
            <ac:spMk id="7" creationId="{8E846963-540E-9336-DE83-B87EC3AB5727}"/>
          </ac:spMkLst>
        </pc:spChg>
        <pc:spChg chg="mod">
          <ac:chgData name="Annemarija Apine (LV)" userId="546f5c59-3b8d-47fd-b739-a8fadc631053" providerId="ADAL" clId="{34473802-5904-426F-ADDF-0D0D1B44876C}" dt="2024-02-26T22:58:07.835" v="3126" actId="20577"/>
          <ac:spMkLst>
            <pc:docMk/>
            <pc:sldMk cId="64855802" sldId="916"/>
            <ac:spMk id="8" creationId="{598AB23C-0BF9-85FE-4B7A-DC0CF1A85603}"/>
          </ac:spMkLst>
        </pc:spChg>
        <pc:spChg chg="add del mod">
          <ac:chgData name="Annemarija Apine (LV)" userId="546f5c59-3b8d-47fd-b739-a8fadc631053" providerId="ADAL" clId="{34473802-5904-426F-ADDF-0D0D1B44876C}" dt="2024-02-29T08:35:50.179" v="5239" actId="478"/>
          <ac:spMkLst>
            <pc:docMk/>
            <pc:sldMk cId="64855802" sldId="916"/>
            <ac:spMk id="9" creationId="{60EA8C9A-B4E1-ED83-7F05-80E8B89E3E1B}"/>
          </ac:spMkLst>
        </pc:spChg>
        <pc:spChg chg="mod">
          <ac:chgData name="Annemarija Apine (LV)" userId="546f5c59-3b8d-47fd-b739-a8fadc631053" providerId="ADAL" clId="{34473802-5904-426F-ADDF-0D0D1B44876C}" dt="2024-02-26T22:54:22.737" v="2763" actId="20577"/>
          <ac:spMkLst>
            <pc:docMk/>
            <pc:sldMk cId="64855802" sldId="916"/>
            <ac:spMk id="10" creationId="{489B7680-E5EE-2A50-7733-37F2F144B869}"/>
          </ac:spMkLst>
        </pc:spChg>
        <pc:spChg chg="mod">
          <ac:chgData name="Annemarija Apine (LV)" userId="546f5c59-3b8d-47fd-b739-a8fadc631053" providerId="ADAL" clId="{34473802-5904-426F-ADDF-0D0D1B44876C}" dt="2024-02-26T22:58:30.084" v="3139" actId="12"/>
          <ac:spMkLst>
            <pc:docMk/>
            <pc:sldMk cId="64855802" sldId="916"/>
            <ac:spMk id="11" creationId="{327B1A4B-6980-7B00-091C-6006703B82A0}"/>
          </ac:spMkLst>
        </pc:spChg>
        <pc:spChg chg="mod">
          <ac:chgData name="Annemarija Apine (LV)" userId="546f5c59-3b8d-47fd-b739-a8fadc631053" providerId="ADAL" clId="{34473802-5904-426F-ADDF-0D0D1B44876C}" dt="2024-03-11T14:42:02.099" v="10325"/>
          <ac:spMkLst>
            <pc:docMk/>
            <pc:sldMk cId="64855802" sldId="916"/>
            <ac:spMk id="11" creationId="{836441A3-6385-8323-B08A-0073B0FB5CA5}"/>
          </ac:spMkLst>
        </pc:spChg>
        <pc:spChg chg="mod">
          <ac:chgData name="Annemarija Apine (LV)" userId="546f5c59-3b8d-47fd-b739-a8fadc631053" providerId="ADAL" clId="{34473802-5904-426F-ADDF-0D0D1B44876C}" dt="2024-03-11T14:42:02.099" v="10325"/>
          <ac:spMkLst>
            <pc:docMk/>
            <pc:sldMk cId="64855802" sldId="916"/>
            <ac:spMk id="13" creationId="{BDBF5004-C333-4FCF-D7DD-775EDB7F58B0}"/>
          </ac:spMkLst>
        </pc:spChg>
        <pc:spChg chg="mod">
          <ac:chgData name="Annemarija Apine (LV)" userId="546f5c59-3b8d-47fd-b739-a8fadc631053" providerId="ADAL" clId="{34473802-5904-426F-ADDF-0D0D1B44876C}" dt="2024-03-11T14:42:02.099" v="10325"/>
          <ac:spMkLst>
            <pc:docMk/>
            <pc:sldMk cId="64855802" sldId="916"/>
            <ac:spMk id="14" creationId="{B17E22AC-3FD7-B294-7CD8-82EAC265809C}"/>
          </ac:spMkLst>
        </pc:spChg>
        <pc:spChg chg="mod">
          <ac:chgData name="Annemarija Apine (LV)" userId="546f5c59-3b8d-47fd-b739-a8fadc631053" providerId="ADAL" clId="{34473802-5904-426F-ADDF-0D0D1B44876C}" dt="2024-03-11T14:42:02.099" v="10325"/>
          <ac:spMkLst>
            <pc:docMk/>
            <pc:sldMk cId="64855802" sldId="916"/>
            <ac:spMk id="15" creationId="{D49BE480-993F-A60E-DE5C-66CDA3B9CB2B}"/>
          </ac:spMkLst>
        </pc:spChg>
        <pc:spChg chg="mod">
          <ac:chgData name="Annemarija Apine (LV)" userId="546f5c59-3b8d-47fd-b739-a8fadc631053" providerId="ADAL" clId="{34473802-5904-426F-ADDF-0D0D1B44876C}" dt="2024-03-11T14:42:02.099" v="10325"/>
          <ac:spMkLst>
            <pc:docMk/>
            <pc:sldMk cId="64855802" sldId="916"/>
            <ac:spMk id="16" creationId="{8AF1A61C-47A7-4B2E-F520-BA19D1D2C0D3}"/>
          </ac:spMkLst>
        </pc:spChg>
        <pc:spChg chg="mod">
          <ac:chgData name="Annemarija Apine (LV)" userId="546f5c59-3b8d-47fd-b739-a8fadc631053" providerId="ADAL" clId="{34473802-5904-426F-ADDF-0D0D1B44876C}" dt="2024-03-11T14:42:02.099" v="10325"/>
          <ac:spMkLst>
            <pc:docMk/>
            <pc:sldMk cId="64855802" sldId="916"/>
            <ac:spMk id="17" creationId="{1308B33E-95B7-5E7E-A01B-E7A6B278F425}"/>
          </ac:spMkLst>
        </pc:spChg>
        <pc:grpChg chg="add mod">
          <ac:chgData name="Annemarija Apine (LV)" userId="546f5c59-3b8d-47fd-b739-a8fadc631053" providerId="ADAL" clId="{34473802-5904-426F-ADDF-0D0D1B44876C}" dt="2024-03-11T14:42:02.099" v="10325"/>
          <ac:grpSpMkLst>
            <pc:docMk/>
            <pc:sldMk cId="64855802" sldId="916"/>
            <ac:grpSpMk id="10" creationId="{5BE53770-39DA-EF55-A7D3-DDA3519DA828}"/>
          </ac:grpSpMkLst>
        </pc:gr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4T09:27:43.146" v="8218"/>
              <pc2:cmMkLst xmlns:pc2="http://schemas.microsoft.com/office/powerpoint/2019/9/main/command">
                <pc:docMk/>
                <pc:sldMk cId="64855802" sldId="916"/>
                <pc2:cmMk id="{E19E04FF-80D3-4B5A-AF99-4359BE452283}"/>
              </pc2:cmMkLst>
            </pc226:cmChg>
          </p:ext>
        </pc:extLst>
      </pc:sldChg>
      <pc:sldChg chg="add del">
        <pc:chgData name="Annemarija Apine (LV)" userId="546f5c59-3b8d-47fd-b739-a8fadc631053" providerId="ADAL" clId="{34473802-5904-426F-ADDF-0D0D1B44876C}" dt="2024-02-26T23:00:30.411" v="3298"/>
        <pc:sldMkLst>
          <pc:docMk/>
          <pc:sldMk cId="1789607969" sldId="917"/>
        </pc:sldMkLst>
      </pc:sldChg>
      <pc:sldChg chg="addSp delSp modSp add mod ord addCm delCm modNotesTx">
        <pc:chgData name="Annemarija Apine (LV)" userId="546f5c59-3b8d-47fd-b739-a8fadc631053" providerId="ADAL" clId="{34473802-5904-426F-ADDF-0D0D1B44876C}" dt="2024-03-04T09:40:36.309" v="8394" actId="20577"/>
        <pc:sldMkLst>
          <pc:docMk/>
          <pc:sldMk cId="4273639525" sldId="917"/>
        </pc:sldMkLst>
        <pc:spChg chg="del">
          <ac:chgData name="Annemarija Apine (LV)" userId="546f5c59-3b8d-47fd-b739-a8fadc631053" providerId="ADAL" clId="{34473802-5904-426F-ADDF-0D0D1B44876C}" dt="2024-02-26T23:01:10.646" v="3332" actId="478"/>
          <ac:spMkLst>
            <pc:docMk/>
            <pc:sldMk cId="4273639525" sldId="917"/>
            <ac:spMk id="2" creationId="{A1EA5253-E431-DFFC-E94A-6F8E087CC2C0}"/>
          </ac:spMkLst>
        </pc:spChg>
        <pc:spChg chg="mod">
          <ac:chgData name="Annemarija Apine (LV)" userId="546f5c59-3b8d-47fd-b739-a8fadc631053" providerId="ADAL" clId="{34473802-5904-426F-ADDF-0D0D1B44876C}" dt="2024-02-26T23:01:06.194" v="3331" actId="20577"/>
          <ac:spMkLst>
            <pc:docMk/>
            <pc:sldMk cId="4273639525" sldId="917"/>
            <ac:spMk id="3" creationId="{F4CCF02E-F3C4-C376-8F56-61BD85A2E74B}"/>
          </ac:spMkLst>
        </pc:spChg>
        <pc:spChg chg="mod">
          <ac:chgData name="Annemarija Apine (LV)" userId="546f5c59-3b8d-47fd-b739-a8fadc631053" providerId="ADAL" clId="{34473802-5904-426F-ADDF-0D0D1B44876C}" dt="2024-02-26T23:01:22.710" v="3340"/>
          <ac:spMkLst>
            <pc:docMk/>
            <pc:sldMk cId="4273639525" sldId="917"/>
            <ac:spMk id="8" creationId="{598AB23C-0BF9-85FE-4B7A-DC0CF1A85603}"/>
          </ac:spMkLst>
        </pc:spChg>
        <pc:spChg chg="del">
          <ac:chgData name="Annemarija Apine (LV)" userId="546f5c59-3b8d-47fd-b739-a8fadc631053" providerId="ADAL" clId="{34473802-5904-426F-ADDF-0D0D1B44876C}" dt="2024-02-29T13:25:46.614" v="5266" actId="478"/>
          <ac:spMkLst>
            <pc:docMk/>
            <pc:sldMk cId="4273639525" sldId="917"/>
            <ac:spMk id="9" creationId="{60EA8C9A-B4E1-ED83-7F05-80E8B89E3E1B}"/>
          </ac:spMkLst>
        </pc:spChg>
        <pc:spChg chg="mod">
          <ac:chgData name="Annemarija Apine (LV)" userId="546f5c59-3b8d-47fd-b739-a8fadc631053" providerId="ADAL" clId="{34473802-5904-426F-ADDF-0D0D1B44876C}" dt="2024-02-26T23:01:39.313" v="3343"/>
          <ac:spMkLst>
            <pc:docMk/>
            <pc:sldMk cId="4273639525" sldId="917"/>
            <ac:spMk id="11" creationId="{327B1A4B-6980-7B00-091C-6006703B82A0}"/>
          </ac:spMkLst>
        </pc:spChg>
        <pc:spChg chg="add del mod">
          <ac:chgData name="Annemarija Apine (LV)" userId="546f5c59-3b8d-47fd-b739-a8fadc631053" providerId="ADAL" clId="{34473802-5904-426F-ADDF-0D0D1B44876C}" dt="2024-02-26T23:01:12.131" v="3333" actId="478"/>
          <ac:spMkLst>
            <pc:docMk/>
            <pc:sldMk cId="4273639525" sldId="917"/>
            <ac:spMk id="13" creationId="{7CE55637-75BA-5139-15F4-26E122CEF9A9}"/>
          </ac:spMkLst>
        </pc:spChg>
        <pc:spChg chg="mod">
          <ac:chgData name="Annemarija Apine (LV)" userId="546f5c59-3b8d-47fd-b739-a8fadc631053" providerId="ADAL" clId="{34473802-5904-426F-ADDF-0D0D1B44876C}" dt="2024-03-04T09:32:06.688" v="8232" actId="14100"/>
          <ac:spMkLst>
            <pc:docMk/>
            <pc:sldMk cId="4273639525" sldId="917"/>
            <ac:spMk id="20" creationId="{71A7C7C0-2A0C-7790-FB11-2C935A397516}"/>
          </ac:spMkLst>
        </pc:spChg>
        <pc:spChg chg="mod">
          <ac:chgData name="Annemarija Apine (LV)" userId="546f5c59-3b8d-47fd-b739-a8fadc631053" providerId="ADAL" clId="{34473802-5904-426F-ADDF-0D0D1B44876C}" dt="2024-03-04T09:32:28.976" v="8238" actId="1036"/>
          <ac:spMkLst>
            <pc:docMk/>
            <pc:sldMk cId="4273639525" sldId="917"/>
            <ac:spMk id="21" creationId="{2AE882DB-6A87-19F7-49D2-A2C7AF5D76FD}"/>
          </ac:spMkLst>
        </pc:spChg>
        <pc:spChg chg="mod">
          <ac:chgData name="Annemarija Apine (LV)" userId="546f5c59-3b8d-47fd-b739-a8fadc631053" providerId="ADAL" clId="{34473802-5904-426F-ADDF-0D0D1B44876C}" dt="2024-03-04T09:32:28.976" v="8238" actId="1036"/>
          <ac:spMkLst>
            <pc:docMk/>
            <pc:sldMk cId="4273639525" sldId="917"/>
            <ac:spMk id="22" creationId="{D512C8CC-021C-3D02-627D-E9AFCCFA9CAF}"/>
          </ac:spMkLst>
        </pc:spChg>
        <pc:spChg chg="mod">
          <ac:chgData name="Annemarija Apine (LV)" userId="546f5c59-3b8d-47fd-b739-a8fadc631053" providerId="ADAL" clId="{34473802-5904-426F-ADDF-0D0D1B44876C}" dt="2024-03-04T09:32:28.976" v="8238" actId="1036"/>
          <ac:spMkLst>
            <pc:docMk/>
            <pc:sldMk cId="4273639525" sldId="917"/>
            <ac:spMk id="23" creationId="{5365EF17-B219-A2D9-E9C0-8D98FAFA07D9}"/>
          </ac:spMkLst>
        </pc:spChg>
        <pc:spChg chg="mod">
          <ac:chgData name="Annemarija Apine (LV)" userId="546f5c59-3b8d-47fd-b739-a8fadc631053" providerId="ADAL" clId="{34473802-5904-426F-ADDF-0D0D1B44876C}" dt="2024-03-04T09:32:28.976" v="8238" actId="1036"/>
          <ac:spMkLst>
            <pc:docMk/>
            <pc:sldMk cId="4273639525" sldId="917"/>
            <ac:spMk id="24" creationId="{EDAAB878-3F85-4CF2-D593-26F5C6B40D68}"/>
          </ac:spMkLst>
        </pc:spChg>
        <pc:spChg chg="mod">
          <ac:chgData name="Annemarija Apine (LV)" userId="546f5c59-3b8d-47fd-b739-a8fadc631053" providerId="ADAL" clId="{34473802-5904-426F-ADDF-0D0D1B44876C}" dt="2024-03-04T09:31:55.601" v="8231" actId="1036"/>
          <ac:spMkLst>
            <pc:docMk/>
            <pc:sldMk cId="4273639525" sldId="917"/>
            <ac:spMk id="25" creationId="{F25DA104-C4AB-B1D2-2A0D-66C0FB817D87}"/>
          </ac:spMkLst>
        </pc:spChg>
        <pc:spChg chg="mod">
          <ac:chgData name="Annemarija Apine (LV)" userId="546f5c59-3b8d-47fd-b739-a8fadc631053" providerId="ADAL" clId="{34473802-5904-426F-ADDF-0D0D1B44876C}" dt="2024-03-04T09:31:33.615" v="8225" actId="14100"/>
          <ac:spMkLst>
            <pc:docMk/>
            <pc:sldMk cId="4273639525" sldId="917"/>
            <ac:spMk id="48" creationId="{EBAA83D0-B767-9E96-1B47-C078CEEE614B}"/>
          </ac:spMkLst>
        </pc:spChg>
        <pc:spChg chg="mod">
          <ac:chgData name="Annemarija Apine (LV)" userId="546f5c59-3b8d-47fd-b739-a8fadc631053" providerId="ADAL" clId="{34473802-5904-426F-ADDF-0D0D1B44876C}" dt="2024-03-04T09:31:33.615" v="8225" actId="14100"/>
          <ac:spMkLst>
            <pc:docMk/>
            <pc:sldMk cId="4273639525" sldId="917"/>
            <ac:spMk id="49" creationId="{61741A74-5C7B-7766-FAC2-162B3E3B5946}"/>
          </ac:spMkLst>
        </pc:spChg>
        <pc:spChg chg="mod">
          <ac:chgData name="Annemarija Apine (LV)" userId="546f5c59-3b8d-47fd-b739-a8fadc631053" providerId="ADAL" clId="{34473802-5904-426F-ADDF-0D0D1B44876C}" dt="2024-03-04T09:31:33.615" v="8225" actId="14100"/>
          <ac:spMkLst>
            <pc:docMk/>
            <pc:sldMk cId="4273639525" sldId="917"/>
            <ac:spMk id="50" creationId="{A0C0290C-4BE9-3776-4546-3DEF56D11991}"/>
          </ac:spMkLst>
        </pc:spChg>
        <pc:spChg chg="mod">
          <ac:chgData name="Annemarija Apine (LV)" userId="546f5c59-3b8d-47fd-b739-a8fadc631053" providerId="ADAL" clId="{34473802-5904-426F-ADDF-0D0D1B44876C}" dt="2024-03-04T09:31:33.615" v="8225" actId="14100"/>
          <ac:spMkLst>
            <pc:docMk/>
            <pc:sldMk cId="4273639525" sldId="917"/>
            <ac:spMk id="51" creationId="{BAB0F656-869B-B0AF-322D-5E8BBB041A61}"/>
          </ac:spMkLst>
        </pc:spChg>
        <pc:spChg chg="mod">
          <ac:chgData name="Annemarija Apine (LV)" userId="546f5c59-3b8d-47fd-b739-a8fadc631053" providerId="ADAL" clId="{34473802-5904-426F-ADDF-0D0D1B44876C}" dt="2024-03-04T09:31:33.615" v="8225" actId="14100"/>
          <ac:spMkLst>
            <pc:docMk/>
            <pc:sldMk cId="4273639525" sldId="917"/>
            <ac:spMk id="52" creationId="{DAED98C7-E0EF-C092-E3F8-D2FBD65700E3}"/>
          </ac:spMkLst>
        </pc:spChg>
        <pc:spChg chg="mod">
          <ac:chgData name="Annemarija Apine (LV)" userId="546f5c59-3b8d-47fd-b739-a8fadc631053" providerId="ADAL" clId="{34473802-5904-426F-ADDF-0D0D1B44876C}" dt="2024-03-04T09:31:33.615" v="8225" actId="14100"/>
          <ac:spMkLst>
            <pc:docMk/>
            <pc:sldMk cId="4273639525" sldId="917"/>
            <ac:spMk id="53" creationId="{18418CB4-C7BA-DDC9-0605-BD3AD04DF988}"/>
          </ac:spMkLst>
        </pc:spChg>
        <pc:grpChg chg="mod">
          <ac:chgData name="Annemarija Apine (LV)" userId="546f5c59-3b8d-47fd-b739-a8fadc631053" providerId="ADAL" clId="{34473802-5904-426F-ADDF-0D0D1B44876C}" dt="2024-03-04T09:31:49.541" v="8229" actId="1076"/>
          <ac:grpSpMkLst>
            <pc:docMk/>
            <pc:sldMk cId="4273639525" sldId="917"/>
            <ac:grpSpMk id="26" creationId="{E3370077-1573-2794-544A-AE97973345F5}"/>
          </ac:grpSpMkLst>
        </pc:grpChg>
        <pc:cxnChg chg="mod">
          <ac:chgData name="Annemarija Apine (LV)" userId="546f5c59-3b8d-47fd-b739-a8fadc631053" providerId="ADAL" clId="{34473802-5904-426F-ADDF-0D0D1B44876C}" dt="2024-03-04T09:31:33.615" v="8225" actId="14100"/>
          <ac:cxnSpMkLst>
            <pc:docMk/>
            <pc:sldMk cId="4273639525" sldId="917"/>
            <ac:cxnSpMk id="54" creationId="{4281C6C9-CAE5-FE3D-692E-4632AFDD42D6}"/>
          </ac:cxnSpMkLst>
        </pc:cxnChg>
        <pc:cxnChg chg="mod">
          <ac:chgData name="Annemarija Apine (LV)" userId="546f5c59-3b8d-47fd-b739-a8fadc631053" providerId="ADAL" clId="{34473802-5904-426F-ADDF-0D0D1B44876C}" dt="2024-03-04T09:31:33.615" v="8225" actId="14100"/>
          <ac:cxnSpMkLst>
            <pc:docMk/>
            <pc:sldMk cId="4273639525" sldId="917"/>
            <ac:cxnSpMk id="55" creationId="{C204DE99-827A-F3C1-EF6A-10E3F0F8DA85}"/>
          </ac:cxnSpMkLst>
        </pc:cxnChg>
        <pc:cxnChg chg="mod">
          <ac:chgData name="Annemarija Apine (LV)" userId="546f5c59-3b8d-47fd-b739-a8fadc631053" providerId="ADAL" clId="{34473802-5904-426F-ADDF-0D0D1B44876C}" dt="2024-03-04T09:31:33.615" v="8225" actId="14100"/>
          <ac:cxnSpMkLst>
            <pc:docMk/>
            <pc:sldMk cId="4273639525" sldId="917"/>
            <ac:cxnSpMk id="56" creationId="{3747D388-5C9D-8CB8-22C8-4081EA6BC8AE}"/>
          </ac:cxnSpMkLst>
        </pc:cxnChg>
        <pc:cxnChg chg="mod">
          <ac:chgData name="Annemarija Apine (LV)" userId="546f5c59-3b8d-47fd-b739-a8fadc631053" providerId="ADAL" clId="{34473802-5904-426F-ADDF-0D0D1B44876C}" dt="2024-03-04T09:31:33.615" v="8225" actId="14100"/>
          <ac:cxnSpMkLst>
            <pc:docMk/>
            <pc:sldMk cId="4273639525" sldId="917"/>
            <ac:cxnSpMk id="57" creationId="{3756723B-C315-85E8-1B45-2DA50AA203A1}"/>
          </ac:cxnSpMkLst>
        </pc:cxnChg>
        <pc:cxnChg chg="mod">
          <ac:chgData name="Annemarija Apine (LV)" userId="546f5c59-3b8d-47fd-b739-a8fadc631053" providerId="ADAL" clId="{34473802-5904-426F-ADDF-0D0D1B44876C}" dt="2024-03-04T09:31:33.615" v="8225" actId="14100"/>
          <ac:cxnSpMkLst>
            <pc:docMk/>
            <pc:sldMk cId="4273639525" sldId="917"/>
            <ac:cxnSpMk id="58" creationId="{BBCE494F-89AF-8E94-59B9-02836329B37E}"/>
          </ac:cxnSpMkLst>
        </pc:cxn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34473802-5904-426F-ADDF-0D0D1B44876C}" dt="2024-03-04T09:32:43.406" v="8240"/>
              <pc2:cmMkLst xmlns:pc2="http://schemas.microsoft.com/office/powerpoint/2019/9/main/command">
                <pc:docMk/>
                <pc:sldMk cId="4273639525" sldId="917"/>
                <pc2:cmMk id="{19204F20-0AF8-4CA6-A7B8-DC2E12DB89C6}"/>
              </pc2:cmMkLst>
            </pc226:cmChg>
            <pc226:cmChg xmlns:pc226="http://schemas.microsoft.com/office/powerpoint/2022/06/main/command" chg="add del">
              <pc226:chgData name="Annemarija Apine (LV)" userId="546f5c59-3b8d-47fd-b739-a8fadc631053" providerId="ADAL" clId="{34473802-5904-426F-ADDF-0D0D1B44876C}" dt="2024-03-04T09:32:47.916" v="8242"/>
              <pc2:cmMkLst xmlns:pc2="http://schemas.microsoft.com/office/powerpoint/2019/9/main/command">
                <pc:docMk/>
                <pc:sldMk cId="4273639525" sldId="917"/>
                <pc2:cmMk id="{999E2BEA-97E0-49F6-8878-F15FDC1D7E8E}"/>
              </pc2:cmMkLst>
            </pc226:cmChg>
          </p:ext>
        </pc:extLst>
      </pc:sldChg>
      <pc:sldChg chg="addSp delSp modSp add mod addCm modNotesTx">
        <pc:chgData name="Annemarija Apine (LV)" userId="546f5c59-3b8d-47fd-b739-a8fadc631053" providerId="ADAL" clId="{34473802-5904-426F-ADDF-0D0D1B44876C}" dt="2024-03-11T14:42:04.440" v="10327"/>
        <pc:sldMkLst>
          <pc:docMk/>
          <pc:sldMk cId="785221003" sldId="918"/>
        </pc:sldMkLst>
        <pc:spChg chg="mod">
          <ac:chgData name="Annemarija Apine (LV)" userId="546f5c59-3b8d-47fd-b739-a8fadc631053" providerId="ADAL" clId="{34473802-5904-426F-ADDF-0D0D1B44876C}" dt="2024-02-26T23:02:13.657" v="3359"/>
          <ac:spMkLst>
            <pc:docMk/>
            <pc:sldMk cId="785221003" sldId="918"/>
            <ac:spMk id="2" creationId="{A1EA5253-E431-DFFC-E94A-6F8E087CC2C0}"/>
          </ac:spMkLst>
        </pc:spChg>
        <pc:spChg chg="mod">
          <ac:chgData name="Annemarija Apine (LV)" userId="546f5c59-3b8d-47fd-b739-a8fadc631053" providerId="ADAL" clId="{34473802-5904-426F-ADDF-0D0D1B44876C}" dt="2024-02-26T23:01:53.223" v="3356" actId="20577"/>
          <ac:spMkLst>
            <pc:docMk/>
            <pc:sldMk cId="785221003" sldId="918"/>
            <ac:spMk id="3" creationId="{F4CCF02E-F3C4-C376-8F56-61BD85A2E74B}"/>
          </ac:spMkLst>
        </pc:spChg>
        <pc:spChg chg="mod">
          <ac:chgData name="Annemarija Apine (LV)" userId="546f5c59-3b8d-47fd-b739-a8fadc631053" providerId="ADAL" clId="{34473802-5904-426F-ADDF-0D0D1B44876C}" dt="2024-02-26T23:02:28.374" v="3364"/>
          <ac:spMkLst>
            <pc:docMk/>
            <pc:sldMk cId="785221003" sldId="918"/>
            <ac:spMk id="8" creationId="{598AB23C-0BF9-85FE-4B7A-DC0CF1A85603}"/>
          </ac:spMkLst>
        </pc:spChg>
        <pc:spChg chg="del">
          <ac:chgData name="Annemarija Apine (LV)" userId="546f5c59-3b8d-47fd-b739-a8fadc631053" providerId="ADAL" clId="{34473802-5904-426F-ADDF-0D0D1B44876C}" dt="2024-02-29T08:36:10.795" v="5264" actId="478"/>
          <ac:spMkLst>
            <pc:docMk/>
            <pc:sldMk cId="785221003" sldId="918"/>
            <ac:spMk id="9" creationId="{60EA8C9A-B4E1-ED83-7F05-80E8B89E3E1B}"/>
          </ac:spMkLst>
        </pc:spChg>
        <pc:spChg chg="mod">
          <ac:chgData name="Annemarija Apine (LV)" userId="546f5c59-3b8d-47fd-b739-a8fadc631053" providerId="ADAL" clId="{34473802-5904-426F-ADDF-0D0D1B44876C}" dt="2024-02-26T23:02:44.771" v="3371" actId="20577"/>
          <ac:spMkLst>
            <pc:docMk/>
            <pc:sldMk cId="785221003" sldId="918"/>
            <ac:spMk id="11" creationId="{327B1A4B-6980-7B00-091C-6006703B82A0}"/>
          </ac:spMkLst>
        </pc:spChg>
        <pc:spChg chg="mod">
          <ac:chgData name="Annemarija Apine (LV)" userId="546f5c59-3b8d-47fd-b739-a8fadc631053" providerId="ADAL" clId="{34473802-5904-426F-ADDF-0D0D1B44876C}" dt="2024-03-11T14:42:04.440" v="10327"/>
          <ac:spMkLst>
            <pc:docMk/>
            <pc:sldMk cId="785221003" sldId="918"/>
            <ac:spMk id="11" creationId="{3BB8DDA8-6E9E-E89E-5EB1-3986BA7C0A66}"/>
          </ac:spMkLst>
        </pc:spChg>
        <pc:spChg chg="mod">
          <ac:chgData name="Annemarija Apine (LV)" userId="546f5c59-3b8d-47fd-b739-a8fadc631053" providerId="ADAL" clId="{34473802-5904-426F-ADDF-0D0D1B44876C}" dt="2024-03-11T14:42:04.440" v="10327"/>
          <ac:spMkLst>
            <pc:docMk/>
            <pc:sldMk cId="785221003" sldId="918"/>
            <ac:spMk id="13" creationId="{FCB3A33B-C3BD-CC5A-1618-FC030AC3C161}"/>
          </ac:spMkLst>
        </pc:spChg>
        <pc:spChg chg="mod">
          <ac:chgData name="Annemarija Apine (LV)" userId="546f5c59-3b8d-47fd-b739-a8fadc631053" providerId="ADAL" clId="{34473802-5904-426F-ADDF-0D0D1B44876C}" dt="2024-03-11T14:42:04.440" v="10327"/>
          <ac:spMkLst>
            <pc:docMk/>
            <pc:sldMk cId="785221003" sldId="918"/>
            <ac:spMk id="14" creationId="{29C18273-6E97-44B9-C7D9-D122E2E17BEA}"/>
          </ac:spMkLst>
        </pc:spChg>
        <pc:spChg chg="mod">
          <ac:chgData name="Annemarija Apine (LV)" userId="546f5c59-3b8d-47fd-b739-a8fadc631053" providerId="ADAL" clId="{34473802-5904-426F-ADDF-0D0D1B44876C}" dt="2024-03-11T14:42:04.440" v="10327"/>
          <ac:spMkLst>
            <pc:docMk/>
            <pc:sldMk cId="785221003" sldId="918"/>
            <ac:spMk id="15" creationId="{A956B9E1-B0E3-A2E1-A1A5-7F3C2028F3B1}"/>
          </ac:spMkLst>
        </pc:spChg>
        <pc:spChg chg="mod">
          <ac:chgData name="Annemarija Apine (LV)" userId="546f5c59-3b8d-47fd-b739-a8fadc631053" providerId="ADAL" clId="{34473802-5904-426F-ADDF-0D0D1B44876C}" dt="2024-03-11T14:42:04.440" v="10327"/>
          <ac:spMkLst>
            <pc:docMk/>
            <pc:sldMk cId="785221003" sldId="918"/>
            <ac:spMk id="16" creationId="{732870EA-A930-D5B4-F3F5-AA77B65E94EF}"/>
          </ac:spMkLst>
        </pc:spChg>
        <pc:spChg chg="mod">
          <ac:chgData name="Annemarija Apine (LV)" userId="546f5c59-3b8d-47fd-b739-a8fadc631053" providerId="ADAL" clId="{34473802-5904-426F-ADDF-0D0D1B44876C}" dt="2024-03-11T14:42:04.440" v="10327"/>
          <ac:spMkLst>
            <pc:docMk/>
            <pc:sldMk cId="785221003" sldId="918"/>
            <ac:spMk id="17" creationId="{2B421268-2127-1DCE-13F8-A905570B0169}"/>
          </ac:spMkLst>
        </pc:spChg>
        <pc:grpChg chg="add mod">
          <ac:chgData name="Annemarija Apine (LV)" userId="546f5c59-3b8d-47fd-b739-a8fadc631053" providerId="ADAL" clId="{34473802-5904-426F-ADDF-0D0D1B44876C}" dt="2024-03-11T14:42:04.440" v="10327"/>
          <ac:grpSpMkLst>
            <pc:docMk/>
            <pc:sldMk cId="785221003" sldId="918"/>
            <ac:grpSpMk id="10" creationId="{0A9E14BE-BB67-3821-9712-D3263A75FD11}"/>
          </ac:grpSpMkLst>
        </pc:gr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4T09:27:52.113" v="8220"/>
              <pc2:cmMkLst xmlns:pc2="http://schemas.microsoft.com/office/powerpoint/2019/9/main/command">
                <pc:docMk/>
                <pc:sldMk cId="785221003" sldId="918"/>
                <pc2:cmMk id="{39B106E8-C7E7-4FB5-92B8-011F0FC0D0A6}"/>
              </pc2:cmMkLst>
            </pc226:cmChg>
          </p:ext>
        </pc:extLst>
      </pc:sldChg>
      <pc:sldChg chg="addSp delSp modSp add mod addCm modNotesTx">
        <pc:chgData name="Annemarija Apine (LV)" userId="546f5c59-3b8d-47fd-b739-a8fadc631053" providerId="ADAL" clId="{34473802-5904-426F-ADDF-0D0D1B44876C}" dt="2024-03-04T09:41:51.098" v="8416"/>
        <pc:sldMkLst>
          <pc:docMk/>
          <pc:sldMk cId="2008209705" sldId="919"/>
        </pc:sldMkLst>
        <pc:spChg chg="add mod">
          <ac:chgData name="Annemarija Apine (LV)" userId="546f5c59-3b8d-47fd-b739-a8fadc631053" providerId="ADAL" clId="{34473802-5904-426F-ADDF-0D0D1B44876C}" dt="2024-02-26T23:06:05.206" v="3577" actId="207"/>
          <ac:spMkLst>
            <pc:docMk/>
            <pc:sldMk cId="2008209705" sldId="919"/>
            <ac:spMk id="2" creationId="{C9BF2A51-7557-EA83-DCCB-BCD30FDA6886}"/>
          </ac:spMkLst>
        </pc:spChg>
        <pc:spChg chg="mod">
          <ac:chgData name="Annemarija Apine (LV)" userId="546f5c59-3b8d-47fd-b739-a8fadc631053" providerId="ADAL" clId="{34473802-5904-426F-ADDF-0D0D1B44876C}" dt="2024-02-26T23:04:52.293" v="3461" actId="6549"/>
          <ac:spMkLst>
            <pc:docMk/>
            <pc:sldMk cId="2008209705" sldId="919"/>
            <ac:spMk id="3" creationId="{F4CCF02E-F3C4-C376-8F56-61BD85A2E74B}"/>
          </ac:spMkLst>
        </pc:spChg>
        <pc:spChg chg="del">
          <ac:chgData name="Annemarija Apine (LV)" userId="546f5c59-3b8d-47fd-b739-a8fadc631053" providerId="ADAL" clId="{34473802-5904-426F-ADDF-0D0D1B44876C}" dt="2024-02-26T23:04:04.562" v="3380" actId="478"/>
          <ac:spMkLst>
            <pc:docMk/>
            <pc:sldMk cId="2008209705" sldId="919"/>
            <ac:spMk id="7" creationId="{8E846963-540E-9336-DE83-B87EC3AB5727}"/>
          </ac:spMkLst>
        </pc:spChg>
        <pc:spChg chg="mod">
          <ac:chgData name="Annemarija Apine (LV)" userId="546f5c59-3b8d-47fd-b739-a8fadc631053" providerId="ADAL" clId="{34473802-5904-426F-ADDF-0D0D1B44876C}" dt="2024-02-26T23:08:34.880" v="3632" actId="1036"/>
          <ac:spMkLst>
            <pc:docMk/>
            <pc:sldMk cId="2008209705" sldId="919"/>
            <ac:spMk id="8" creationId="{598AB23C-0BF9-85FE-4B7A-DC0CF1A85603}"/>
          </ac:spMkLst>
        </pc:spChg>
        <pc:spChg chg="del">
          <ac:chgData name="Annemarija Apine (LV)" userId="546f5c59-3b8d-47fd-b739-a8fadc631053" providerId="ADAL" clId="{34473802-5904-426F-ADDF-0D0D1B44876C}" dt="2024-02-26T23:04:19.172" v="3402" actId="478"/>
          <ac:spMkLst>
            <pc:docMk/>
            <pc:sldMk cId="2008209705" sldId="919"/>
            <ac:spMk id="9" creationId="{60EA8C9A-B4E1-ED83-7F05-80E8B89E3E1B}"/>
          </ac:spMkLst>
        </pc:spChg>
        <pc:spChg chg="mod">
          <ac:chgData name="Annemarija Apine (LV)" userId="546f5c59-3b8d-47fd-b739-a8fadc631053" providerId="ADAL" clId="{34473802-5904-426F-ADDF-0D0D1B44876C}" dt="2024-02-26T23:04:14.976" v="3401" actId="20577"/>
          <ac:spMkLst>
            <pc:docMk/>
            <pc:sldMk cId="2008209705" sldId="919"/>
            <ac:spMk id="10" creationId="{489B7680-E5EE-2A50-7733-37F2F144B869}"/>
          </ac:spMkLst>
        </pc:spChg>
        <pc:spChg chg="mod">
          <ac:chgData name="Annemarija Apine (LV)" userId="546f5c59-3b8d-47fd-b739-a8fadc631053" providerId="ADAL" clId="{34473802-5904-426F-ADDF-0D0D1B44876C}" dt="2024-02-26T23:08:34.880" v="3632" actId="1036"/>
          <ac:spMkLst>
            <pc:docMk/>
            <pc:sldMk cId="2008209705" sldId="919"/>
            <ac:spMk id="11" creationId="{327B1A4B-6980-7B00-091C-6006703B82A0}"/>
          </ac:spMkLst>
        </pc:spChg>
        <pc:spChg chg="add mod">
          <ac:chgData name="Annemarija Apine (LV)" userId="546f5c59-3b8d-47fd-b739-a8fadc631053" providerId="ADAL" clId="{34473802-5904-426F-ADDF-0D0D1B44876C}" dt="2024-02-26T23:06:35.007" v="3594" actId="14100"/>
          <ac:spMkLst>
            <pc:docMk/>
            <pc:sldMk cId="2008209705" sldId="919"/>
            <ac:spMk id="12" creationId="{F17E280A-26FF-1631-ADC9-96AE3A637C2C}"/>
          </ac:spMkLst>
        </pc:spChg>
        <pc:spChg chg="add mod">
          <ac:chgData name="Annemarija Apine (LV)" userId="546f5c59-3b8d-47fd-b739-a8fadc631053" providerId="ADAL" clId="{34473802-5904-426F-ADDF-0D0D1B44876C}" dt="2024-02-26T23:06:32.400" v="3593" actId="1076"/>
          <ac:spMkLst>
            <pc:docMk/>
            <pc:sldMk cId="2008209705" sldId="919"/>
            <ac:spMk id="13" creationId="{318FD8EE-145C-CF57-FA8A-2208CA63BD22}"/>
          </ac:spMkLst>
        </pc:spChg>
        <pc:spChg chg="add del mod">
          <ac:chgData name="Annemarija Apine (LV)" userId="546f5c59-3b8d-47fd-b739-a8fadc631053" providerId="ADAL" clId="{34473802-5904-426F-ADDF-0D0D1B44876C}" dt="2024-02-26T23:06:45.136" v="3597" actId="767"/>
          <ac:spMkLst>
            <pc:docMk/>
            <pc:sldMk cId="2008209705" sldId="919"/>
            <ac:spMk id="14" creationId="{EE939C52-F826-4F1C-D9B7-0DCC64431867}"/>
          </ac:spMkLst>
        </pc:spChg>
        <pc:spChg chg="add mod">
          <ac:chgData name="Annemarija Apine (LV)" userId="546f5c59-3b8d-47fd-b739-a8fadc631053" providerId="ADAL" clId="{34473802-5904-426F-ADDF-0D0D1B44876C}" dt="2024-02-26T23:07:19.404" v="3603" actId="1076"/>
          <ac:spMkLst>
            <pc:docMk/>
            <pc:sldMk cId="2008209705" sldId="919"/>
            <ac:spMk id="16" creationId="{30819613-CE74-49B6-0807-44FDBB81D466}"/>
          </ac:spMkLst>
        </pc:spChg>
        <pc:spChg chg="add mod">
          <ac:chgData name="Annemarija Apine (LV)" userId="546f5c59-3b8d-47fd-b739-a8fadc631053" providerId="ADAL" clId="{34473802-5904-426F-ADDF-0D0D1B44876C}" dt="2024-02-26T23:07:29.496" v="3606" actId="14100"/>
          <ac:spMkLst>
            <pc:docMk/>
            <pc:sldMk cId="2008209705" sldId="919"/>
            <ac:spMk id="18" creationId="{E1D4AC8F-0322-E8A8-E509-5AF71473A8F4}"/>
          </ac:spMkLst>
        </pc:spChg>
        <pc:spChg chg="add mod">
          <ac:chgData name="Annemarija Apine (LV)" userId="546f5c59-3b8d-47fd-b739-a8fadc631053" providerId="ADAL" clId="{34473802-5904-426F-ADDF-0D0D1B44876C}" dt="2024-02-26T23:07:38.434" v="3609" actId="14100"/>
          <ac:spMkLst>
            <pc:docMk/>
            <pc:sldMk cId="2008209705" sldId="919"/>
            <ac:spMk id="20" creationId="{BCB0856A-D775-E9B2-A22B-A661D9F8D43C}"/>
          </ac:spMkLst>
        </pc:spChg>
        <pc:spChg chg="add mod">
          <ac:chgData name="Annemarija Apine (LV)" userId="546f5c59-3b8d-47fd-b739-a8fadc631053" providerId="ADAL" clId="{34473802-5904-426F-ADDF-0D0D1B44876C}" dt="2024-02-26T23:07:56.792" v="3615" actId="14100"/>
          <ac:spMkLst>
            <pc:docMk/>
            <pc:sldMk cId="2008209705" sldId="919"/>
            <ac:spMk id="22" creationId="{044C1CE5-09D8-63ED-7E23-4A59A70CC41B}"/>
          </ac:spMkLst>
        </pc:spChg>
        <pc:spChg chg="add mod">
          <ac:chgData name="Annemarija Apine (LV)" userId="546f5c59-3b8d-47fd-b739-a8fadc631053" providerId="ADAL" clId="{34473802-5904-426F-ADDF-0D0D1B44876C}" dt="2024-02-26T23:09:12.221" v="3646" actId="1076"/>
          <ac:spMkLst>
            <pc:docMk/>
            <pc:sldMk cId="2008209705" sldId="919"/>
            <ac:spMk id="23" creationId="{EEA0E558-7D58-6458-34C2-801898E3B0F7}"/>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4T09:41:51.098" v="8416"/>
              <pc2:cmMkLst xmlns:pc2="http://schemas.microsoft.com/office/powerpoint/2019/9/main/command">
                <pc:docMk/>
                <pc:sldMk cId="2008209705" sldId="919"/>
                <pc2:cmMk id="{26D3AAD2-275A-49BD-8B7A-0A67E598B3CB}"/>
              </pc2:cmMkLst>
            </pc226:cmChg>
          </p:ext>
        </pc:extLst>
      </pc:sldChg>
      <pc:sldChg chg="addSp delSp modSp add mod ord modNotesTx">
        <pc:chgData name="Annemarija Apine (LV)" userId="546f5c59-3b8d-47fd-b739-a8fadc631053" providerId="ADAL" clId="{34473802-5904-426F-ADDF-0D0D1B44876C}" dt="2024-02-28T12:50:12.720" v="4438" actId="478"/>
        <pc:sldMkLst>
          <pc:docMk/>
          <pc:sldMk cId="2755231185" sldId="920"/>
        </pc:sldMkLst>
        <pc:spChg chg="mod">
          <ac:chgData name="Annemarija Apine (LV)" userId="546f5c59-3b8d-47fd-b739-a8fadc631053" providerId="ADAL" clId="{34473802-5904-426F-ADDF-0D0D1B44876C}" dt="2024-02-26T23:14:29.596" v="3866" actId="20577"/>
          <ac:spMkLst>
            <pc:docMk/>
            <pc:sldMk cId="2755231185" sldId="920"/>
            <ac:spMk id="2" creationId="{C9BF2A51-7557-EA83-DCCB-BCD30FDA6886}"/>
          </ac:spMkLst>
        </pc:spChg>
        <pc:spChg chg="mod">
          <ac:chgData name="Annemarija Apine (LV)" userId="546f5c59-3b8d-47fd-b739-a8fadc631053" providerId="ADAL" clId="{34473802-5904-426F-ADDF-0D0D1B44876C}" dt="2024-02-26T23:12:14.715" v="3753" actId="20577"/>
          <ac:spMkLst>
            <pc:docMk/>
            <pc:sldMk cId="2755231185" sldId="920"/>
            <ac:spMk id="3" creationId="{F4CCF02E-F3C4-C376-8F56-61BD85A2E74B}"/>
          </ac:spMkLst>
        </pc:spChg>
        <pc:spChg chg="add del mod">
          <ac:chgData name="Annemarija Apine (LV)" userId="546f5c59-3b8d-47fd-b739-a8fadc631053" providerId="ADAL" clId="{34473802-5904-426F-ADDF-0D0D1B44876C}" dt="2024-02-28T12:50:12.720" v="4438" actId="478"/>
          <ac:spMkLst>
            <pc:docMk/>
            <pc:sldMk cId="2755231185" sldId="920"/>
            <ac:spMk id="7" creationId="{2959ED89-020D-39EB-ED4B-E25E11857D1B}"/>
          </ac:spMkLst>
        </pc:spChg>
        <pc:spChg chg="mod">
          <ac:chgData name="Annemarija Apine (LV)" userId="546f5c59-3b8d-47fd-b739-a8fadc631053" providerId="ADAL" clId="{34473802-5904-426F-ADDF-0D0D1B44876C}" dt="2024-02-26T23:11:49.219" v="3726" actId="20577"/>
          <ac:spMkLst>
            <pc:docMk/>
            <pc:sldMk cId="2755231185" sldId="920"/>
            <ac:spMk id="10" creationId="{489B7680-E5EE-2A50-7733-37F2F144B869}"/>
          </ac:spMkLst>
        </pc:spChg>
        <pc:spChg chg="mod">
          <ac:chgData name="Annemarija Apine (LV)" userId="546f5c59-3b8d-47fd-b739-a8fadc631053" providerId="ADAL" clId="{34473802-5904-426F-ADDF-0D0D1B44876C}" dt="2024-02-26T23:12:31.064" v="3756"/>
          <ac:spMkLst>
            <pc:docMk/>
            <pc:sldMk cId="2755231185" sldId="920"/>
            <ac:spMk id="12" creationId="{F17E280A-26FF-1631-ADC9-96AE3A637C2C}"/>
          </ac:spMkLst>
        </pc:spChg>
        <pc:spChg chg="mod">
          <ac:chgData name="Annemarija Apine (LV)" userId="546f5c59-3b8d-47fd-b739-a8fadc631053" providerId="ADAL" clId="{34473802-5904-426F-ADDF-0D0D1B44876C}" dt="2024-02-26T23:12:43.656" v="3757"/>
          <ac:spMkLst>
            <pc:docMk/>
            <pc:sldMk cId="2755231185" sldId="920"/>
            <ac:spMk id="13" creationId="{318FD8EE-145C-CF57-FA8A-2208CA63BD22}"/>
          </ac:spMkLst>
        </pc:spChg>
        <pc:spChg chg="mod">
          <ac:chgData name="Annemarija Apine (LV)" userId="546f5c59-3b8d-47fd-b739-a8fadc631053" providerId="ADAL" clId="{34473802-5904-426F-ADDF-0D0D1B44876C}" dt="2024-02-27T07:11:41.289" v="3937" actId="20577"/>
          <ac:spMkLst>
            <pc:docMk/>
            <pc:sldMk cId="2755231185" sldId="920"/>
            <ac:spMk id="16" creationId="{30819613-CE74-49B6-0807-44FDBB81D466}"/>
          </ac:spMkLst>
        </pc:spChg>
        <pc:spChg chg="mod">
          <ac:chgData name="Annemarija Apine (LV)" userId="546f5c59-3b8d-47fd-b739-a8fadc631053" providerId="ADAL" clId="{34473802-5904-426F-ADDF-0D0D1B44876C}" dt="2024-02-26T23:13:05.908" v="3759"/>
          <ac:spMkLst>
            <pc:docMk/>
            <pc:sldMk cId="2755231185" sldId="920"/>
            <ac:spMk id="18" creationId="{E1D4AC8F-0322-E8A8-E509-5AF71473A8F4}"/>
          </ac:spMkLst>
        </pc:spChg>
        <pc:spChg chg="mod">
          <ac:chgData name="Annemarija Apine (LV)" userId="546f5c59-3b8d-47fd-b739-a8fadc631053" providerId="ADAL" clId="{34473802-5904-426F-ADDF-0D0D1B44876C}" dt="2024-02-26T23:13:19.229" v="3773" actId="6549"/>
          <ac:spMkLst>
            <pc:docMk/>
            <pc:sldMk cId="2755231185" sldId="920"/>
            <ac:spMk id="20" creationId="{BCB0856A-D775-E9B2-A22B-A661D9F8D43C}"/>
          </ac:spMkLst>
        </pc:spChg>
        <pc:spChg chg="mod">
          <ac:chgData name="Annemarija Apine (LV)" userId="546f5c59-3b8d-47fd-b739-a8fadc631053" providerId="ADAL" clId="{34473802-5904-426F-ADDF-0D0D1B44876C}" dt="2024-02-26T23:13:33.017" v="3775" actId="1076"/>
          <ac:spMkLst>
            <pc:docMk/>
            <pc:sldMk cId="2755231185" sldId="920"/>
            <ac:spMk id="22" creationId="{044C1CE5-09D8-63ED-7E23-4A59A70CC41B}"/>
          </ac:spMkLst>
        </pc:spChg>
        <pc:spChg chg="del">
          <ac:chgData name="Annemarija Apine (LV)" userId="546f5c59-3b8d-47fd-b739-a8fadc631053" providerId="ADAL" clId="{34473802-5904-426F-ADDF-0D0D1B44876C}" dt="2024-02-26T23:11:17.879" v="3702" actId="478"/>
          <ac:spMkLst>
            <pc:docMk/>
            <pc:sldMk cId="2755231185" sldId="920"/>
            <ac:spMk id="23" creationId="{EEA0E558-7D58-6458-34C2-801898E3B0F7}"/>
          </ac:spMkLst>
        </pc:spChg>
      </pc:sldChg>
      <pc:sldChg chg="modSp add mod modNotesTx">
        <pc:chgData name="Annemarija Apine (LV)" userId="546f5c59-3b8d-47fd-b739-a8fadc631053" providerId="ADAL" clId="{34473802-5904-426F-ADDF-0D0D1B44876C}" dt="2024-03-04T09:40:44.107" v="8401" actId="20577"/>
        <pc:sldMkLst>
          <pc:docMk/>
          <pc:sldMk cId="1632897735" sldId="921"/>
        </pc:sldMkLst>
        <pc:spChg chg="mod">
          <ac:chgData name="Annemarija Apine (LV)" userId="546f5c59-3b8d-47fd-b739-a8fadc631053" providerId="ADAL" clId="{34473802-5904-426F-ADDF-0D0D1B44876C}" dt="2024-03-04T09:38:44.865" v="8340" actId="947"/>
          <ac:spMkLst>
            <pc:docMk/>
            <pc:sldMk cId="1632897735" sldId="921"/>
            <ac:spMk id="41" creationId="{A5FCE91E-7750-1062-5437-D153B9C8E110}"/>
          </ac:spMkLst>
        </pc:spChg>
      </pc:sldChg>
      <pc:sldChg chg="delSp modSp add mod ord addCm modCm modNotesTx">
        <pc:chgData name="Annemarija Apine (LV)" userId="546f5c59-3b8d-47fd-b739-a8fadc631053" providerId="ADAL" clId="{34473802-5904-426F-ADDF-0D0D1B44876C}" dt="2024-03-10T23:47:26.441" v="9940" actId="20577"/>
        <pc:sldMkLst>
          <pc:docMk/>
          <pc:sldMk cId="3183596888" sldId="922"/>
        </pc:sldMkLst>
        <pc:spChg chg="mod">
          <ac:chgData name="Annemarija Apine (LV)" userId="546f5c59-3b8d-47fd-b739-a8fadc631053" providerId="ADAL" clId="{34473802-5904-426F-ADDF-0D0D1B44876C}" dt="2024-02-27T08:21:40.301" v="4001" actId="20577"/>
          <ac:spMkLst>
            <pc:docMk/>
            <pc:sldMk cId="3183596888" sldId="922"/>
            <ac:spMk id="3" creationId="{F4CCF02E-F3C4-C376-8F56-61BD85A2E74B}"/>
          </ac:spMkLst>
        </pc:spChg>
        <pc:spChg chg="mod">
          <ac:chgData name="Annemarija Apine (LV)" userId="546f5c59-3b8d-47fd-b739-a8fadc631053" providerId="ADAL" clId="{34473802-5904-426F-ADDF-0D0D1B44876C}" dt="2024-02-27T08:24:17.172" v="4181" actId="20577"/>
          <ac:spMkLst>
            <pc:docMk/>
            <pc:sldMk cId="3183596888" sldId="922"/>
            <ac:spMk id="7" creationId="{8E846963-540E-9336-DE83-B87EC3AB5727}"/>
          </ac:spMkLst>
        </pc:spChg>
        <pc:spChg chg="mod">
          <ac:chgData name="Annemarija Apine (LV)" userId="546f5c59-3b8d-47fd-b739-a8fadc631053" providerId="ADAL" clId="{34473802-5904-426F-ADDF-0D0D1B44876C}" dt="2024-02-27T08:22:58.727" v="4059" actId="20577"/>
          <ac:spMkLst>
            <pc:docMk/>
            <pc:sldMk cId="3183596888" sldId="922"/>
            <ac:spMk id="8" creationId="{598AB23C-0BF9-85FE-4B7A-DC0CF1A85603}"/>
          </ac:spMkLst>
        </pc:spChg>
        <pc:spChg chg="del mod">
          <ac:chgData name="Annemarija Apine (LV)" userId="546f5c59-3b8d-47fd-b739-a8fadc631053" providerId="ADAL" clId="{34473802-5904-426F-ADDF-0D0D1B44876C}" dt="2024-02-28T12:50:19.324" v="4441" actId="478"/>
          <ac:spMkLst>
            <pc:docMk/>
            <pc:sldMk cId="3183596888" sldId="922"/>
            <ac:spMk id="9" creationId="{60EA8C9A-B4E1-ED83-7F05-80E8B89E3E1B}"/>
          </ac:spMkLst>
        </pc:spChg>
        <pc:spChg chg="mod">
          <ac:chgData name="Annemarija Apine (LV)" userId="546f5c59-3b8d-47fd-b739-a8fadc631053" providerId="ADAL" clId="{34473802-5904-426F-ADDF-0D0D1B44876C}" dt="2024-02-27T08:21:51.773" v="4026" actId="20577"/>
          <ac:spMkLst>
            <pc:docMk/>
            <pc:sldMk cId="3183596888" sldId="922"/>
            <ac:spMk id="10" creationId="{489B7680-E5EE-2A50-7733-37F2F144B869}"/>
          </ac:spMkLst>
        </pc:spChg>
        <pc:spChg chg="mod">
          <ac:chgData name="Annemarija Apine (LV)" userId="546f5c59-3b8d-47fd-b739-a8fadc631053" providerId="ADAL" clId="{34473802-5904-426F-ADDF-0D0D1B44876C}" dt="2024-02-27T08:23:51.317" v="4075" actId="12"/>
          <ac:spMkLst>
            <pc:docMk/>
            <pc:sldMk cId="3183596888" sldId="922"/>
            <ac:spMk id="11" creationId="{327B1A4B-6980-7B00-091C-6006703B82A0}"/>
          </ac:spMkLst>
        </pc:spChg>
        <pc:spChg chg="mod">
          <ac:chgData name="Annemarija Apine (LV)" userId="546f5c59-3b8d-47fd-b739-a8fadc631053" providerId="ADAL" clId="{34473802-5904-426F-ADDF-0D0D1B44876C}" dt="2024-03-10T23:47:26.441" v="9940" actId="20577"/>
          <ac:spMkLst>
            <pc:docMk/>
            <pc:sldMk cId="3183596888" sldId="922"/>
            <ac:spMk id="17" creationId="{6FA36F9D-90F9-114F-5453-39394D16CFF6}"/>
          </ac:spMkLst>
        </pc:spChg>
        <pc:extLst>
          <p:ext xmlns:p="http://schemas.openxmlformats.org/presentationml/2006/main" uri="{D6D511B9-2390-475A-947B-AFAB55BFBCF1}">
            <pc226:cmChg xmlns:pc226="http://schemas.microsoft.com/office/powerpoint/2022/06/main/command" chg="add mod">
              <pc226:chgData name="Annemarija Apine (LV)" userId="546f5c59-3b8d-47fd-b739-a8fadc631053" providerId="ADAL" clId="{34473802-5904-426F-ADDF-0D0D1B44876C}" dt="2024-03-10T23:47:26.441" v="9940" actId="20577"/>
              <pc2:cmMkLst xmlns:pc2="http://schemas.microsoft.com/office/powerpoint/2019/9/main/command">
                <pc:docMk/>
                <pc:sldMk cId="3183596888" sldId="922"/>
                <pc2:cmMk id="{C97982E5-43BF-453B-B11A-79E886B6EB60}"/>
              </pc2:cmMkLst>
            </pc226:cmChg>
          </p:ext>
        </pc:extLst>
      </pc:sldChg>
      <pc:sldChg chg="delSp modSp add del mod modNotesTx">
        <pc:chgData name="Annemarija Apine (LV)" userId="546f5c59-3b8d-47fd-b739-a8fadc631053" providerId="ADAL" clId="{34473802-5904-426F-ADDF-0D0D1B44876C}" dt="2024-03-01T14:22:30.360" v="5656" actId="47"/>
        <pc:sldMkLst>
          <pc:docMk/>
          <pc:sldMk cId="1997891973" sldId="923"/>
        </pc:sldMkLst>
        <pc:spChg chg="mod">
          <ac:chgData name="Annemarija Apine (LV)" userId="546f5c59-3b8d-47fd-b739-a8fadc631053" providerId="ADAL" clId="{34473802-5904-426F-ADDF-0D0D1B44876C}" dt="2024-02-27T08:26:16.705" v="4226" actId="20577"/>
          <ac:spMkLst>
            <pc:docMk/>
            <pc:sldMk cId="1997891973" sldId="923"/>
            <ac:spMk id="3" creationId="{F4CCF02E-F3C4-C376-8F56-61BD85A2E74B}"/>
          </ac:spMkLst>
        </pc:spChg>
        <pc:spChg chg="mod">
          <ac:chgData name="Annemarija Apine (LV)" userId="546f5c59-3b8d-47fd-b739-a8fadc631053" providerId="ADAL" clId="{34473802-5904-426F-ADDF-0D0D1B44876C}" dt="2024-02-28T12:50:47.393" v="4481" actId="20577"/>
          <ac:spMkLst>
            <pc:docMk/>
            <pc:sldMk cId="1997891973" sldId="923"/>
            <ac:spMk id="7" creationId="{8E846963-540E-9336-DE83-B87EC3AB5727}"/>
          </ac:spMkLst>
        </pc:spChg>
        <pc:spChg chg="del">
          <ac:chgData name="Annemarija Apine (LV)" userId="546f5c59-3b8d-47fd-b739-a8fadc631053" providerId="ADAL" clId="{34473802-5904-426F-ADDF-0D0D1B44876C}" dt="2024-02-28T12:50:37.929" v="4457" actId="478"/>
          <ac:spMkLst>
            <pc:docMk/>
            <pc:sldMk cId="1997891973" sldId="923"/>
            <ac:spMk id="9" creationId="{60EA8C9A-B4E1-ED83-7F05-80E8B89E3E1B}"/>
          </ac:spMkLst>
        </pc:spChg>
        <pc:spChg chg="mod">
          <ac:chgData name="Annemarija Apine (LV)" userId="546f5c59-3b8d-47fd-b739-a8fadc631053" providerId="ADAL" clId="{34473802-5904-426F-ADDF-0D0D1B44876C}" dt="2024-02-27T08:26:00.717" v="4190" actId="20577"/>
          <ac:spMkLst>
            <pc:docMk/>
            <pc:sldMk cId="1997891973" sldId="923"/>
            <ac:spMk id="10" creationId="{489B7680-E5EE-2A50-7733-37F2F144B869}"/>
          </ac:spMkLst>
        </pc:spChg>
      </pc:sldChg>
      <pc:sldChg chg="add">
        <pc:chgData name="Annemarija Apine (LV)" userId="546f5c59-3b8d-47fd-b739-a8fadc631053" providerId="ADAL" clId="{34473802-5904-426F-ADDF-0D0D1B44876C}" dt="2024-02-29T08:18:18.489" v="4502" actId="2890"/>
        <pc:sldMkLst>
          <pc:docMk/>
          <pc:sldMk cId="2333946943" sldId="924"/>
        </pc:sldMkLst>
      </pc:sldChg>
      <pc:sldChg chg="modNotesTx">
        <pc:chgData name="Annemarija Apine (LV)" userId="546f5c59-3b8d-47fd-b739-a8fadc631053" providerId="ADAL" clId="{34473802-5904-426F-ADDF-0D0D1B44876C}" dt="2024-03-04T09:05:23.513" v="7624" actId="20577"/>
        <pc:sldMkLst>
          <pc:docMk/>
          <pc:sldMk cId="4107124933" sldId="925"/>
        </pc:sldMkLst>
      </pc:sldChg>
      <pc:sldChg chg="addCm delCm modNotesTx">
        <pc:chgData name="Annemarija Apine (LV)" userId="546f5c59-3b8d-47fd-b739-a8fadc631053" providerId="ADAL" clId="{34473802-5904-426F-ADDF-0D0D1B44876C}" dt="2024-03-08T12:14:24.397" v="9067"/>
        <pc:sldMkLst>
          <pc:docMk/>
          <pc:sldMk cId="76717427" sldId="926"/>
        </pc:sldMkLst>
        <pc:extLst>
          <p:ext xmlns:p="http://schemas.openxmlformats.org/presentationml/2006/main" uri="{D6D511B9-2390-475A-947B-AFAB55BFBCF1}">
            <pc226:cmChg xmlns:pc226="http://schemas.microsoft.com/office/powerpoint/2022/06/main/command" chg="add del">
              <pc226:chgData name="Annemarija Apine (LV)" userId="546f5c59-3b8d-47fd-b739-a8fadc631053" providerId="ADAL" clId="{34473802-5904-426F-ADDF-0D0D1B44876C}" dt="2024-03-08T12:14:24.397" v="9067"/>
              <pc2:cmMkLst xmlns:pc2="http://schemas.microsoft.com/office/powerpoint/2019/9/main/command">
                <pc:docMk/>
                <pc:sldMk cId="76717427" sldId="926"/>
                <pc2:cmMk id="{7D249D45-DA2C-45D9-BD4B-DE48CDC5B5E6}"/>
              </pc2:cmMkLst>
            </pc226:cmChg>
          </p:ext>
        </pc:extLst>
      </pc:sldChg>
      <pc:sldChg chg="modNotesTx">
        <pc:chgData name="Annemarija Apine (LV)" userId="546f5c59-3b8d-47fd-b739-a8fadc631053" providerId="ADAL" clId="{34473802-5904-426F-ADDF-0D0D1B44876C}" dt="2024-03-04T09:05:36.990" v="7629" actId="20577"/>
        <pc:sldMkLst>
          <pc:docMk/>
          <pc:sldMk cId="4266541344" sldId="927"/>
        </pc:sldMkLst>
      </pc:sldChg>
      <pc:sldChg chg="modSp mod modNotesTx">
        <pc:chgData name="Annemarija Apine (LV)" userId="546f5c59-3b8d-47fd-b739-a8fadc631053" providerId="ADAL" clId="{34473802-5904-426F-ADDF-0D0D1B44876C}" dt="2024-03-08T12:30:26.319" v="9188" actId="20577"/>
        <pc:sldMkLst>
          <pc:docMk/>
          <pc:sldMk cId="2463822678" sldId="928"/>
        </pc:sldMkLst>
        <pc:spChg chg="mod">
          <ac:chgData name="Annemarija Apine (LV)" userId="546f5c59-3b8d-47fd-b739-a8fadc631053" providerId="ADAL" clId="{34473802-5904-426F-ADDF-0D0D1B44876C}" dt="2024-03-08T12:30:26.319" v="9188" actId="20577"/>
          <ac:spMkLst>
            <pc:docMk/>
            <pc:sldMk cId="2463822678" sldId="928"/>
            <ac:spMk id="2" creationId="{00000000-0000-0000-0000-000000000000}"/>
          </ac:spMkLst>
        </pc:spChg>
      </pc:sldChg>
      <pc:sldChg chg="new del">
        <pc:chgData name="Annemarija Apine (LV)" userId="546f5c59-3b8d-47fd-b739-a8fadc631053" providerId="ADAL" clId="{34473802-5904-426F-ADDF-0D0D1B44876C}" dt="2024-03-01T10:34:41.679" v="5322" actId="680"/>
        <pc:sldMkLst>
          <pc:docMk/>
          <pc:sldMk cId="3082569772" sldId="928"/>
        </pc:sldMkLst>
      </pc:sldChg>
      <pc:sldChg chg="modSp mod">
        <pc:chgData name="Annemarija Apine (LV)" userId="546f5c59-3b8d-47fd-b739-a8fadc631053" providerId="ADAL" clId="{34473802-5904-426F-ADDF-0D0D1B44876C}" dt="2024-03-01T12:19:56.186" v="5504" actId="20577"/>
        <pc:sldMkLst>
          <pc:docMk/>
          <pc:sldMk cId="2616931998" sldId="929"/>
        </pc:sldMkLst>
        <pc:spChg chg="mod">
          <ac:chgData name="Annemarija Apine (LV)" userId="546f5c59-3b8d-47fd-b739-a8fadc631053" providerId="ADAL" clId="{34473802-5904-426F-ADDF-0D0D1B44876C}" dt="2024-03-01T12:19:56.186" v="5504" actId="20577"/>
          <ac:spMkLst>
            <pc:docMk/>
            <pc:sldMk cId="2616931998" sldId="929"/>
            <ac:spMk id="3" creationId="{F4CCF02E-F3C4-C376-8F56-61BD85A2E74B}"/>
          </ac:spMkLst>
        </pc:spChg>
      </pc:sldChg>
      <pc:sldChg chg="addSp delSp modSp add mod modShow addCm modNotesTx">
        <pc:chgData name="Annemarija Apine (LV)" userId="546f5c59-3b8d-47fd-b739-a8fadc631053" providerId="ADAL" clId="{34473802-5904-426F-ADDF-0D0D1B44876C}" dt="2024-03-04T09:20:05.494" v="7902"/>
        <pc:sldMkLst>
          <pc:docMk/>
          <pc:sldMk cId="3431578971" sldId="931"/>
        </pc:sldMkLst>
        <pc:spChg chg="add mod ord">
          <ac:chgData name="Annemarija Apine (LV)" userId="546f5c59-3b8d-47fd-b739-a8fadc631053" providerId="ADAL" clId="{34473802-5904-426F-ADDF-0D0D1B44876C}" dt="2024-03-01T12:48:21.688" v="5594" actId="1036"/>
          <ac:spMkLst>
            <pc:docMk/>
            <pc:sldMk cId="3431578971" sldId="931"/>
            <ac:spMk id="2" creationId="{6CA1ECBA-9098-2617-476E-BB53C42ACEE3}"/>
          </ac:spMkLst>
        </pc:spChg>
        <pc:spChg chg="mod">
          <ac:chgData name="Annemarija Apine (LV)" userId="546f5c59-3b8d-47fd-b739-a8fadc631053" providerId="ADAL" clId="{34473802-5904-426F-ADDF-0D0D1B44876C}" dt="2024-03-04T09:18:59.838" v="7894" actId="947"/>
          <ac:spMkLst>
            <pc:docMk/>
            <pc:sldMk cId="3431578971" sldId="931"/>
            <ac:spMk id="3" creationId="{F4CCF02E-F3C4-C376-8F56-61BD85A2E74B}"/>
          </ac:spMkLst>
        </pc:spChg>
        <pc:spChg chg="del mod">
          <ac:chgData name="Annemarija Apine (LV)" userId="546f5c59-3b8d-47fd-b739-a8fadc631053" providerId="ADAL" clId="{34473802-5904-426F-ADDF-0D0D1B44876C}" dt="2024-03-01T12:46:11.939" v="5558" actId="478"/>
          <ac:spMkLst>
            <pc:docMk/>
            <pc:sldMk cId="3431578971" sldId="931"/>
            <ac:spMk id="5" creationId="{D8F58FFE-2BDD-A155-DB37-C866E8C978C1}"/>
          </ac:spMkLst>
        </pc:spChg>
        <pc:spChg chg="add mod">
          <ac:chgData name="Annemarija Apine (LV)" userId="546f5c59-3b8d-47fd-b739-a8fadc631053" providerId="ADAL" clId="{34473802-5904-426F-ADDF-0D0D1B44876C}" dt="2024-03-01T12:46:39.348" v="5563" actId="571"/>
          <ac:spMkLst>
            <pc:docMk/>
            <pc:sldMk cId="3431578971" sldId="931"/>
            <ac:spMk id="8" creationId="{59CB14AA-79AB-DB70-324D-96C3469B17A9}"/>
          </ac:spMkLst>
        </pc:spChg>
        <pc:spChg chg="add mod">
          <ac:chgData name="Annemarija Apine (LV)" userId="546f5c59-3b8d-47fd-b739-a8fadc631053" providerId="ADAL" clId="{34473802-5904-426F-ADDF-0D0D1B44876C}" dt="2024-03-01T12:46:39.348" v="5563" actId="571"/>
          <ac:spMkLst>
            <pc:docMk/>
            <pc:sldMk cId="3431578971" sldId="931"/>
            <ac:spMk id="16" creationId="{8717827A-02B2-2F0F-D731-6875C980A6C9}"/>
          </ac:spMkLst>
        </pc:spChg>
        <pc:spChg chg="add mod">
          <ac:chgData name="Annemarija Apine (LV)" userId="546f5c59-3b8d-47fd-b739-a8fadc631053" providerId="ADAL" clId="{34473802-5904-426F-ADDF-0D0D1B44876C}" dt="2024-03-01T12:48:48.997" v="5600" actId="1076"/>
          <ac:spMkLst>
            <pc:docMk/>
            <pc:sldMk cId="3431578971" sldId="931"/>
            <ac:spMk id="17" creationId="{1B3B2816-7084-FA8B-9573-B5304273EF81}"/>
          </ac:spMkLst>
        </pc:spChg>
        <pc:spChg chg="add del mod">
          <ac:chgData name="Annemarija Apine (LV)" userId="546f5c59-3b8d-47fd-b739-a8fadc631053" providerId="ADAL" clId="{34473802-5904-426F-ADDF-0D0D1B44876C}" dt="2024-03-01T15:58:38.850" v="7173" actId="478"/>
          <ac:spMkLst>
            <pc:docMk/>
            <pc:sldMk cId="3431578971" sldId="931"/>
            <ac:spMk id="18" creationId="{D51AA6A0-2863-BFDE-A808-1CE0E6EC7241}"/>
          </ac:spMkLst>
        </pc:spChg>
        <pc:spChg chg="mod ord">
          <ac:chgData name="Annemarija Apine (LV)" userId="546f5c59-3b8d-47fd-b739-a8fadc631053" providerId="ADAL" clId="{34473802-5904-426F-ADDF-0D0D1B44876C}" dt="2024-03-01T12:48:17.282" v="5584" actId="166"/>
          <ac:spMkLst>
            <pc:docMk/>
            <pc:sldMk cId="3431578971" sldId="931"/>
            <ac:spMk id="47" creationId="{53CB8D3C-9648-B17B-BD59-60EED0CCD133}"/>
          </ac:spMkLst>
        </pc:spChg>
        <pc:spChg chg="mod">
          <ac:chgData name="Annemarija Apine (LV)" userId="546f5c59-3b8d-47fd-b739-a8fadc631053" providerId="ADAL" clId="{34473802-5904-426F-ADDF-0D0D1B44876C}" dt="2024-03-01T12:48:43.176" v="5598" actId="14100"/>
          <ac:spMkLst>
            <pc:docMk/>
            <pc:sldMk cId="3431578971" sldId="931"/>
            <ac:spMk id="61" creationId="{2A14CA01-2350-21C6-16E6-E9CEAF43B441}"/>
          </ac:spMkLst>
        </pc:spChg>
        <pc:spChg chg="mod">
          <ac:chgData name="Annemarija Apine (LV)" userId="546f5c59-3b8d-47fd-b739-a8fadc631053" providerId="ADAL" clId="{34473802-5904-426F-ADDF-0D0D1B44876C}" dt="2024-03-01T12:48:46.228" v="5599" actId="14100"/>
          <ac:spMkLst>
            <pc:docMk/>
            <pc:sldMk cId="3431578971" sldId="931"/>
            <ac:spMk id="64" creationId="{19794A8F-A922-1A21-17E6-1B4B21C8F596}"/>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1T15:42:41.805" v="6897"/>
              <pc2:cmMkLst xmlns:pc2="http://schemas.microsoft.com/office/powerpoint/2019/9/main/command">
                <pc:docMk/>
                <pc:sldMk cId="3431578971" sldId="931"/>
                <pc2:cmMk id="{E9ACF3A7-DB3E-4086-9C56-15ADFB324CFF}"/>
              </pc2:cmMkLst>
            </pc226:cmChg>
            <pc226:cmChg xmlns:pc226="http://schemas.microsoft.com/office/powerpoint/2022/06/main/command" chg="add">
              <pc226:chgData name="Annemarija Apine (LV)" userId="546f5c59-3b8d-47fd-b739-a8fadc631053" providerId="ADAL" clId="{34473802-5904-426F-ADDF-0D0D1B44876C}" dt="2024-03-04T09:20:05.494" v="7902"/>
              <pc2:cmMkLst xmlns:pc2="http://schemas.microsoft.com/office/powerpoint/2019/9/main/command">
                <pc:docMk/>
                <pc:sldMk cId="3431578971" sldId="931"/>
                <pc2:cmMk id="{5B7B49C2-CE96-4F1F-9FE5-4CF603BB0FF1}"/>
              </pc2:cmMkLst>
            </pc226:cmChg>
          </p:ext>
        </pc:extLst>
      </pc:sldChg>
      <pc:sldChg chg="addSp modSp add mod ord modShow modNotesTx">
        <pc:chgData name="Annemarija Apine (LV)" userId="546f5c59-3b8d-47fd-b739-a8fadc631053" providerId="ADAL" clId="{34473802-5904-426F-ADDF-0D0D1B44876C}" dt="2024-03-04T09:41:18.536" v="8414" actId="20577"/>
        <pc:sldMkLst>
          <pc:docMk/>
          <pc:sldMk cId="2630099657" sldId="933"/>
        </pc:sldMkLst>
        <pc:spChg chg="add mod">
          <ac:chgData name="Annemarija Apine (LV)" userId="546f5c59-3b8d-47fd-b739-a8fadc631053" providerId="ADAL" clId="{34473802-5904-426F-ADDF-0D0D1B44876C}" dt="2024-03-01T14:30:07.764" v="5745" actId="207"/>
          <ac:spMkLst>
            <pc:docMk/>
            <pc:sldMk cId="2630099657" sldId="933"/>
            <ac:spMk id="2" creationId="{F6B088C4-896F-0BB6-190E-567264B27E74}"/>
          </ac:spMkLst>
        </pc:spChg>
        <pc:spChg chg="mod">
          <ac:chgData name="Annemarija Apine (LV)" userId="546f5c59-3b8d-47fd-b739-a8fadc631053" providerId="ADAL" clId="{34473802-5904-426F-ADDF-0D0D1B44876C}" dt="2024-03-01T14:28:57.682" v="5693" actId="20577"/>
          <ac:spMkLst>
            <pc:docMk/>
            <pc:sldMk cId="2630099657" sldId="933"/>
            <ac:spMk id="3" creationId="{F4CCF02E-F3C4-C376-8F56-61BD85A2E74B}"/>
          </ac:spMkLst>
        </pc:spChg>
        <pc:spChg chg="mod">
          <ac:chgData name="Annemarija Apine (LV)" userId="546f5c59-3b8d-47fd-b739-a8fadc631053" providerId="ADAL" clId="{34473802-5904-426F-ADDF-0D0D1B44876C}" dt="2024-03-01T14:29:10.166" v="5704" actId="20577"/>
          <ac:spMkLst>
            <pc:docMk/>
            <pc:sldMk cId="2630099657" sldId="933"/>
            <ac:spMk id="16" creationId="{30819613-CE74-49B6-0807-44FDBB81D466}"/>
          </ac:spMkLst>
        </pc:spChg>
        <pc:spChg chg="mod">
          <ac:chgData name="Annemarija Apine (LV)" userId="546f5c59-3b8d-47fd-b739-a8fadc631053" providerId="ADAL" clId="{34473802-5904-426F-ADDF-0D0D1B44876C}" dt="2024-03-01T14:29:25.470" v="5714" actId="20577"/>
          <ac:spMkLst>
            <pc:docMk/>
            <pc:sldMk cId="2630099657" sldId="933"/>
            <ac:spMk id="18" creationId="{E1D4AC8F-0322-E8A8-E509-5AF71473A8F4}"/>
          </ac:spMkLst>
        </pc:spChg>
        <pc:spChg chg="mod">
          <ac:chgData name="Annemarija Apine (LV)" userId="546f5c59-3b8d-47fd-b739-a8fadc631053" providerId="ADAL" clId="{34473802-5904-426F-ADDF-0D0D1B44876C}" dt="2024-03-01T14:29:43.538" v="5727" actId="20577"/>
          <ac:spMkLst>
            <pc:docMk/>
            <pc:sldMk cId="2630099657" sldId="933"/>
            <ac:spMk id="20" creationId="{BCB0856A-D775-E9B2-A22B-A661D9F8D43C}"/>
          </ac:spMkLst>
        </pc:spChg>
        <pc:spChg chg="mod">
          <ac:chgData name="Annemarija Apine (LV)" userId="546f5c59-3b8d-47fd-b739-a8fadc631053" providerId="ADAL" clId="{34473802-5904-426F-ADDF-0D0D1B44876C}" dt="2024-03-01T14:29:52.537" v="5736" actId="20577"/>
          <ac:spMkLst>
            <pc:docMk/>
            <pc:sldMk cId="2630099657" sldId="933"/>
            <ac:spMk id="22" creationId="{044C1CE5-09D8-63ED-7E23-4A59A70CC41B}"/>
          </ac:spMkLst>
        </pc:spChg>
        <pc:spChg chg="mod">
          <ac:chgData name="Annemarija Apine (LV)" userId="546f5c59-3b8d-47fd-b739-a8fadc631053" providerId="ADAL" clId="{34473802-5904-426F-ADDF-0D0D1B44876C}" dt="2024-03-01T14:28:00.806" v="5667"/>
          <ac:spMkLst>
            <pc:docMk/>
            <pc:sldMk cId="2630099657" sldId="933"/>
            <ac:spMk id="23" creationId="{F0F92295-EBAE-39D7-7494-D9035179A285}"/>
          </ac:spMkLst>
        </pc:spChg>
        <pc:spChg chg="mod">
          <ac:chgData name="Annemarija Apine (LV)" userId="546f5c59-3b8d-47fd-b739-a8fadc631053" providerId="ADAL" clId="{34473802-5904-426F-ADDF-0D0D1B44876C}" dt="2024-03-01T14:30:56.367" v="5759" actId="113"/>
          <ac:spMkLst>
            <pc:docMk/>
            <pc:sldMk cId="2630099657" sldId="933"/>
            <ac:spMk id="36" creationId="{A8F39C25-781C-A7DA-387A-D92FCABEE1F5}"/>
          </ac:spMkLst>
        </pc:spChg>
        <pc:spChg chg="mod">
          <ac:chgData name="Annemarija Apine (LV)" userId="546f5c59-3b8d-47fd-b739-a8fadc631053" providerId="ADAL" clId="{34473802-5904-426F-ADDF-0D0D1B44876C}" dt="2024-03-01T14:31:18.231" v="5771" actId="20577"/>
          <ac:spMkLst>
            <pc:docMk/>
            <pc:sldMk cId="2630099657" sldId="933"/>
            <ac:spMk id="37" creationId="{BD11DB78-D65B-9D3C-EED7-1721F1C9BCF6}"/>
          </ac:spMkLst>
        </pc:spChg>
      </pc:sldChg>
      <pc:sldChg chg="modSp add mod modNotesTx">
        <pc:chgData name="Annemarija Apine (LV)" userId="546f5c59-3b8d-47fd-b739-a8fadc631053" providerId="ADAL" clId="{34473802-5904-426F-ADDF-0D0D1B44876C}" dt="2024-03-04T09:42:24.646" v="8432" actId="20577"/>
        <pc:sldMkLst>
          <pc:docMk/>
          <pc:sldMk cId="156182905" sldId="934"/>
        </pc:sldMkLst>
        <pc:spChg chg="mod">
          <ac:chgData name="Annemarija Apine (LV)" userId="546f5c59-3b8d-47fd-b739-a8fadc631053" providerId="ADAL" clId="{34473802-5904-426F-ADDF-0D0D1B44876C}" dt="2024-03-01T14:32:12.483" v="5803" actId="20577"/>
          <ac:spMkLst>
            <pc:docMk/>
            <pc:sldMk cId="156182905" sldId="934"/>
            <ac:spMk id="16" creationId="{30819613-CE74-49B6-0807-44FDBB81D466}"/>
          </ac:spMkLst>
        </pc:spChg>
        <pc:spChg chg="mod">
          <ac:chgData name="Annemarija Apine (LV)" userId="546f5c59-3b8d-47fd-b739-a8fadc631053" providerId="ADAL" clId="{34473802-5904-426F-ADDF-0D0D1B44876C}" dt="2024-03-01T14:32:31.110" v="5812" actId="20577"/>
          <ac:spMkLst>
            <pc:docMk/>
            <pc:sldMk cId="156182905" sldId="934"/>
            <ac:spMk id="18" creationId="{E1D4AC8F-0322-E8A8-E509-5AF71473A8F4}"/>
          </ac:spMkLst>
        </pc:spChg>
        <pc:spChg chg="mod">
          <ac:chgData name="Annemarija Apine (LV)" userId="546f5c59-3b8d-47fd-b739-a8fadc631053" providerId="ADAL" clId="{34473802-5904-426F-ADDF-0D0D1B44876C}" dt="2024-03-01T14:32:45.693" v="5825" actId="20577"/>
          <ac:spMkLst>
            <pc:docMk/>
            <pc:sldMk cId="156182905" sldId="934"/>
            <ac:spMk id="20" creationId="{BCB0856A-D775-E9B2-A22B-A661D9F8D43C}"/>
          </ac:spMkLst>
        </pc:spChg>
        <pc:spChg chg="mod">
          <ac:chgData name="Annemarija Apine (LV)" userId="546f5c59-3b8d-47fd-b739-a8fadc631053" providerId="ADAL" clId="{34473802-5904-426F-ADDF-0D0D1B44876C}" dt="2024-03-01T14:32:56.938" v="5830" actId="20577"/>
          <ac:spMkLst>
            <pc:docMk/>
            <pc:sldMk cId="156182905" sldId="934"/>
            <ac:spMk id="22" creationId="{044C1CE5-09D8-63ED-7E23-4A59A70CC41B}"/>
          </ac:spMkLst>
        </pc:spChg>
        <pc:spChg chg="mod">
          <ac:chgData name="Annemarija Apine (LV)" userId="546f5c59-3b8d-47fd-b739-a8fadc631053" providerId="ADAL" clId="{34473802-5904-426F-ADDF-0D0D1B44876C}" dt="2024-03-01T14:31:44.121" v="5777"/>
          <ac:spMkLst>
            <pc:docMk/>
            <pc:sldMk cId="156182905" sldId="934"/>
            <ac:spMk id="36" creationId="{A8F39C25-781C-A7DA-387A-D92FCABEE1F5}"/>
          </ac:spMkLst>
        </pc:spChg>
        <pc:spChg chg="mod">
          <ac:chgData name="Annemarija Apine (LV)" userId="546f5c59-3b8d-47fd-b739-a8fadc631053" providerId="ADAL" clId="{34473802-5904-426F-ADDF-0D0D1B44876C}" dt="2024-03-01T14:31:51.567" v="5780"/>
          <ac:spMkLst>
            <pc:docMk/>
            <pc:sldMk cId="156182905" sldId="934"/>
            <ac:spMk id="37" creationId="{BD11DB78-D65B-9D3C-EED7-1721F1C9BCF6}"/>
          </ac:spMkLst>
        </pc:spChg>
      </pc:sldChg>
      <pc:sldChg chg="delSp modSp add mod addCm modNotesTx">
        <pc:chgData name="Annemarija Apine (LV)" userId="546f5c59-3b8d-47fd-b739-a8fadc631053" providerId="ADAL" clId="{34473802-5904-426F-ADDF-0D0D1B44876C}" dt="2024-03-08T12:28:04.360" v="9148"/>
        <pc:sldMkLst>
          <pc:docMk/>
          <pc:sldMk cId="2803239078" sldId="935"/>
        </pc:sldMkLst>
        <pc:spChg chg="mod">
          <ac:chgData name="Annemarija Apine (LV)" userId="546f5c59-3b8d-47fd-b739-a8fadc631053" providerId="ADAL" clId="{34473802-5904-426F-ADDF-0D0D1B44876C}" dt="2024-03-01T14:33:54.500" v="5867" actId="20577"/>
          <ac:spMkLst>
            <pc:docMk/>
            <pc:sldMk cId="2803239078" sldId="935"/>
            <ac:spMk id="16" creationId="{30819613-CE74-49B6-0807-44FDBB81D466}"/>
          </ac:spMkLst>
        </pc:spChg>
        <pc:spChg chg="mod">
          <ac:chgData name="Annemarija Apine (LV)" userId="546f5c59-3b8d-47fd-b739-a8fadc631053" providerId="ADAL" clId="{34473802-5904-426F-ADDF-0D0D1B44876C}" dt="2024-03-01T14:33:47.673" v="5855" actId="20577"/>
          <ac:spMkLst>
            <pc:docMk/>
            <pc:sldMk cId="2803239078" sldId="935"/>
            <ac:spMk id="18" creationId="{E1D4AC8F-0322-E8A8-E509-5AF71473A8F4}"/>
          </ac:spMkLst>
        </pc:spChg>
        <pc:spChg chg="del">
          <ac:chgData name="Annemarija Apine (LV)" userId="546f5c59-3b8d-47fd-b739-a8fadc631053" providerId="ADAL" clId="{34473802-5904-426F-ADDF-0D0D1B44876C}" dt="2024-03-01T14:33:19.176" v="5839" actId="478"/>
          <ac:spMkLst>
            <pc:docMk/>
            <pc:sldMk cId="2803239078" sldId="935"/>
            <ac:spMk id="20" creationId="{BCB0856A-D775-E9B2-A22B-A661D9F8D43C}"/>
          </ac:spMkLst>
        </pc:spChg>
        <pc:spChg chg="del">
          <ac:chgData name="Annemarija Apine (LV)" userId="546f5c59-3b8d-47fd-b739-a8fadc631053" providerId="ADAL" clId="{34473802-5904-426F-ADDF-0D0D1B44876C}" dt="2024-03-01T14:33:19.176" v="5839" actId="478"/>
          <ac:spMkLst>
            <pc:docMk/>
            <pc:sldMk cId="2803239078" sldId="935"/>
            <ac:spMk id="22" creationId="{044C1CE5-09D8-63ED-7E23-4A59A70CC41B}"/>
          </ac:spMkLst>
        </pc:spChg>
        <pc:spChg chg="del">
          <ac:chgData name="Annemarija Apine (LV)" userId="546f5c59-3b8d-47fd-b739-a8fadc631053" providerId="ADAL" clId="{34473802-5904-426F-ADDF-0D0D1B44876C}" dt="2024-03-01T14:33:19.176" v="5839" actId="478"/>
          <ac:spMkLst>
            <pc:docMk/>
            <pc:sldMk cId="2803239078" sldId="935"/>
            <ac:spMk id="34" creationId="{F1D573D1-C07D-A943-A741-380994F48A4F}"/>
          </ac:spMkLst>
        </pc:spChg>
        <pc:spChg chg="mod">
          <ac:chgData name="Annemarija Apine (LV)" userId="546f5c59-3b8d-47fd-b739-a8fadc631053" providerId="ADAL" clId="{34473802-5904-426F-ADDF-0D0D1B44876C}" dt="2024-03-01T14:33:15.328" v="5838" actId="20577"/>
          <ac:spMkLst>
            <pc:docMk/>
            <pc:sldMk cId="2803239078" sldId="935"/>
            <ac:spMk id="36" creationId="{A8F39C25-781C-A7DA-387A-D92FCABEE1F5}"/>
          </ac:spMkLst>
        </pc:spChg>
        <pc:spChg chg="del">
          <ac:chgData name="Annemarija Apine (LV)" userId="546f5c59-3b8d-47fd-b739-a8fadc631053" providerId="ADAL" clId="{34473802-5904-426F-ADDF-0D0D1B44876C}" dt="2024-03-01T14:33:19.176" v="5839" actId="478"/>
          <ac:spMkLst>
            <pc:docMk/>
            <pc:sldMk cId="2803239078" sldId="935"/>
            <ac:spMk id="37" creationId="{BD11DB78-D65B-9D3C-EED7-1721F1C9BCF6}"/>
          </ac:spMkLst>
        </pc:spChg>
        <pc:spChg chg="del">
          <ac:chgData name="Annemarija Apine (LV)" userId="546f5c59-3b8d-47fd-b739-a8fadc631053" providerId="ADAL" clId="{34473802-5904-426F-ADDF-0D0D1B44876C}" dt="2024-03-01T14:33:19.176" v="5839" actId="478"/>
          <ac:spMkLst>
            <pc:docMk/>
            <pc:sldMk cId="2803239078" sldId="935"/>
            <ac:spMk id="39" creationId="{DCB78F50-A328-CF00-9A1A-F2F677D9CB38}"/>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8T12:28:04.360" v="9148"/>
              <pc2:cmMkLst xmlns:pc2="http://schemas.microsoft.com/office/powerpoint/2019/9/main/command">
                <pc:docMk/>
                <pc:sldMk cId="2803239078" sldId="935"/>
                <pc2:cmMk id="{72897B42-C198-4AF9-86AB-C561B281055B}"/>
              </pc2:cmMkLst>
            </pc226:cmChg>
            <pc226:cmChg xmlns:pc226="http://schemas.microsoft.com/office/powerpoint/2022/06/main/command" chg="add">
              <pc226:chgData name="Annemarija Apine (LV)" userId="546f5c59-3b8d-47fd-b739-a8fadc631053" providerId="ADAL" clId="{34473802-5904-426F-ADDF-0D0D1B44876C}" dt="2024-03-04T09:42:57.471" v="8435"/>
              <pc2:cmMkLst xmlns:pc2="http://schemas.microsoft.com/office/powerpoint/2019/9/main/command">
                <pc:docMk/>
                <pc:sldMk cId="2803239078" sldId="935"/>
                <pc2:cmMk id="{F7C00153-39D8-4846-8D47-915BF0FEF30D}"/>
              </pc2:cmMkLst>
            </pc226:cmChg>
          </p:ext>
        </pc:extLst>
      </pc:sldChg>
      <pc:sldChg chg="addSp delSp modSp add mod ord addCm modNotesTx">
        <pc:chgData name="Annemarija Apine (LV)" userId="546f5c59-3b8d-47fd-b739-a8fadc631053" providerId="ADAL" clId="{34473802-5904-426F-ADDF-0D0D1B44876C}" dt="2024-03-10T23:48:48.460" v="10003"/>
        <pc:sldMkLst>
          <pc:docMk/>
          <pc:sldMk cId="1939332489" sldId="936"/>
        </pc:sldMkLst>
        <pc:spChg chg="add mod">
          <ac:chgData name="Annemarija Apine (LV)" userId="546f5c59-3b8d-47fd-b739-a8fadc631053" providerId="ADAL" clId="{34473802-5904-426F-ADDF-0D0D1B44876C}" dt="2024-03-01T14:44:58.979" v="5893"/>
          <ac:spMkLst>
            <pc:docMk/>
            <pc:sldMk cId="1939332489" sldId="936"/>
            <ac:spMk id="2" creationId="{7ED4D46D-04AD-7DC4-4216-971E04043EA7}"/>
          </ac:spMkLst>
        </pc:spChg>
        <pc:spChg chg="mod">
          <ac:chgData name="Annemarija Apine (LV)" userId="546f5c59-3b8d-47fd-b739-a8fadc631053" providerId="ADAL" clId="{34473802-5904-426F-ADDF-0D0D1B44876C}" dt="2024-03-10T23:48:29.561" v="9990" actId="20577"/>
          <ac:spMkLst>
            <pc:docMk/>
            <pc:sldMk cId="1939332489" sldId="936"/>
            <ac:spMk id="2" creationId="{ECED2237-CB7F-C2CD-11A3-62DC16CCA5B1}"/>
          </ac:spMkLst>
        </pc:spChg>
        <pc:spChg chg="mod">
          <ac:chgData name="Annemarija Apine (LV)" userId="546f5c59-3b8d-47fd-b739-a8fadc631053" providerId="ADAL" clId="{34473802-5904-426F-ADDF-0D0D1B44876C}" dt="2024-03-01T14:51:02.501" v="6141" actId="20577"/>
          <ac:spMkLst>
            <pc:docMk/>
            <pc:sldMk cId="1939332489" sldId="936"/>
            <ac:spMk id="3" creationId="{F4CCF02E-F3C4-C376-8F56-61BD85A2E74B}"/>
          </ac:spMkLst>
        </pc:spChg>
        <pc:spChg chg="add del mod">
          <ac:chgData name="Annemarija Apine (LV)" userId="546f5c59-3b8d-47fd-b739-a8fadc631053" providerId="ADAL" clId="{34473802-5904-426F-ADDF-0D0D1B44876C}" dt="2024-03-01T14:46:45.164" v="6001" actId="478"/>
          <ac:spMkLst>
            <pc:docMk/>
            <pc:sldMk cId="1939332489" sldId="936"/>
            <ac:spMk id="5" creationId="{2F0C18C5-296B-3AD0-69E9-02B9171B2A78}"/>
          </ac:spMkLst>
        </pc:spChg>
        <pc:spChg chg="add del mod">
          <ac:chgData name="Annemarija Apine (LV)" userId="546f5c59-3b8d-47fd-b739-a8fadc631053" providerId="ADAL" clId="{34473802-5904-426F-ADDF-0D0D1B44876C}" dt="2024-03-01T14:46:45.164" v="6001" actId="478"/>
          <ac:spMkLst>
            <pc:docMk/>
            <pc:sldMk cId="1939332489" sldId="936"/>
            <ac:spMk id="6" creationId="{39897C61-A04A-BBD5-DE4D-220D25DA3288}"/>
          </ac:spMkLst>
        </pc:spChg>
        <pc:spChg chg="add del mod">
          <ac:chgData name="Annemarija Apine (LV)" userId="546f5c59-3b8d-47fd-b739-a8fadc631053" providerId="ADAL" clId="{34473802-5904-426F-ADDF-0D0D1B44876C}" dt="2024-03-01T14:46:45.164" v="6001" actId="478"/>
          <ac:spMkLst>
            <pc:docMk/>
            <pc:sldMk cId="1939332489" sldId="936"/>
            <ac:spMk id="9" creationId="{ACB01482-7BDB-2357-21F1-2BB5DD2D84D5}"/>
          </ac:spMkLst>
        </pc:spChg>
        <pc:spChg chg="del">
          <ac:chgData name="Annemarija Apine (LV)" userId="546f5c59-3b8d-47fd-b739-a8fadc631053" providerId="ADAL" clId="{34473802-5904-426F-ADDF-0D0D1B44876C}" dt="2024-03-01T14:44:56.477" v="5892" actId="478"/>
          <ac:spMkLst>
            <pc:docMk/>
            <pc:sldMk cId="1939332489" sldId="936"/>
            <ac:spMk id="10" creationId="{489B7680-E5EE-2A50-7733-37F2F144B869}"/>
          </ac:spMkLst>
        </pc:spChg>
        <pc:spChg chg="add mod">
          <ac:chgData name="Annemarija Apine (LV)" userId="546f5c59-3b8d-47fd-b739-a8fadc631053" providerId="ADAL" clId="{34473802-5904-426F-ADDF-0D0D1B44876C}" dt="2024-03-01T14:50:17.383" v="6088" actId="20577"/>
          <ac:spMkLst>
            <pc:docMk/>
            <pc:sldMk cId="1939332489" sldId="936"/>
            <ac:spMk id="11" creationId="{ECEF24F5-E26D-2531-E4A1-337E326AC9CB}"/>
          </ac:spMkLst>
        </pc:spChg>
        <pc:spChg chg="mod">
          <ac:chgData name="Annemarija Apine (LV)" userId="546f5c59-3b8d-47fd-b739-a8fadc631053" providerId="ADAL" clId="{34473802-5904-426F-ADDF-0D0D1B44876C}" dt="2024-03-01T14:45:10.650" v="5918" actId="20577"/>
          <ac:spMkLst>
            <pc:docMk/>
            <pc:sldMk cId="1939332489" sldId="936"/>
            <ac:spMk id="15" creationId="{E629ACA0-19AA-6B2C-F2D4-5BA2027E48BA}"/>
          </ac:spMkLst>
        </pc:spChg>
        <pc:spChg chg="mod">
          <ac:chgData name="Annemarija Apine (LV)" userId="546f5c59-3b8d-47fd-b739-a8fadc631053" providerId="ADAL" clId="{34473802-5904-426F-ADDF-0D0D1B44876C}" dt="2024-03-01T14:50:37.392" v="6097" actId="20577"/>
          <ac:spMkLst>
            <pc:docMk/>
            <pc:sldMk cId="1939332489" sldId="936"/>
            <ac:spMk id="16" creationId="{25A25F16-3DF9-5BEF-8F70-42FAB50A6BCE}"/>
          </ac:spMkLst>
        </pc:spChg>
        <pc:spChg chg="del">
          <ac:chgData name="Annemarija Apine (LV)" userId="546f5c59-3b8d-47fd-b739-a8fadc631053" providerId="ADAL" clId="{34473802-5904-426F-ADDF-0D0D1B44876C}" dt="2024-03-01T14:46:09.381" v="5990" actId="478"/>
          <ac:spMkLst>
            <pc:docMk/>
            <pc:sldMk cId="1939332489" sldId="936"/>
            <ac:spMk id="17" creationId="{8A128ED3-6DA0-A56A-B5CE-670FD97F3136}"/>
          </ac:spMkLst>
        </pc:spChg>
        <pc:spChg chg="add del mod">
          <ac:chgData name="Annemarija Apine (LV)" userId="546f5c59-3b8d-47fd-b739-a8fadc631053" providerId="ADAL" clId="{34473802-5904-426F-ADDF-0D0D1B44876C}" dt="2024-03-10T23:48:46.572" v="10001" actId="21"/>
          <ac:spMkLst>
            <pc:docMk/>
            <pc:sldMk cId="1939332489" sldId="936"/>
            <ac:spMk id="18" creationId="{886AD49E-750A-3B38-15A3-AAFA1E691A51}"/>
          </ac:spMkLst>
        </pc:spChg>
        <pc:spChg chg="add mod">
          <ac:chgData name="Annemarija Apine (LV)" userId="546f5c59-3b8d-47fd-b739-a8fadc631053" providerId="ADAL" clId="{34473802-5904-426F-ADDF-0D0D1B44876C}" dt="2024-03-10T23:48:48.301" v="10002" actId="571"/>
          <ac:spMkLst>
            <pc:docMk/>
            <pc:sldMk cId="1939332489" sldId="936"/>
            <ac:spMk id="19" creationId="{44282A17-2D47-C3D0-8E97-8DAEAA96CA33}"/>
          </ac:spMkLst>
        </pc:spChg>
        <pc:spChg chg="add mod">
          <ac:chgData name="Annemarija Apine (LV)" userId="546f5c59-3b8d-47fd-b739-a8fadc631053" providerId="ADAL" clId="{34473802-5904-426F-ADDF-0D0D1B44876C}" dt="2024-03-10T23:48:48.460" v="10003"/>
          <ac:spMkLst>
            <pc:docMk/>
            <pc:sldMk cId="1939332489" sldId="936"/>
            <ac:spMk id="20" creationId="{386F5C3C-46A1-7C80-6266-6DEA8D8647DB}"/>
          </ac:spMkLst>
        </pc:spChg>
        <pc:spChg chg="del">
          <ac:chgData name="Annemarija Apine (LV)" userId="546f5c59-3b8d-47fd-b739-a8fadc631053" providerId="ADAL" clId="{34473802-5904-426F-ADDF-0D0D1B44876C}" dt="2024-03-01T14:46:09.381" v="5990" actId="478"/>
          <ac:spMkLst>
            <pc:docMk/>
            <pc:sldMk cId="1939332489" sldId="936"/>
            <ac:spMk id="24" creationId="{7976A404-DCE0-7582-8C59-C64068CD6711}"/>
          </ac:spMkLst>
        </pc:spChg>
        <pc:spChg chg="del">
          <ac:chgData name="Annemarija Apine (LV)" userId="546f5c59-3b8d-47fd-b739-a8fadc631053" providerId="ADAL" clId="{34473802-5904-426F-ADDF-0D0D1B44876C}" dt="2024-03-01T14:46:09.381" v="5990" actId="478"/>
          <ac:spMkLst>
            <pc:docMk/>
            <pc:sldMk cId="1939332489" sldId="936"/>
            <ac:spMk id="25" creationId="{CAEF1BFA-4F5E-5ECC-B05E-7D8BEAB50690}"/>
          </ac:spMkLst>
        </pc:spChg>
        <pc:spChg chg="del">
          <ac:chgData name="Annemarija Apine (LV)" userId="546f5c59-3b8d-47fd-b739-a8fadc631053" providerId="ADAL" clId="{34473802-5904-426F-ADDF-0D0D1B44876C}" dt="2024-03-01T14:46:09.381" v="5990" actId="478"/>
          <ac:spMkLst>
            <pc:docMk/>
            <pc:sldMk cId="1939332489" sldId="936"/>
            <ac:spMk id="26" creationId="{B81EDABD-64F3-49A6-E323-8C6185048BF8}"/>
          </ac:spMkLst>
        </pc:spChg>
        <pc:spChg chg="del">
          <ac:chgData name="Annemarija Apine (LV)" userId="546f5c59-3b8d-47fd-b739-a8fadc631053" providerId="ADAL" clId="{34473802-5904-426F-ADDF-0D0D1B44876C}" dt="2024-03-01T14:46:09.381" v="5990" actId="478"/>
          <ac:spMkLst>
            <pc:docMk/>
            <pc:sldMk cId="1939332489" sldId="936"/>
            <ac:spMk id="27" creationId="{E1CF9F97-1AD2-680B-5387-753B47FD3F5E}"/>
          </ac:spMkLst>
        </pc:spChg>
        <pc:spChg chg="del">
          <ac:chgData name="Annemarija Apine (LV)" userId="546f5c59-3b8d-47fd-b739-a8fadc631053" providerId="ADAL" clId="{34473802-5904-426F-ADDF-0D0D1B44876C}" dt="2024-03-01T14:46:09.381" v="5990" actId="478"/>
          <ac:spMkLst>
            <pc:docMk/>
            <pc:sldMk cId="1939332489" sldId="936"/>
            <ac:spMk id="28" creationId="{05646684-037D-FB27-E857-FE90B3511B0B}"/>
          </ac:spMkLst>
        </pc:spChg>
        <pc:spChg chg="del">
          <ac:chgData name="Annemarija Apine (LV)" userId="546f5c59-3b8d-47fd-b739-a8fadc631053" providerId="ADAL" clId="{34473802-5904-426F-ADDF-0D0D1B44876C}" dt="2024-03-01T14:46:09.381" v="5990" actId="478"/>
          <ac:spMkLst>
            <pc:docMk/>
            <pc:sldMk cId="1939332489" sldId="936"/>
            <ac:spMk id="29" creationId="{42FA7EA8-D762-11AE-4131-888CA48F2894}"/>
          </ac:spMkLst>
        </pc:spChg>
        <pc:spChg chg="del">
          <ac:chgData name="Annemarija Apine (LV)" userId="546f5c59-3b8d-47fd-b739-a8fadc631053" providerId="ADAL" clId="{34473802-5904-426F-ADDF-0D0D1B44876C}" dt="2024-03-01T14:46:09.381" v="5990" actId="478"/>
          <ac:spMkLst>
            <pc:docMk/>
            <pc:sldMk cId="1939332489" sldId="936"/>
            <ac:spMk id="30" creationId="{EC7F10C8-AA0B-EE40-2DBC-EE94DB6D204B}"/>
          </ac:spMkLst>
        </pc:spChg>
        <pc:spChg chg="del">
          <ac:chgData name="Annemarija Apine (LV)" userId="546f5c59-3b8d-47fd-b739-a8fadc631053" providerId="ADAL" clId="{34473802-5904-426F-ADDF-0D0D1B44876C}" dt="2024-03-01T14:46:09.381" v="5990" actId="478"/>
          <ac:spMkLst>
            <pc:docMk/>
            <pc:sldMk cId="1939332489" sldId="936"/>
            <ac:spMk id="31" creationId="{3ED63378-9AD4-6F7B-AA83-0757250B3655}"/>
          </ac:spMkLst>
        </pc:spChg>
        <pc:spChg chg="del">
          <ac:chgData name="Annemarija Apine (LV)" userId="546f5c59-3b8d-47fd-b739-a8fadc631053" providerId="ADAL" clId="{34473802-5904-426F-ADDF-0D0D1B44876C}" dt="2024-03-01T14:46:09.381" v="5990" actId="478"/>
          <ac:spMkLst>
            <pc:docMk/>
            <pc:sldMk cId="1939332489" sldId="936"/>
            <ac:spMk id="32" creationId="{368867CA-1A92-D7C5-1747-4DA72A1913A3}"/>
          </ac:spMkLst>
        </pc:spChg>
        <pc:spChg chg="del">
          <ac:chgData name="Annemarija Apine (LV)" userId="546f5c59-3b8d-47fd-b739-a8fadc631053" providerId="ADAL" clId="{34473802-5904-426F-ADDF-0D0D1B44876C}" dt="2024-03-01T14:46:09.381" v="5990" actId="478"/>
          <ac:spMkLst>
            <pc:docMk/>
            <pc:sldMk cId="1939332489" sldId="936"/>
            <ac:spMk id="33" creationId="{C4D43AE7-C8F7-08A9-8215-1FA9C3039CB2}"/>
          </ac:spMkLst>
        </pc:spChg>
        <pc:spChg chg="del">
          <ac:chgData name="Annemarija Apine (LV)" userId="546f5c59-3b8d-47fd-b739-a8fadc631053" providerId="ADAL" clId="{34473802-5904-426F-ADDF-0D0D1B44876C}" dt="2024-03-01T14:46:09.381" v="5990" actId="478"/>
          <ac:spMkLst>
            <pc:docMk/>
            <pc:sldMk cId="1939332489" sldId="936"/>
            <ac:spMk id="34" creationId="{A44E1DFA-63E7-6696-A512-35660567BC8E}"/>
          </ac:spMkLst>
        </pc:spChg>
        <pc:spChg chg="del">
          <ac:chgData name="Annemarija Apine (LV)" userId="546f5c59-3b8d-47fd-b739-a8fadc631053" providerId="ADAL" clId="{34473802-5904-426F-ADDF-0D0D1B44876C}" dt="2024-03-01T14:46:09.381" v="5990" actId="478"/>
          <ac:spMkLst>
            <pc:docMk/>
            <pc:sldMk cId="1939332489" sldId="936"/>
            <ac:spMk id="35" creationId="{0E3889E8-6CBA-B9D9-B3CF-37BF7D2AD588}"/>
          </ac:spMkLst>
        </pc:spChg>
        <pc:spChg chg="del">
          <ac:chgData name="Annemarija Apine (LV)" userId="546f5c59-3b8d-47fd-b739-a8fadc631053" providerId="ADAL" clId="{34473802-5904-426F-ADDF-0D0D1B44876C}" dt="2024-03-01T14:46:09.381" v="5990" actId="478"/>
          <ac:spMkLst>
            <pc:docMk/>
            <pc:sldMk cId="1939332489" sldId="936"/>
            <ac:spMk id="36" creationId="{1AE54009-C4AA-42A0-6C3E-5B591C01E340}"/>
          </ac:spMkLst>
        </pc:spChg>
        <pc:spChg chg="del">
          <ac:chgData name="Annemarija Apine (LV)" userId="546f5c59-3b8d-47fd-b739-a8fadc631053" providerId="ADAL" clId="{34473802-5904-426F-ADDF-0D0D1B44876C}" dt="2024-03-01T14:46:09.381" v="5990" actId="478"/>
          <ac:spMkLst>
            <pc:docMk/>
            <pc:sldMk cId="1939332489" sldId="936"/>
            <ac:spMk id="37" creationId="{E0CFB0A4-DBFE-D718-60F7-B518BBA84C50}"/>
          </ac:spMkLst>
        </pc:spChg>
        <pc:spChg chg="del">
          <ac:chgData name="Annemarija Apine (LV)" userId="546f5c59-3b8d-47fd-b739-a8fadc631053" providerId="ADAL" clId="{34473802-5904-426F-ADDF-0D0D1B44876C}" dt="2024-03-01T14:46:09.381" v="5990" actId="478"/>
          <ac:spMkLst>
            <pc:docMk/>
            <pc:sldMk cId="1939332489" sldId="936"/>
            <ac:spMk id="47" creationId="{BFB5D4D5-E118-6D3B-1F42-9A2DB96589BB}"/>
          </ac:spMkLst>
        </pc:spChg>
        <pc:spChg chg="del">
          <ac:chgData name="Annemarija Apine (LV)" userId="546f5c59-3b8d-47fd-b739-a8fadc631053" providerId="ADAL" clId="{34473802-5904-426F-ADDF-0D0D1B44876C}" dt="2024-03-01T14:46:09.381" v="5990" actId="478"/>
          <ac:spMkLst>
            <pc:docMk/>
            <pc:sldMk cId="1939332489" sldId="936"/>
            <ac:spMk id="49" creationId="{CBA276DE-FC82-7DC9-C0DE-E912A56FECAA}"/>
          </ac:spMkLst>
        </pc:spChg>
        <pc:spChg chg="del">
          <ac:chgData name="Annemarija Apine (LV)" userId="546f5c59-3b8d-47fd-b739-a8fadc631053" providerId="ADAL" clId="{34473802-5904-426F-ADDF-0D0D1B44876C}" dt="2024-03-01T14:46:09.381" v="5990" actId="478"/>
          <ac:spMkLst>
            <pc:docMk/>
            <pc:sldMk cId="1939332489" sldId="936"/>
            <ac:spMk id="50" creationId="{2AAD1ED9-717D-5C71-0350-C325B79C9D61}"/>
          </ac:spMkLst>
        </pc:spChg>
        <pc:spChg chg="del">
          <ac:chgData name="Annemarija Apine (LV)" userId="546f5c59-3b8d-47fd-b739-a8fadc631053" providerId="ADAL" clId="{34473802-5904-426F-ADDF-0D0D1B44876C}" dt="2024-03-01T14:46:09.381" v="5990" actId="478"/>
          <ac:spMkLst>
            <pc:docMk/>
            <pc:sldMk cId="1939332489" sldId="936"/>
            <ac:spMk id="51" creationId="{C85C2095-DDB1-C189-7E39-FB1EAB5D20D8}"/>
          </ac:spMkLst>
        </pc:spChg>
        <pc:spChg chg="del">
          <ac:chgData name="Annemarija Apine (LV)" userId="546f5c59-3b8d-47fd-b739-a8fadc631053" providerId="ADAL" clId="{34473802-5904-426F-ADDF-0D0D1B44876C}" dt="2024-03-01T14:46:09.381" v="5990" actId="478"/>
          <ac:spMkLst>
            <pc:docMk/>
            <pc:sldMk cId="1939332489" sldId="936"/>
            <ac:spMk id="52" creationId="{0EA929E4-70A4-853F-054A-08FE8E8A7FD9}"/>
          </ac:spMkLst>
        </pc:spChg>
        <pc:spChg chg="del">
          <ac:chgData name="Annemarija Apine (LV)" userId="546f5c59-3b8d-47fd-b739-a8fadc631053" providerId="ADAL" clId="{34473802-5904-426F-ADDF-0D0D1B44876C}" dt="2024-03-01T14:46:09.381" v="5990" actId="478"/>
          <ac:spMkLst>
            <pc:docMk/>
            <pc:sldMk cId="1939332489" sldId="936"/>
            <ac:spMk id="53" creationId="{18815909-39A8-057A-E892-017B041D3041}"/>
          </ac:spMkLst>
        </pc:spChg>
        <pc:spChg chg="del">
          <ac:chgData name="Annemarija Apine (LV)" userId="546f5c59-3b8d-47fd-b739-a8fadc631053" providerId="ADAL" clId="{34473802-5904-426F-ADDF-0D0D1B44876C}" dt="2024-03-01T14:46:09.381" v="5990" actId="478"/>
          <ac:spMkLst>
            <pc:docMk/>
            <pc:sldMk cId="1939332489" sldId="936"/>
            <ac:spMk id="54" creationId="{4742A4B9-ADF3-C3D5-A7C3-0EF2BC771ED8}"/>
          </ac:spMkLst>
        </pc:spChg>
        <pc:spChg chg="del">
          <ac:chgData name="Annemarija Apine (LV)" userId="546f5c59-3b8d-47fd-b739-a8fadc631053" providerId="ADAL" clId="{34473802-5904-426F-ADDF-0D0D1B44876C}" dt="2024-03-01T14:46:09.381" v="5990" actId="478"/>
          <ac:spMkLst>
            <pc:docMk/>
            <pc:sldMk cId="1939332489" sldId="936"/>
            <ac:spMk id="55" creationId="{366B0B67-EE35-2B7F-8A32-63885B0BAF18}"/>
          </ac:spMkLst>
        </pc:spChg>
        <pc:spChg chg="del">
          <ac:chgData name="Annemarija Apine (LV)" userId="546f5c59-3b8d-47fd-b739-a8fadc631053" providerId="ADAL" clId="{34473802-5904-426F-ADDF-0D0D1B44876C}" dt="2024-03-01T14:46:09.381" v="5990" actId="478"/>
          <ac:spMkLst>
            <pc:docMk/>
            <pc:sldMk cId="1939332489" sldId="936"/>
            <ac:spMk id="56" creationId="{3EB4BEBD-8A82-553F-3D2B-78822FBDB433}"/>
          </ac:spMkLst>
        </pc:spChg>
        <pc:spChg chg="del">
          <ac:chgData name="Annemarija Apine (LV)" userId="546f5c59-3b8d-47fd-b739-a8fadc631053" providerId="ADAL" clId="{34473802-5904-426F-ADDF-0D0D1B44876C}" dt="2024-03-01T14:46:09.381" v="5990" actId="478"/>
          <ac:spMkLst>
            <pc:docMk/>
            <pc:sldMk cId="1939332489" sldId="936"/>
            <ac:spMk id="57" creationId="{5624AA1C-D03F-87D7-BB7D-86AB8398DA97}"/>
          </ac:spMkLst>
        </pc:spChg>
        <pc:spChg chg="del">
          <ac:chgData name="Annemarija Apine (LV)" userId="546f5c59-3b8d-47fd-b739-a8fadc631053" providerId="ADAL" clId="{34473802-5904-426F-ADDF-0D0D1B44876C}" dt="2024-03-01T14:46:09.381" v="5990" actId="478"/>
          <ac:spMkLst>
            <pc:docMk/>
            <pc:sldMk cId="1939332489" sldId="936"/>
            <ac:spMk id="58" creationId="{CF3A810F-BF24-BFF9-4540-5B519710E40B}"/>
          </ac:spMkLst>
        </pc:spChg>
        <pc:spChg chg="del">
          <ac:chgData name="Annemarija Apine (LV)" userId="546f5c59-3b8d-47fd-b739-a8fadc631053" providerId="ADAL" clId="{34473802-5904-426F-ADDF-0D0D1B44876C}" dt="2024-03-01T14:46:09.381" v="5990" actId="478"/>
          <ac:spMkLst>
            <pc:docMk/>
            <pc:sldMk cId="1939332489" sldId="936"/>
            <ac:spMk id="59" creationId="{715ED03C-D3A9-521E-7134-1FACE564F40F}"/>
          </ac:spMkLst>
        </pc:spChg>
        <pc:spChg chg="del">
          <ac:chgData name="Annemarija Apine (LV)" userId="546f5c59-3b8d-47fd-b739-a8fadc631053" providerId="ADAL" clId="{34473802-5904-426F-ADDF-0D0D1B44876C}" dt="2024-03-01T14:46:09.381" v="5990" actId="478"/>
          <ac:spMkLst>
            <pc:docMk/>
            <pc:sldMk cId="1939332489" sldId="936"/>
            <ac:spMk id="62" creationId="{05D1587F-2220-61CF-C510-7EBB4EE50944}"/>
          </ac:spMkLst>
        </pc:spChg>
        <pc:cxnChg chg="add del mod">
          <ac:chgData name="Annemarija Apine (LV)" userId="546f5c59-3b8d-47fd-b739-a8fadc631053" providerId="ADAL" clId="{34473802-5904-426F-ADDF-0D0D1B44876C}" dt="2024-03-01T14:46:45.164" v="6001" actId="478"/>
          <ac:cxnSpMkLst>
            <pc:docMk/>
            <pc:sldMk cId="1939332489" sldId="936"/>
            <ac:cxnSpMk id="7" creationId="{1E09BDC4-C1AF-F9BF-4924-12E08DC5B79D}"/>
          </ac:cxnSpMkLst>
        </pc:cxnChg>
        <pc:cxnChg chg="del">
          <ac:chgData name="Annemarija Apine (LV)" userId="546f5c59-3b8d-47fd-b739-a8fadc631053" providerId="ADAL" clId="{34473802-5904-426F-ADDF-0D0D1B44876C}" dt="2024-03-01T14:46:09.381" v="5990" actId="478"/>
          <ac:cxnSpMkLst>
            <pc:docMk/>
            <pc:sldMk cId="1939332489" sldId="936"/>
            <ac:cxnSpMk id="38" creationId="{6C076618-B972-83FA-E91E-661AF9666BAC}"/>
          </ac:cxnSpMkLst>
        </pc:cxnChg>
        <pc:cxnChg chg="del">
          <ac:chgData name="Annemarija Apine (LV)" userId="546f5c59-3b8d-47fd-b739-a8fadc631053" providerId="ADAL" clId="{34473802-5904-426F-ADDF-0D0D1B44876C}" dt="2024-03-01T14:46:09.381" v="5990" actId="478"/>
          <ac:cxnSpMkLst>
            <pc:docMk/>
            <pc:sldMk cId="1939332489" sldId="936"/>
            <ac:cxnSpMk id="39" creationId="{AACFD71A-79C6-7413-5A81-A4AFD0F2E441}"/>
          </ac:cxnSpMkLst>
        </pc:cxnChg>
        <pc:cxnChg chg="del">
          <ac:chgData name="Annemarija Apine (LV)" userId="546f5c59-3b8d-47fd-b739-a8fadc631053" providerId="ADAL" clId="{34473802-5904-426F-ADDF-0D0D1B44876C}" dt="2024-03-01T14:46:09.381" v="5990" actId="478"/>
          <ac:cxnSpMkLst>
            <pc:docMk/>
            <pc:sldMk cId="1939332489" sldId="936"/>
            <ac:cxnSpMk id="40" creationId="{7ECA13E0-FA0D-1066-D038-F5C5F3ECD0DE}"/>
          </ac:cxnSpMkLst>
        </pc:cxnChg>
        <pc:cxnChg chg="del">
          <ac:chgData name="Annemarija Apine (LV)" userId="546f5c59-3b8d-47fd-b739-a8fadc631053" providerId="ADAL" clId="{34473802-5904-426F-ADDF-0D0D1B44876C}" dt="2024-03-01T14:46:09.381" v="5990" actId="478"/>
          <ac:cxnSpMkLst>
            <pc:docMk/>
            <pc:sldMk cId="1939332489" sldId="936"/>
            <ac:cxnSpMk id="41" creationId="{A235ECF1-4D0C-2C8E-6F14-C26295D9BD92}"/>
          </ac:cxnSpMkLst>
        </pc:cxnChg>
        <pc:cxnChg chg="del">
          <ac:chgData name="Annemarija Apine (LV)" userId="546f5c59-3b8d-47fd-b739-a8fadc631053" providerId="ADAL" clId="{34473802-5904-426F-ADDF-0D0D1B44876C}" dt="2024-03-01T14:46:09.381" v="5990" actId="478"/>
          <ac:cxnSpMkLst>
            <pc:docMk/>
            <pc:sldMk cId="1939332489" sldId="936"/>
            <ac:cxnSpMk id="42" creationId="{DBBD5D35-2B1D-A5AD-2FC3-6967356AB8AD}"/>
          </ac:cxnSpMkLst>
        </pc:cxnChg>
        <pc:cxnChg chg="del">
          <ac:chgData name="Annemarija Apine (LV)" userId="546f5c59-3b8d-47fd-b739-a8fadc631053" providerId="ADAL" clId="{34473802-5904-426F-ADDF-0D0D1B44876C}" dt="2024-03-01T14:46:09.381" v="5990" actId="478"/>
          <ac:cxnSpMkLst>
            <pc:docMk/>
            <pc:sldMk cId="1939332489" sldId="936"/>
            <ac:cxnSpMk id="43" creationId="{0FA02750-EEED-1294-ED4F-724A2B8FA344}"/>
          </ac:cxnSpMkLst>
        </pc:cxnChg>
        <pc:cxnChg chg="del">
          <ac:chgData name="Annemarija Apine (LV)" userId="546f5c59-3b8d-47fd-b739-a8fadc631053" providerId="ADAL" clId="{34473802-5904-426F-ADDF-0D0D1B44876C}" dt="2024-03-01T14:46:09.381" v="5990" actId="478"/>
          <ac:cxnSpMkLst>
            <pc:docMk/>
            <pc:sldMk cId="1939332489" sldId="936"/>
            <ac:cxnSpMk id="44" creationId="{9484F603-EFA7-CF51-3E25-A8C107ED1840}"/>
          </ac:cxnSpMkLst>
        </pc:cxnChg>
        <pc:cxnChg chg="del mod">
          <ac:chgData name="Annemarija Apine (LV)" userId="546f5c59-3b8d-47fd-b739-a8fadc631053" providerId="ADAL" clId="{34473802-5904-426F-ADDF-0D0D1B44876C}" dt="2024-03-01T14:46:09.381" v="5990" actId="478"/>
          <ac:cxnSpMkLst>
            <pc:docMk/>
            <pc:sldMk cId="1939332489" sldId="936"/>
            <ac:cxnSpMk id="48" creationId="{8C4D9F7B-7A3D-3318-A201-AF6934836B34}"/>
          </ac:cxnSpMkLst>
        </pc:cxnChg>
        <pc:cxnChg chg="del">
          <ac:chgData name="Annemarija Apine (LV)" userId="546f5c59-3b8d-47fd-b739-a8fadc631053" providerId="ADAL" clId="{34473802-5904-426F-ADDF-0D0D1B44876C}" dt="2024-03-01T14:46:09.381" v="5990" actId="478"/>
          <ac:cxnSpMkLst>
            <pc:docMk/>
            <pc:sldMk cId="1939332489" sldId="936"/>
            <ac:cxnSpMk id="61" creationId="{804E26DD-A68F-F1A2-ED8C-EB65BFE83319}"/>
          </ac:cxnSpMkLst>
        </pc:cxn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4T09:46:15.896" v="8475"/>
              <pc2:cmMkLst xmlns:pc2="http://schemas.microsoft.com/office/powerpoint/2019/9/main/command">
                <pc:docMk/>
                <pc:sldMk cId="1939332489" sldId="936"/>
                <pc2:cmMk id="{F7CBB20B-C670-4C10-BA6C-BE97153D81AD}"/>
              </pc2:cmMkLst>
            </pc226:cmChg>
            <pc226:cmChg xmlns:pc226="http://schemas.microsoft.com/office/powerpoint/2022/06/main/command" chg="add">
              <pc226:chgData name="Annemarija Apine (LV)" userId="546f5c59-3b8d-47fd-b739-a8fadc631053" providerId="ADAL" clId="{34473802-5904-426F-ADDF-0D0D1B44876C}" dt="2024-03-01T14:47:42.166" v="6027"/>
              <pc2:cmMkLst xmlns:pc2="http://schemas.microsoft.com/office/powerpoint/2019/9/main/command">
                <pc:docMk/>
                <pc:sldMk cId="1939332489" sldId="936"/>
                <pc2:cmMk id="{91AA2356-15CD-45EE-93C9-BC368C8EFAFC}"/>
              </pc2:cmMkLst>
            </pc226:cmChg>
          </p:ext>
        </pc:extLst>
      </pc:sldChg>
      <pc:sldChg chg="add del">
        <pc:chgData name="Annemarija Apine (LV)" userId="546f5c59-3b8d-47fd-b739-a8fadc631053" providerId="ADAL" clId="{34473802-5904-426F-ADDF-0D0D1B44876C}" dt="2024-03-01T14:33:31.722" v="5843"/>
        <pc:sldMkLst>
          <pc:docMk/>
          <pc:sldMk cId="3060842437" sldId="936"/>
        </pc:sldMkLst>
      </pc:sldChg>
      <pc:sldChg chg="modSp add del mod ord addCm">
        <pc:chgData name="Annemarija Apine (LV)" userId="546f5c59-3b8d-47fd-b739-a8fadc631053" providerId="ADAL" clId="{34473802-5904-426F-ADDF-0D0D1B44876C}" dt="2024-03-01T14:49:18.375" v="6058" actId="47"/>
        <pc:sldMkLst>
          <pc:docMk/>
          <pc:sldMk cId="461872333" sldId="937"/>
        </pc:sldMkLst>
        <pc:spChg chg="mod">
          <ac:chgData name="Annemarija Apine (LV)" userId="546f5c59-3b8d-47fd-b739-a8fadc631053" providerId="ADAL" clId="{34473802-5904-426F-ADDF-0D0D1B44876C}" dt="2024-03-01T14:48:19.685" v="6044" actId="20577"/>
          <ac:spMkLst>
            <pc:docMk/>
            <pc:sldMk cId="461872333" sldId="937"/>
            <ac:spMk id="3" creationId="{F4CCF02E-F3C4-C376-8F56-61BD85A2E74B}"/>
          </ac:spMkLst>
        </pc:spChg>
        <pc:spChg chg="mod">
          <ac:chgData name="Annemarija Apine (LV)" userId="546f5c59-3b8d-47fd-b739-a8fadc631053" providerId="ADAL" clId="{34473802-5904-426F-ADDF-0D0D1B44876C}" dt="2024-03-01T14:48:54.412" v="6056"/>
          <ac:spMkLst>
            <pc:docMk/>
            <pc:sldMk cId="461872333" sldId="937"/>
            <ac:spMk id="16" creationId="{30819613-CE74-49B6-0807-44FDBB81D466}"/>
          </ac:spMkLst>
        </pc:spChg>
        <pc:spChg chg="mod">
          <ac:chgData name="Annemarija Apine (LV)" userId="546f5c59-3b8d-47fd-b739-a8fadc631053" providerId="ADAL" clId="{34473802-5904-426F-ADDF-0D0D1B44876C}" dt="2024-03-01T14:48:04.171" v="6038"/>
          <ac:spMkLst>
            <pc:docMk/>
            <pc:sldMk cId="461872333" sldId="937"/>
            <ac:spMk id="23" creationId="{F0F92295-EBAE-39D7-7494-D9035179A285}"/>
          </ac:spMkLst>
        </pc:spChg>
        <pc:spChg chg="mod">
          <ac:chgData name="Annemarija Apine (LV)" userId="546f5c59-3b8d-47fd-b739-a8fadc631053" providerId="ADAL" clId="{34473802-5904-426F-ADDF-0D0D1B44876C}" dt="2024-03-01T14:48:28.440" v="6047"/>
          <ac:spMkLst>
            <pc:docMk/>
            <pc:sldMk cId="461872333" sldId="937"/>
            <ac:spMk id="36" creationId="{A8F39C25-781C-A7DA-387A-D92FCABEE1F5}"/>
          </ac:spMkLst>
        </pc:spChg>
        <pc:spChg chg="mod">
          <ac:chgData name="Annemarija Apine (LV)" userId="546f5c59-3b8d-47fd-b739-a8fadc631053" providerId="ADAL" clId="{34473802-5904-426F-ADDF-0D0D1B44876C}" dt="2024-03-01T14:48:33.216" v="6050"/>
          <ac:spMkLst>
            <pc:docMk/>
            <pc:sldMk cId="461872333" sldId="937"/>
            <ac:spMk id="37" creationId="{BD11DB78-D65B-9D3C-EED7-1721F1C9BCF6}"/>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1T14:48:43.535" v="6052"/>
              <pc2:cmMkLst xmlns:pc2="http://schemas.microsoft.com/office/powerpoint/2019/9/main/command">
                <pc:docMk/>
                <pc:sldMk cId="461872333" sldId="937"/>
                <pc2:cmMk id="{63570115-8E50-40D8-9577-4A04E0589EF2}"/>
              </pc2:cmMkLst>
            </pc226:cmChg>
            <pc226:cmChg xmlns:pc226="http://schemas.microsoft.com/office/powerpoint/2022/06/main/command" chg="add">
              <pc226:chgData name="Annemarija Apine (LV)" userId="546f5c59-3b8d-47fd-b739-a8fadc631053" providerId="ADAL" clId="{34473802-5904-426F-ADDF-0D0D1B44876C}" dt="2024-03-01T14:48:38.291" v="6051"/>
              <pc2:cmMkLst xmlns:pc2="http://schemas.microsoft.com/office/powerpoint/2019/9/main/command">
                <pc:docMk/>
                <pc:sldMk cId="461872333" sldId="937"/>
                <pc2:cmMk id="{B02C022E-A40F-4398-AFE7-4628D5E56822}"/>
              </pc2:cmMkLst>
            </pc226:cmChg>
          </p:ext>
        </pc:extLst>
      </pc:sldChg>
      <pc:sldChg chg="add modCm modNotesTx">
        <pc:chgData name="Annemarija Apine (LV)" userId="546f5c59-3b8d-47fd-b739-a8fadc631053" providerId="ADAL" clId="{34473802-5904-426F-ADDF-0D0D1B44876C}" dt="2024-03-04T09:43:25.136" v="8466" actId="113"/>
        <pc:sldMkLst>
          <pc:docMk/>
          <pc:sldMk cId="1263375755" sldId="937"/>
        </pc:sldMkLst>
        <pc:extLst>
          <p:ext xmlns:p="http://schemas.openxmlformats.org/presentationml/2006/main" uri="{D6D511B9-2390-475A-947B-AFAB55BFBCF1}">
            <pc226:cmChg xmlns:pc226="http://schemas.microsoft.com/office/powerpoint/2022/06/main/command" chg="mod">
              <pc226:chgData name="Annemarija Apine (LV)" userId="546f5c59-3b8d-47fd-b739-a8fadc631053" providerId="ADAL" clId="{34473802-5904-426F-ADDF-0D0D1B44876C}" dt="2024-03-01T14:49:38.405" v="6066"/>
              <pc2:cmMkLst xmlns:pc2="http://schemas.microsoft.com/office/powerpoint/2019/9/main/command">
                <pc:docMk/>
                <pc:sldMk cId="1263375755" sldId="937"/>
                <pc2:cmMk id="{B43CF2A4-07EF-486D-ABE3-FCC5F57ABF34}"/>
              </pc2:cmMkLst>
            </pc226:cmChg>
          </p:ext>
        </pc:extLst>
      </pc:sldChg>
      <pc:sldChg chg="modSp add mod modCm modNotesTx">
        <pc:chgData name="Annemarija Apine (LV)" userId="546f5c59-3b8d-47fd-b739-a8fadc631053" providerId="ADAL" clId="{34473802-5904-426F-ADDF-0D0D1B44876C}" dt="2024-03-04T09:47:07.913" v="8500"/>
        <pc:sldMkLst>
          <pc:docMk/>
          <pc:sldMk cId="2976985460" sldId="938"/>
        </pc:sldMkLst>
        <pc:spChg chg="mod">
          <ac:chgData name="Annemarija Apine (LV)" userId="546f5c59-3b8d-47fd-b739-a8fadc631053" providerId="ADAL" clId="{34473802-5904-426F-ADDF-0D0D1B44876C}" dt="2024-03-01T14:51:09.894" v="6159" actId="20577"/>
          <ac:spMkLst>
            <pc:docMk/>
            <pc:sldMk cId="2976985460" sldId="938"/>
            <ac:spMk id="3" creationId="{F4CCF02E-F3C4-C376-8F56-61BD85A2E74B}"/>
          </ac:spMkLst>
        </pc:spChg>
        <pc:spChg chg="mod">
          <ac:chgData name="Annemarija Apine (LV)" userId="546f5c59-3b8d-47fd-b739-a8fadc631053" providerId="ADAL" clId="{34473802-5904-426F-ADDF-0D0D1B44876C}" dt="2024-03-01T14:51:33.532" v="6185" actId="20577"/>
          <ac:spMkLst>
            <pc:docMk/>
            <pc:sldMk cId="2976985460" sldId="938"/>
            <ac:spMk id="11" creationId="{ECEF24F5-E26D-2531-E4A1-337E326AC9CB}"/>
          </ac:spMkLst>
        </pc:spChg>
        <pc:spChg chg="mod">
          <ac:chgData name="Annemarija Apine (LV)" userId="546f5c59-3b8d-47fd-b739-a8fadc631053" providerId="ADAL" clId="{34473802-5904-426F-ADDF-0D0D1B44876C}" dt="2024-03-01T14:51:44.049" v="6190" actId="20577"/>
          <ac:spMkLst>
            <pc:docMk/>
            <pc:sldMk cId="2976985460" sldId="938"/>
            <ac:spMk id="16" creationId="{25A25F16-3DF9-5BEF-8F70-42FAB50A6BCE}"/>
          </ac:spMkLst>
        </pc:spChg>
        <pc:extLst>
          <p:ext xmlns:p="http://schemas.openxmlformats.org/presentationml/2006/main" uri="{D6D511B9-2390-475A-947B-AFAB55BFBCF1}">
            <pc226:cmChg xmlns:pc226="http://schemas.microsoft.com/office/powerpoint/2022/06/main/command" chg="mod">
              <pc226:chgData name="Annemarija Apine (LV)" userId="546f5c59-3b8d-47fd-b739-a8fadc631053" providerId="ADAL" clId="{34473802-5904-426F-ADDF-0D0D1B44876C}" dt="2024-03-01T14:49:50.494" v="6069"/>
              <pc2:cmMkLst xmlns:pc2="http://schemas.microsoft.com/office/powerpoint/2019/9/main/command">
                <pc:docMk/>
                <pc:sldMk cId="2976985460" sldId="938"/>
                <pc2:cmMk id="{E8E3E279-41EF-4EC9-96D4-87274249FA89}"/>
              </pc2:cmMkLst>
            </pc226:cmChg>
          </p:ext>
        </pc:extLst>
      </pc:sldChg>
      <pc:sldChg chg="modSp add mod ord addCm modCm modNotesTx">
        <pc:chgData name="Annemarija Apine (LV)" userId="546f5c59-3b8d-47fd-b739-a8fadc631053" providerId="ADAL" clId="{34473802-5904-426F-ADDF-0D0D1B44876C}" dt="2024-03-04T09:47:02.390" v="8496" actId="20577"/>
        <pc:sldMkLst>
          <pc:docMk/>
          <pc:sldMk cId="558100583" sldId="939"/>
        </pc:sldMkLst>
        <pc:spChg chg="mod">
          <ac:chgData name="Annemarija Apine (LV)" userId="546f5c59-3b8d-47fd-b739-a8fadc631053" providerId="ADAL" clId="{34473802-5904-426F-ADDF-0D0D1B44876C}" dt="2024-03-01T14:52:52.149" v="6270" actId="20577"/>
          <ac:spMkLst>
            <pc:docMk/>
            <pc:sldMk cId="558100583" sldId="939"/>
            <ac:spMk id="3" creationId="{F4CCF02E-F3C4-C376-8F56-61BD85A2E74B}"/>
          </ac:spMkLst>
        </pc:spChg>
        <pc:spChg chg="mod">
          <ac:chgData name="Annemarija Apine (LV)" userId="546f5c59-3b8d-47fd-b739-a8fadc631053" providerId="ADAL" clId="{34473802-5904-426F-ADDF-0D0D1B44876C}" dt="2024-03-01T14:56:19.226" v="6326" actId="20577"/>
          <ac:spMkLst>
            <pc:docMk/>
            <pc:sldMk cId="558100583" sldId="939"/>
            <ac:spMk id="16" creationId="{30819613-CE74-49B6-0807-44FDBB81D466}"/>
          </ac:spMkLst>
        </pc:spChg>
        <pc:spChg chg="mod">
          <ac:chgData name="Annemarija Apine (LV)" userId="546f5c59-3b8d-47fd-b739-a8fadc631053" providerId="ADAL" clId="{34473802-5904-426F-ADDF-0D0D1B44876C}" dt="2024-03-01T14:54:25.126" v="6299" actId="20577"/>
          <ac:spMkLst>
            <pc:docMk/>
            <pc:sldMk cId="558100583" sldId="939"/>
            <ac:spMk id="18" creationId="{E1D4AC8F-0322-E8A8-E509-5AF71473A8F4}"/>
          </ac:spMkLst>
        </pc:spChg>
        <pc:spChg chg="mod">
          <ac:chgData name="Annemarija Apine (LV)" userId="546f5c59-3b8d-47fd-b739-a8fadc631053" providerId="ADAL" clId="{34473802-5904-426F-ADDF-0D0D1B44876C}" dt="2024-03-01T14:53:50.814" v="6291" actId="5793"/>
          <ac:spMkLst>
            <pc:docMk/>
            <pc:sldMk cId="558100583" sldId="939"/>
            <ac:spMk id="20" creationId="{BCB0856A-D775-E9B2-A22B-A661D9F8D43C}"/>
          </ac:spMkLst>
        </pc:spChg>
        <pc:spChg chg="mod">
          <ac:chgData name="Annemarija Apine (LV)" userId="546f5c59-3b8d-47fd-b739-a8fadc631053" providerId="ADAL" clId="{34473802-5904-426F-ADDF-0D0D1B44876C}" dt="2024-03-01T14:54:45.013" v="6308" actId="20577"/>
          <ac:spMkLst>
            <pc:docMk/>
            <pc:sldMk cId="558100583" sldId="939"/>
            <ac:spMk id="22" creationId="{044C1CE5-09D8-63ED-7E23-4A59A70CC41B}"/>
          </ac:spMkLst>
        </pc:spChg>
        <pc:spChg chg="mod">
          <ac:chgData name="Annemarija Apine (LV)" userId="546f5c59-3b8d-47fd-b739-a8fadc631053" providerId="ADAL" clId="{34473802-5904-426F-ADDF-0D0D1B44876C}" dt="2024-03-01T14:52:24.890" v="6200"/>
          <ac:spMkLst>
            <pc:docMk/>
            <pc:sldMk cId="558100583" sldId="939"/>
            <ac:spMk id="23" creationId="{F0F92295-EBAE-39D7-7494-D9035179A285}"/>
          </ac:spMkLst>
        </pc:spChg>
        <pc:spChg chg="mod">
          <ac:chgData name="Annemarija Apine (LV)" userId="546f5c59-3b8d-47fd-b739-a8fadc631053" providerId="ADAL" clId="{34473802-5904-426F-ADDF-0D0D1B44876C}" dt="2024-03-01T14:52:57.479" v="6273"/>
          <ac:spMkLst>
            <pc:docMk/>
            <pc:sldMk cId="558100583" sldId="939"/>
            <ac:spMk id="36" creationId="{A8F39C25-781C-A7DA-387A-D92FCABEE1F5}"/>
          </ac:spMkLst>
        </pc:spChg>
        <pc:spChg chg="mod">
          <ac:chgData name="Annemarija Apine (LV)" userId="546f5c59-3b8d-47fd-b739-a8fadc631053" providerId="ADAL" clId="{34473802-5904-426F-ADDF-0D0D1B44876C}" dt="2024-03-01T14:53:04.165" v="6276"/>
          <ac:spMkLst>
            <pc:docMk/>
            <pc:sldMk cId="558100583" sldId="939"/>
            <ac:spMk id="37" creationId="{BD11DB78-D65B-9D3C-EED7-1721F1C9BCF6}"/>
          </ac:spMkLst>
        </pc:spChg>
        <pc:extLst>
          <p:ext xmlns:p="http://schemas.openxmlformats.org/presentationml/2006/main" uri="{D6D511B9-2390-475A-947B-AFAB55BFBCF1}">
            <pc226:cmChg xmlns:pc226="http://schemas.microsoft.com/office/powerpoint/2022/06/main/command" chg="add mod">
              <pc226:chgData name="Annemarija Apine (LV)" userId="546f5c59-3b8d-47fd-b739-a8fadc631053" providerId="ADAL" clId="{34473802-5904-426F-ADDF-0D0D1B44876C}" dt="2024-03-04T09:46:52.224" v="8480"/>
              <pc2:cmMkLst xmlns:pc2="http://schemas.microsoft.com/office/powerpoint/2019/9/main/command">
                <pc:docMk/>
                <pc:sldMk cId="558100583" sldId="939"/>
                <pc2:cmMk id="{B1F41855-E807-4805-BAAB-9374EF31217B}"/>
              </pc2:cmMkLst>
            </pc226:cmChg>
            <pc226:cmChg xmlns:pc226="http://schemas.microsoft.com/office/powerpoint/2022/06/main/command" chg="add">
              <pc226:chgData name="Annemarija Apine (LV)" userId="546f5c59-3b8d-47fd-b739-a8fadc631053" providerId="ADAL" clId="{34473802-5904-426F-ADDF-0D0D1B44876C}" dt="2024-03-01T14:54:07.711" v="6292"/>
              <pc2:cmMkLst xmlns:pc2="http://schemas.microsoft.com/office/powerpoint/2019/9/main/command">
                <pc:docMk/>
                <pc:sldMk cId="558100583" sldId="939"/>
                <pc2:cmMk id="{A570185F-E994-4EC6-A68A-E2C36FB87FD5}"/>
              </pc2:cmMkLst>
            </pc226:cmChg>
            <pc226:cmChg xmlns:pc226="http://schemas.microsoft.com/office/powerpoint/2022/06/main/command" chg="add">
              <pc226:chgData name="Annemarija Apine (LV)" userId="546f5c59-3b8d-47fd-b739-a8fadc631053" providerId="ADAL" clId="{34473802-5904-426F-ADDF-0D0D1B44876C}" dt="2024-03-01T14:53:11.326" v="6277"/>
              <pc2:cmMkLst xmlns:pc2="http://schemas.microsoft.com/office/powerpoint/2019/9/main/command">
                <pc:docMk/>
                <pc:sldMk cId="558100583" sldId="939"/>
                <pc2:cmMk id="{D899416F-60CC-4A08-8640-9B29D319EBA4}"/>
              </pc2:cmMkLst>
            </pc226:cmChg>
            <pc226:cmChg xmlns:pc226="http://schemas.microsoft.com/office/powerpoint/2022/06/main/command" chg="add">
              <pc226:chgData name="Annemarija Apine (LV)" userId="546f5c59-3b8d-47fd-b739-a8fadc631053" providerId="ADAL" clId="{34473802-5904-426F-ADDF-0D0D1B44876C}" dt="2024-03-01T14:53:16.728" v="6278"/>
              <pc2:cmMkLst xmlns:pc2="http://schemas.microsoft.com/office/powerpoint/2019/9/main/command">
                <pc:docMk/>
                <pc:sldMk cId="558100583" sldId="939"/>
                <pc2:cmMk id="{8E8DDBDA-6933-4C90-9A00-EDFEF31D1A4E}"/>
              </pc2:cmMkLst>
            </pc226:cmChg>
          </p:ext>
        </pc:extLst>
      </pc:sldChg>
      <pc:sldChg chg="delSp modSp add mod addCm delCm modCm modNotesTx">
        <pc:chgData name="Annemarija Apine (LV)" userId="546f5c59-3b8d-47fd-b739-a8fadc631053" providerId="ADAL" clId="{34473802-5904-426F-ADDF-0D0D1B44876C}" dt="2024-03-04T09:47:55.900" v="8522"/>
        <pc:sldMkLst>
          <pc:docMk/>
          <pc:sldMk cId="2169785454" sldId="940"/>
        </pc:sldMkLst>
        <pc:spChg chg="mod">
          <ac:chgData name="Annemarija Apine (LV)" userId="546f5c59-3b8d-47fd-b739-a8fadc631053" providerId="ADAL" clId="{34473802-5904-426F-ADDF-0D0D1B44876C}" dt="2024-03-01T14:57:28.212" v="6351" actId="207"/>
          <ac:spMkLst>
            <pc:docMk/>
            <pc:sldMk cId="2169785454" sldId="940"/>
            <ac:spMk id="16" creationId="{30819613-CE74-49B6-0807-44FDBB81D466}"/>
          </ac:spMkLst>
        </pc:spChg>
        <pc:spChg chg="del">
          <ac:chgData name="Annemarija Apine (LV)" userId="546f5c59-3b8d-47fd-b739-a8fadc631053" providerId="ADAL" clId="{34473802-5904-426F-ADDF-0D0D1B44876C}" dt="2024-03-01T14:57:39.308" v="6352" actId="478"/>
          <ac:spMkLst>
            <pc:docMk/>
            <pc:sldMk cId="2169785454" sldId="940"/>
            <ac:spMk id="18" creationId="{E1D4AC8F-0322-E8A8-E509-5AF71473A8F4}"/>
          </ac:spMkLst>
        </pc:spChg>
        <pc:spChg chg="del">
          <ac:chgData name="Annemarija Apine (LV)" userId="546f5c59-3b8d-47fd-b739-a8fadc631053" providerId="ADAL" clId="{34473802-5904-426F-ADDF-0D0D1B44876C}" dt="2024-03-01T14:55:53.976" v="6312" actId="478"/>
          <ac:spMkLst>
            <pc:docMk/>
            <pc:sldMk cId="2169785454" sldId="940"/>
            <ac:spMk id="20" creationId="{BCB0856A-D775-E9B2-A22B-A661D9F8D43C}"/>
          </ac:spMkLst>
        </pc:spChg>
        <pc:spChg chg="del">
          <ac:chgData name="Annemarija Apine (LV)" userId="546f5c59-3b8d-47fd-b739-a8fadc631053" providerId="ADAL" clId="{34473802-5904-426F-ADDF-0D0D1B44876C}" dt="2024-03-01T14:55:53.976" v="6312" actId="478"/>
          <ac:spMkLst>
            <pc:docMk/>
            <pc:sldMk cId="2169785454" sldId="940"/>
            <ac:spMk id="22" creationId="{044C1CE5-09D8-63ED-7E23-4A59A70CC41B}"/>
          </ac:spMkLst>
        </pc:spChg>
        <pc:spChg chg="mod">
          <ac:chgData name="Annemarija Apine (LV)" userId="546f5c59-3b8d-47fd-b739-a8fadc631053" providerId="ADAL" clId="{34473802-5904-426F-ADDF-0D0D1B44876C}" dt="2024-03-01T15:43:13.705" v="6918" actId="14100"/>
          <ac:spMkLst>
            <pc:docMk/>
            <pc:sldMk cId="2169785454" sldId="940"/>
            <ac:spMk id="24" creationId="{6291F660-4399-3100-7AA6-1A96F2BE2FA0}"/>
          </ac:spMkLst>
        </pc:spChg>
        <pc:spChg chg="del">
          <ac:chgData name="Annemarija Apine (LV)" userId="546f5c59-3b8d-47fd-b739-a8fadc631053" providerId="ADAL" clId="{34473802-5904-426F-ADDF-0D0D1B44876C}" dt="2024-03-01T14:57:39.308" v="6352" actId="478"/>
          <ac:spMkLst>
            <pc:docMk/>
            <pc:sldMk cId="2169785454" sldId="940"/>
            <ac:spMk id="25" creationId="{5EF755D9-3B19-3121-7148-7B4F37248EA8}"/>
          </ac:spMkLst>
        </pc:spChg>
        <pc:spChg chg="del">
          <ac:chgData name="Annemarija Apine (LV)" userId="546f5c59-3b8d-47fd-b739-a8fadc631053" providerId="ADAL" clId="{34473802-5904-426F-ADDF-0D0D1B44876C}" dt="2024-03-01T14:57:39.308" v="6352" actId="478"/>
          <ac:spMkLst>
            <pc:docMk/>
            <pc:sldMk cId="2169785454" sldId="940"/>
            <ac:spMk id="27" creationId="{C67C067A-BA44-E473-03E2-74C4CDD50A4F}"/>
          </ac:spMkLst>
        </pc:spChg>
        <pc:spChg chg="del">
          <ac:chgData name="Annemarija Apine (LV)" userId="546f5c59-3b8d-47fd-b739-a8fadc631053" providerId="ADAL" clId="{34473802-5904-426F-ADDF-0D0D1B44876C}" dt="2024-03-01T14:57:39.308" v="6352" actId="478"/>
          <ac:spMkLst>
            <pc:docMk/>
            <pc:sldMk cId="2169785454" sldId="940"/>
            <ac:spMk id="30" creationId="{AD97BBB0-7D2A-0CBE-6249-FB26EF157720}"/>
          </ac:spMkLst>
        </pc:spChg>
        <pc:spChg chg="del">
          <ac:chgData name="Annemarija Apine (LV)" userId="546f5c59-3b8d-47fd-b739-a8fadc631053" providerId="ADAL" clId="{34473802-5904-426F-ADDF-0D0D1B44876C}" dt="2024-03-01T14:57:39.308" v="6352" actId="478"/>
          <ac:spMkLst>
            <pc:docMk/>
            <pc:sldMk cId="2169785454" sldId="940"/>
            <ac:spMk id="31" creationId="{AE1F2CF7-12B2-2C61-02F4-8E90DCAB95C7}"/>
          </ac:spMkLst>
        </pc:spChg>
        <pc:spChg chg="del">
          <ac:chgData name="Annemarija Apine (LV)" userId="546f5c59-3b8d-47fd-b739-a8fadc631053" providerId="ADAL" clId="{34473802-5904-426F-ADDF-0D0D1B44876C}" dt="2024-03-01T14:57:39.308" v="6352" actId="478"/>
          <ac:spMkLst>
            <pc:docMk/>
            <pc:sldMk cId="2169785454" sldId="940"/>
            <ac:spMk id="33" creationId="{F92B9C6C-8C5B-AC82-5DDC-E8DB5ABA08D5}"/>
          </ac:spMkLst>
        </pc:spChg>
        <pc:spChg chg="del">
          <ac:chgData name="Annemarija Apine (LV)" userId="546f5c59-3b8d-47fd-b739-a8fadc631053" providerId="ADAL" clId="{34473802-5904-426F-ADDF-0D0D1B44876C}" dt="2024-03-01T14:55:53.976" v="6312" actId="478"/>
          <ac:spMkLst>
            <pc:docMk/>
            <pc:sldMk cId="2169785454" sldId="940"/>
            <ac:spMk id="34" creationId="{F1D573D1-C07D-A943-A741-380994F48A4F}"/>
          </ac:spMkLst>
        </pc:spChg>
        <pc:spChg chg="mod">
          <ac:chgData name="Annemarija Apine (LV)" userId="546f5c59-3b8d-47fd-b739-a8fadc631053" providerId="ADAL" clId="{34473802-5904-426F-ADDF-0D0D1B44876C}" dt="2024-03-01T15:43:29.117" v="6922" actId="14100"/>
          <ac:spMkLst>
            <pc:docMk/>
            <pc:sldMk cId="2169785454" sldId="940"/>
            <ac:spMk id="35" creationId="{4F177113-0781-5137-1CD7-3B2F5D62C022}"/>
          </ac:spMkLst>
        </pc:spChg>
        <pc:spChg chg="mod">
          <ac:chgData name="Annemarija Apine (LV)" userId="546f5c59-3b8d-47fd-b739-a8fadc631053" providerId="ADAL" clId="{34473802-5904-426F-ADDF-0D0D1B44876C}" dt="2024-03-01T15:43:19.401" v="6920" actId="14100"/>
          <ac:spMkLst>
            <pc:docMk/>
            <pc:sldMk cId="2169785454" sldId="940"/>
            <ac:spMk id="36" creationId="{A8F39C25-781C-A7DA-387A-D92FCABEE1F5}"/>
          </ac:spMkLst>
        </pc:spChg>
        <pc:spChg chg="del">
          <ac:chgData name="Annemarija Apine (LV)" userId="546f5c59-3b8d-47fd-b739-a8fadc631053" providerId="ADAL" clId="{34473802-5904-426F-ADDF-0D0D1B44876C}" dt="2024-03-01T14:55:53.976" v="6312" actId="478"/>
          <ac:spMkLst>
            <pc:docMk/>
            <pc:sldMk cId="2169785454" sldId="940"/>
            <ac:spMk id="37" creationId="{BD11DB78-D65B-9D3C-EED7-1721F1C9BCF6}"/>
          </ac:spMkLst>
        </pc:spChg>
        <pc:spChg chg="mod">
          <ac:chgData name="Annemarija Apine (LV)" userId="546f5c59-3b8d-47fd-b739-a8fadc631053" providerId="ADAL" clId="{34473802-5904-426F-ADDF-0D0D1B44876C}" dt="2024-03-01T15:43:22.710" v="6921" actId="14100"/>
          <ac:spMkLst>
            <pc:docMk/>
            <pc:sldMk cId="2169785454" sldId="940"/>
            <ac:spMk id="38" creationId="{7B1F3CCD-2DE1-C2A8-D340-EAF5B3993679}"/>
          </ac:spMkLst>
        </pc:spChg>
        <pc:spChg chg="del">
          <ac:chgData name="Annemarija Apine (LV)" userId="546f5c59-3b8d-47fd-b739-a8fadc631053" providerId="ADAL" clId="{34473802-5904-426F-ADDF-0D0D1B44876C}" dt="2024-03-01T14:55:53.976" v="6312" actId="478"/>
          <ac:spMkLst>
            <pc:docMk/>
            <pc:sldMk cId="2169785454" sldId="940"/>
            <ac:spMk id="39" creationId="{DCB78F50-A328-CF00-9A1A-F2F677D9CB38}"/>
          </ac:spMkLst>
        </pc:spChg>
        <pc:extLst>
          <p:ext xmlns:p="http://schemas.openxmlformats.org/presentationml/2006/main" uri="{D6D511B9-2390-475A-947B-AFAB55BFBCF1}">
            <pc226:cmChg xmlns:pc226="http://schemas.microsoft.com/office/powerpoint/2022/06/main/command" chg="mod">
              <pc226:chgData name="Annemarija Apine (LV)" userId="546f5c59-3b8d-47fd-b739-a8fadc631053" providerId="ADAL" clId="{34473802-5904-426F-ADDF-0D0D1B44876C}" dt="2024-03-01T14:55:53.976" v="6313" actId="2056"/>
              <pc2:cmMkLst xmlns:pc2="http://schemas.microsoft.com/office/powerpoint/2019/9/main/command">
                <pc:docMk/>
                <pc:sldMk cId="2169785454" sldId="940"/>
                <pc2:cmMk id="{D8D88415-B258-4414-B60D-60263E5E54CC}"/>
              </pc2:cmMkLst>
            </pc226:cmChg>
            <pc226:cmChg xmlns:pc226="http://schemas.microsoft.com/office/powerpoint/2022/06/main/command" chg="del mod">
              <pc226:chgData name="Annemarija Apine (LV)" userId="546f5c59-3b8d-47fd-b739-a8fadc631053" providerId="ADAL" clId="{34473802-5904-426F-ADDF-0D0D1B44876C}" dt="2024-03-01T14:56:54.249" v="6334"/>
              <pc2:cmMkLst xmlns:pc2="http://schemas.microsoft.com/office/powerpoint/2019/9/main/command">
                <pc:docMk/>
                <pc:sldMk cId="2169785454" sldId="940"/>
                <pc2:cmMk id="{BCCDEE57-AEF6-454F-B7D5-2CAD163603F2}"/>
              </pc2:cmMkLst>
            </pc226:cmChg>
            <pc226:cmChg xmlns:pc226="http://schemas.microsoft.com/office/powerpoint/2022/06/main/command" chg="mod">
              <pc226:chgData name="Annemarija Apine (LV)" userId="546f5c59-3b8d-47fd-b739-a8fadc631053" providerId="ADAL" clId="{34473802-5904-426F-ADDF-0D0D1B44876C}" dt="2024-03-01T14:56:51.147" v="6333"/>
              <pc2:cmMkLst xmlns:pc2="http://schemas.microsoft.com/office/powerpoint/2019/9/main/command">
                <pc:docMk/>
                <pc:sldMk cId="2169785454" sldId="940"/>
                <pc2:cmMk id="{B751C4A5-EDBC-4C47-B97D-33448EC4C89E}"/>
              </pc2:cmMkLst>
            </pc226:cmChg>
            <pc226:cmChg xmlns:pc226="http://schemas.microsoft.com/office/powerpoint/2022/06/main/command" chg="add">
              <pc226:chgData name="Annemarija Apine (LV)" userId="546f5c59-3b8d-47fd-b739-a8fadc631053" providerId="ADAL" clId="{34473802-5904-426F-ADDF-0D0D1B44876C}" dt="2024-03-04T09:47:27.852" v="8506"/>
              <pc2:cmMkLst xmlns:pc2="http://schemas.microsoft.com/office/powerpoint/2019/9/main/command">
                <pc:docMk/>
                <pc:sldMk cId="2169785454" sldId="940"/>
                <pc2:cmMk id="{3A4D3BAF-8104-4495-8DE3-4015667E4BE1}"/>
              </pc2:cmMkLst>
            </pc226:cmChg>
          </p:ext>
        </pc:extLst>
      </pc:sldChg>
      <pc:sldChg chg="addSp delSp modSp add mod ord addCm delCm modCm modNotesTx">
        <pc:chgData name="Annemarija Apine (LV)" userId="546f5c59-3b8d-47fd-b739-a8fadc631053" providerId="ADAL" clId="{34473802-5904-426F-ADDF-0D0D1B44876C}" dt="2024-03-11T14:44:45.530" v="10394" actId="20577"/>
        <pc:sldMkLst>
          <pc:docMk/>
          <pc:sldMk cId="4229434319" sldId="941"/>
        </pc:sldMkLst>
        <pc:spChg chg="add mod">
          <ac:chgData name="Annemarija Apine (LV)" userId="546f5c59-3b8d-47fd-b739-a8fadc631053" providerId="ADAL" clId="{34473802-5904-426F-ADDF-0D0D1B44876C}" dt="2024-03-10T23:48:52.353" v="10005"/>
          <ac:spMkLst>
            <pc:docMk/>
            <pc:sldMk cId="4229434319" sldId="941"/>
            <ac:spMk id="2" creationId="{9DF5DEA7-2B62-A714-2DA0-9BA52C8CF43D}"/>
          </ac:spMkLst>
        </pc:spChg>
        <pc:spChg chg="mod">
          <ac:chgData name="Annemarija Apine (LV)" userId="546f5c59-3b8d-47fd-b739-a8fadc631053" providerId="ADAL" clId="{34473802-5904-426F-ADDF-0D0D1B44876C}" dt="2024-03-01T14:58:37.938" v="6432" actId="20577"/>
          <ac:spMkLst>
            <pc:docMk/>
            <pc:sldMk cId="4229434319" sldId="941"/>
            <ac:spMk id="3" creationId="{F4CCF02E-F3C4-C376-8F56-61BD85A2E74B}"/>
          </ac:spMkLst>
        </pc:spChg>
        <pc:spChg chg="mod">
          <ac:chgData name="Annemarija Apine (LV)" userId="546f5c59-3b8d-47fd-b739-a8fadc631053" providerId="ADAL" clId="{34473802-5904-426F-ADDF-0D0D1B44876C}" dt="2024-03-01T15:03:31.328" v="6470" actId="20577"/>
          <ac:spMkLst>
            <pc:docMk/>
            <pc:sldMk cId="4229434319" sldId="941"/>
            <ac:spMk id="16" creationId="{30819613-CE74-49B6-0807-44FDBB81D466}"/>
          </ac:spMkLst>
        </pc:spChg>
        <pc:spChg chg="mod">
          <ac:chgData name="Annemarija Apine (LV)" userId="546f5c59-3b8d-47fd-b739-a8fadc631053" providerId="ADAL" clId="{34473802-5904-426F-ADDF-0D0D1B44876C}" dt="2024-03-01T15:04:03.503" v="6475" actId="20577"/>
          <ac:spMkLst>
            <pc:docMk/>
            <pc:sldMk cId="4229434319" sldId="941"/>
            <ac:spMk id="18" creationId="{E1D4AC8F-0322-E8A8-E509-5AF71473A8F4}"/>
          </ac:spMkLst>
        </pc:spChg>
        <pc:spChg chg="del mod">
          <ac:chgData name="Annemarija Apine (LV)" userId="546f5c59-3b8d-47fd-b739-a8fadc631053" providerId="ADAL" clId="{34473802-5904-426F-ADDF-0D0D1B44876C}" dt="2024-03-01T15:03:49.496" v="6471" actId="478"/>
          <ac:spMkLst>
            <pc:docMk/>
            <pc:sldMk cId="4229434319" sldId="941"/>
            <ac:spMk id="20" creationId="{BCB0856A-D775-E9B2-A22B-A661D9F8D43C}"/>
          </ac:spMkLst>
        </pc:spChg>
        <pc:spChg chg="mod">
          <ac:chgData name="Annemarija Apine (LV)" userId="546f5c59-3b8d-47fd-b739-a8fadc631053" providerId="ADAL" clId="{34473802-5904-426F-ADDF-0D0D1B44876C}" dt="2024-03-11T14:44:45.530" v="10394" actId="20577"/>
          <ac:spMkLst>
            <pc:docMk/>
            <pc:sldMk cId="4229434319" sldId="941"/>
            <ac:spMk id="21" creationId="{47F90413-FED8-5E76-8366-C80AC457EE4C}"/>
          </ac:spMkLst>
        </pc:spChg>
        <pc:spChg chg="del">
          <ac:chgData name="Annemarija Apine (LV)" userId="546f5c59-3b8d-47fd-b739-a8fadc631053" providerId="ADAL" clId="{34473802-5904-426F-ADDF-0D0D1B44876C}" dt="2024-03-01T15:03:49.496" v="6471" actId="478"/>
          <ac:spMkLst>
            <pc:docMk/>
            <pc:sldMk cId="4229434319" sldId="941"/>
            <ac:spMk id="22" creationId="{044C1CE5-09D8-63ED-7E23-4A59A70CC41B}"/>
          </ac:spMkLst>
        </pc:spChg>
        <pc:spChg chg="mod">
          <ac:chgData name="Annemarija Apine (LV)" userId="546f5c59-3b8d-47fd-b739-a8fadc631053" providerId="ADAL" clId="{34473802-5904-426F-ADDF-0D0D1B44876C}" dt="2024-03-01T14:58:17.388" v="6361"/>
          <ac:spMkLst>
            <pc:docMk/>
            <pc:sldMk cId="4229434319" sldId="941"/>
            <ac:spMk id="23" creationId="{F0F92295-EBAE-39D7-7494-D9035179A285}"/>
          </ac:spMkLst>
        </pc:spChg>
        <pc:spChg chg="del">
          <ac:chgData name="Annemarija Apine (LV)" userId="546f5c59-3b8d-47fd-b739-a8fadc631053" providerId="ADAL" clId="{34473802-5904-426F-ADDF-0D0D1B44876C}" dt="2024-03-01T15:03:49.496" v="6471" actId="478"/>
          <ac:spMkLst>
            <pc:docMk/>
            <pc:sldMk cId="4229434319" sldId="941"/>
            <ac:spMk id="34" creationId="{F1D573D1-C07D-A943-A741-380994F48A4F}"/>
          </ac:spMkLst>
        </pc:spChg>
        <pc:spChg chg="mod">
          <ac:chgData name="Annemarija Apine (LV)" userId="546f5c59-3b8d-47fd-b739-a8fadc631053" providerId="ADAL" clId="{34473802-5904-426F-ADDF-0D0D1B44876C}" dt="2024-03-01T15:01:24.368" v="6435"/>
          <ac:spMkLst>
            <pc:docMk/>
            <pc:sldMk cId="4229434319" sldId="941"/>
            <ac:spMk id="36" creationId="{A8F39C25-781C-A7DA-387A-D92FCABEE1F5}"/>
          </ac:spMkLst>
        </pc:spChg>
        <pc:spChg chg="del">
          <ac:chgData name="Annemarija Apine (LV)" userId="546f5c59-3b8d-47fd-b739-a8fadc631053" providerId="ADAL" clId="{34473802-5904-426F-ADDF-0D0D1B44876C}" dt="2024-03-01T15:03:49.496" v="6471" actId="478"/>
          <ac:spMkLst>
            <pc:docMk/>
            <pc:sldMk cId="4229434319" sldId="941"/>
            <ac:spMk id="37" creationId="{BD11DB78-D65B-9D3C-EED7-1721F1C9BCF6}"/>
          </ac:spMkLst>
        </pc:spChg>
        <pc:spChg chg="del">
          <ac:chgData name="Annemarija Apine (LV)" userId="546f5c59-3b8d-47fd-b739-a8fadc631053" providerId="ADAL" clId="{34473802-5904-426F-ADDF-0D0D1B44876C}" dt="2024-03-01T15:03:49.496" v="6471" actId="478"/>
          <ac:spMkLst>
            <pc:docMk/>
            <pc:sldMk cId="4229434319" sldId="941"/>
            <ac:spMk id="39" creationId="{DCB78F50-A328-CF00-9A1A-F2F677D9CB38}"/>
          </ac:spMkLst>
        </pc:s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34473802-5904-426F-ADDF-0D0D1B44876C}" dt="2024-03-01T15:01:27.790" v="6437"/>
              <pc2:cmMkLst xmlns:pc2="http://schemas.microsoft.com/office/powerpoint/2019/9/main/command">
                <pc:docMk/>
                <pc:sldMk cId="4229434319" sldId="941"/>
                <pc2:cmMk id="{2AFAAD05-BFFB-4D2C-8352-7351BE47D473}"/>
              </pc2:cmMkLst>
            </pc226:cmChg>
            <pc226:cmChg xmlns:pc226="http://schemas.microsoft.com/office/powerpoint/2022/06/main/command" chg="del">
              <pc226:chgData name="Annemarija Apine (LV)" userId="546f5c59-3b8d-47fd-b739-a8fadc631053" providerId="ADAL" clId="{34473802-5904-426F-ADDF-0D0D1B44876C}" dt="2024-03-01T15:01:26.617" v="6436"/>
              <pc2:cmMkLst xmlns:pc2="http://schemas.microsoft.com/office/powerpoint/2019/9/main/command">
                <pc:docMk/>
                <pc:sldMk cId="4229434319" sldId="941"/>
                <pc2:cmMk id="{9D169064-B1F3-41F9-A758-1FBD802137C5}"/>
              </pc2:cmMkLst>
            </pc226:cmChg>
            <pc226:cmChg xmlns:pc226="http://schemas.microsoft.com/office/powerpoint/2022/06/main/command" chg="del">
              <pc226:chgData name="Annemarija Apine (LV)" userId="546f5c59-3b8d-47fd-b739-a8fadc631053" providerId="ADAL" clId="{34473802-5904-426F-ADDF-0D0D1B44876C}" dt="2024-03-01T15:01:30.389" v="6438"/>
              <pc2:cmMkLst xmlns:pc2="http://schemas.microsoft.com/office/powerpoint/2019/9/main/command">
                <pc:docMk/>
                <pc:sldMk cId="4229434319" sldId="941"/>
                <pc2:cmMk id="{6155B465-4A83-4371-9162-8DDF1DFCD7A8}"/>
              </pc2:cmMkLst>
            </pc226:cmChg>
            <pc226:cmChg xmlns:pc226="http://schemas.microsoft.com/office/powerpoint/2022/06/main/command" chg="add">
              <pc226:chgData name="Annemarija Apine (LV)" userId="546f5c59-3b8d-47fd-b739-a8fadc631053" providerId="ADAL" clId="{34473802-5904-426F-ADDF-0D0D1B44876C}" dt="2024-03-08T11:59:04.378" v="9021"/>
              <pc2:cmMkLst xmlns:pc2="http://schemas.microsoft.com/office/powerpoint/2019/9/main/command">
                <pc:docMk/>
                <pc:sldMk cId="4229434319" sldId="941"/>
                <pc2:cmMk id="{4B5F507B-5212-4E21-B0C3-C08158A94BED}"/>
              </pc2:cmMkLst>
            </pc226:cmChg>
            <pc226:cmChg xmlns:pc226="http://schemas.microsoft.com/office/powerpoint/2022/06/main/command" chg="del">
              <pc226:chgData name="Annemarija Apine (LV)" userId="546f5c59-3b8d-47fd-b739-a8fadc631053" providerId="ADAL" clId="{34473802-5904-426F-ADDF-0D0D1B44876C}" dt="2024-03-01T15:01:32.219" v="6439"/>
              <pc2:cmMkLst xmlns:pc2="http://schemas.microsoft.com/office/powerpoint/2019/9/main/command">
                <pc:docMk/>
                <pc:sldMk cId="4229434319" sldId="941"/>
                <pc2:cmMk id="{D9A5E5A2-BD0A-44DD-973D-5335C69F824B}"/>
              </pc2:cmMkLst>
            </pc226:cmChg>
            <pc226:cmChg xmlns:pc226="http://schemas.microsoft.com/office/powerpoint/2022/06/main/command" chg="add mod">
              <pc226:chgData name="Annemarija Apine (LV)" userId="546f5c59-3b8d-47fd-b739-a8fadc631053" providerId="ADAL" clId="{34473802-5904-426F-ADDF-0D0D1B44876C}" dt="2024-03-11T14:44:45.530" v="10394" actId="20577"/>
              <pc2:cmMkLst xmlns:pc2="http://schemas.microsoft.com/office/powerpoint/2019/9/main/command">
                <pc:docMk/>
                <pc:sldMk cId="4229434319" sldId="941"/>
                <pc2:cmMk id="{8590AEC1-A34A-45D3-8F8B-CA9F66F14848}"/>
              </pc2:cmMkLst>
            </pc226:cmChg>
            <pc226:cmChg xmlns:pc226="http://schemas.microsoft.com/office/powerpoint/2022/06/main/command" chg="add mod">
              <pc226:chgData name="Annemarija Apine (LV)" userId="546f5c59-3b8d-47fd-b739-a8fadc631053" providerId="ADAL" clId="{34473802-5904-426F-ADDF-0D0D1B44876C}" dt="2024-03-04T09:48:21.722" v="8526"/>
              <pc2:cmMkLst xmlns:pc2="http://schemas.microsoft.com/office/powerpoint/2019/9/main/command">
                <pc:docMk/>
                <pc:sldMk cId="4229434319" sldId="941"/>
                <pc2:cmMk id="{BDB956F7-3AF8-48A2-B57C-3B87C2A3F5EC}"/>
              </pc2:cmMkLst>
              <pc226:cmRplyChg chg="add">
                <pc226:chgData name="Annemarija Apine (LV)" userId="546f5c59-3b8d-47fd-b739-a8fadc631053" providerId="ADAL" clId="{34473802-5904-426F-ADDF-0D0D1B44876C}" dt="2024-03-01T15:12:55.909" v="6592"/>
                <pc2:cmRplyMkLst xmlns:pc2="http://schemas.microsoft.com/office/powerpoint/2019/9/main/command">
                  <pc:docMk/>
                  <pc:sldMk cId="4229434319" sldId="941"/>
                  <pc2:cmMk id="{BDB956F7-3AF8-48A2-B57C-3B87C2A3F5EC}"/>
                  <pc2:cmRplyMk id="{9FF9BC62-5451-4AB9-9BA7-CDEE0F2F9770}"/>
                </pc2:cmRplyMkLst>
              </pc226:cmRplyChg>
            </pc226:cmChg>
            <pc226:cmChg xmlns:pc226="http://schemas.microsoft.com/office/powerpoint/2022/06/main/command" chg="add del">
              <pc226:chgData name="Annemarija Apine (LV)" userId="546f5c59-3b8d-47fd-b739-a8fadc631053" providerId="ADAL" clId="{34473802-5904-426F-ADDF-0D0D1B44876C}" dt="2024-03-04T09:48:10.311" v="8525"/>
              <pc2:cmMkLst xmlns:pc2="http://schemas.microsoft.com/office/powerpoint/2019/9/main/command">
                <pc:docMk/>
                <pc:sldMk cId="4229434319" sldId="941"/>
                <pc2:cmMk id="{55754AFE-D500-4680-8539-23E02B9A5E31}"/>
              </pc2:cmMkLst>
            </pc226:cmChg>
          </p:ext>
        </pc:extLst>
      </pc:sldChg>
      <pc:sldChg chg="add del">
        <pc:chgData name="Annemarija Apine (LV)" userId="546f5c59-3b8d-47fd-b739-a8fadc631053" providerId="ADAL" clId="{34473802-5904-426F-ADDF-0D0D1B44876C}" dt="2024-03-01T15:05:23.955" v="6480" actId="47"/>
        <pc:sldMkLst>
          <pc:docMk/>
          <pc:sldMk cId="98990175" sldId="942"/>
        </pc:sldMkLst>
      </pc:sldChg>
      <pc:sldChg chg="addSp delSp modSp add mod ord addCm delCm modCm modNotesTx">
        <pc:chgData name="Annemarija Apine (LV)" userId="546f5c59-3b8d-47fd-b739-a8fadc631053" providerId="ADAL" clId="{34473802-5904-426F-ADDF-0D0D1B44876C}" dt="2024-03-04T09:48:40.200" v="8529"/>
        <pc:sldMkLst>
          <pc:docMk/>
          <pc:sldMk cId="3615584869" sldId="942"/>
        </pc:sldMkLst>
        <pc:spChg chg="mod">
          <ac:chgData name="Annemarija Apine (LV)" userId="546f5c59-3b8d-47fd-b739-a8fadc631053" providerId="ADAL" clId="{34473802-5904-426F-ADDF-0D0D1B44876C}" dt="2024-03-01T15:05:41.961" v="6492"/>
          <ac:spMkLst>
            <pc:docMk/>
            <pc:sldMk cId="3615584869" sldId="942"/>
            <ac:spMk id="3" creationId="{F4CCF02E-F3C4-C376-8F56-61BD85A2E74B}"/>
          </ac:spMkLst>
        </pc:spChg>
        <pc:spChg chg="add mod ord">
          <ac:chgData name="Annemarija Apine (LV)" userId="546f5c59-3b8d-47fd-b739-a8fadc631053" providerId="ADAL" clId="{34473802-5904-426F-ADDF-0D0D1B44876C}" dt="2024-03-01T15:09:36.422" v="6561" actId="1036"/>
          <ac:spMkLst>
            <pc:docMk/>
            <pc:sldMk cId="3615584869" sldId="942"/>
            <ac:spMk id="5" creationId="{729A689A-717A-CEB0-A1F7-C7FBD27BC821}"/>
          </ac:spMkLst>
        </pc:spChg>
        <pc:spChg chg="add mod ord">
          <ac:chgData name="Annemarija Apine (LV)" userId="546f5c59-3b8d-47fd-b739-a8fadc631053" providerId="ADAL" clId="{34473802-5904-426F-ADDF-0D0D1B44876C}" dt="2024-03-01T15:09:36.422" v="6561" actId="1036"/>
          <ac:spMkLst>
            <pc:docMk/>
            <pc:sldMk cId="3615584869" sldId="942"/>
            <ac:spMk id="6" creationId="{9FCB5464-71C0-8D26-F8EA-D639E3AD3942}"/>
          </ac:spMkLst>
        </pc:spChg>
        <pc:spChg chg="add mod ord">
          <ac:chgData name="Annemarija Apine (LV)" userId="546f5c59-3b8d-47fd-b739-a8fadc631053" providerId="ADAL" clId="{34473802-5904-426F-ADDF-0D0D1B44876C}" dt="2024-03-01T15:09:36.422" v="6561" actId="1036"/>
          <ac:spMkLst>
            <pc:docMk/>
            <pc:sldMk cId="3615584869" sldId="942"/>
            <ac:spMk id="7" creationId="{131CF737-7F8A-F69F-9074-8E1795165146}"/>
          </ac:spMkLst>
        </pc:spChg>
        <pc:spChg chg="add mod ord">
          <ac:chgData name="Annemarija Apine (LV)" userId="546f5c59-3b8d-47fd-b739-a8fadc631053" providerId="ADAL" clId="{34473802-5904-426F-ADDF-0D0D1B44876C}" dt="2024-03-01T15:09:36.422" v="6561" actId="1036"/>
          <ac:spMkLst>
            <pc:docMk/>
            <pc:sldMk cId="3615584869" sldId="942"/>
            <ac:spMk id="8" creationId="{DE394745-7D20-7CFE-FA0E-311E6546C320}"/>
          </ac:spMkLst>
        </pc:spChg>
        <pc:spChg chg="add mod ord">
          <ac:chgData name="Annemarija Apine (LV)" userId="546f5c59-3b8d-47fd-b739-a8fadc631053" providerId="ADAL" clId="{34473802-5904-426F-ADDF-0D0D1B44876C}" dt="2024-03-01T15:09:36.422" v="6561" actId="1036"/>
          <ac:spMkLst>
            <pc:docMk/>
            <pc:sldMk cId="3615584869" sldId="942"/>
            <ac:spMk id="10" creationId="{CEB10E6B-E2C2-E173-D397-F7696E76B2B3}"/>
          </ac:spMkLst>
        </pc:spChg>
        <pc:spChg chg="add mod">
          <ac:chgData name="Annemarija Apine (LV)" userId="546f5c59-3b8d-47fd-b739-a8fadc631053" providerId="ADAL" clId="{34473802-5904-426F-ADDF-0D0D1B44876C}" dt="2024-03-01T15:09:32.279" v="6553" actId="1076"/>
          <ac:spMkLst>
            <pc:docMk/>
            <pc:sldMk cId="3615584869" sldId="942"/>
            <ac:spMk id="11" creationId="{67F9DE6C-0200-93AD-A9AC-A39DC86C8387}"/>
          </ac:spMkLst>
        </pc:spChg>
        <pc:spChg chg="add mod">
          <ac:chgData name="Annemarija Apine (LV)" userId="546f5c59-3b8d-47fd-b739-a8fadc631053" providerId="ADAL" clId="{34473802-5904-426F-ADDF-0D0D1B44876C}" dt="2024-03-01T15:10:01.584" v="6570"/>
          <ac:spMkLst>
            <pc:docMk/>
            <pc:sldMk cId="3615584869" sldId="942"/>
            <ac:spMk id="12" creationId="{BCD23311-41AD-9807-EF29-568FF837616E}"/>
          </ac:spMkLst>
        </pc:spChg>
        <pc:spChg chg="add mod">
          <ac:chgData name="Annemarija Apine (LV)" userId="546f5c59-3b8d-47fd-b739-a8fadc631053" providerId="ADAL" clId="{34473802-5904-426F-ADDF-0D0D1B44876C}" dt="2024-03-01T15:09:32.279" v="6553" actId="1076"/>
          <ac:spMkLst>
            <pc:docMk/>
            <pc:sldMk cId="3615584869" sldId="942"/>
            <ac:spMk id="13" creationId="{71ED36E5-E465-D1F1-1E45-A8813A4B5D7F}"/>
          </ac:spMkLst>
        </pc:spChg>
        <pc:spChg chg="add mod">
          <ac:chgData name="Annemarija Apine (LV)" userId="546f5c59-3b8d-47fd-b739-a8fadc631053" providerId="ADAL" clId="{34473802-5904-426F-ADDF-0D0D1B44876C}" dt="2024-03-01T15:10:02.090" v="6571"/>
          <ac:spMkLst>
            <pc:docMk/>
            <pc:sldMk cId="3615584869" sldId="942"/>
            <ac:spMk id="14" creationId="{259DB89D-0663-813E-2C04-0B4D674C635D}"/>
          </ac:spMkLst>
        </pc:spChg>
        <pc:spChg chg="add mod">
          <ac:chgData name="Annemarija Apine (LV)" userId="546f5c59-3b8d-47fd-b739-a8fadc631053" providerId="ADAL" clId="{34473802-5904-426F-ADDF-0D0D1B44876C}" dt="2024-03-01T15:10:07.015" v="6576" actId="20577"/>
          <ac:spMkLst>
            <pc:docMk/>
            <pc:sldMk cId="3615584869" sldId="942"/>
            <ac:spMk id="15" creationId="{CD0345AC-E5CC-E9A5-9519-EA39D36AEABB}"/>
          </ac:spMkLst>
        </pc:spChg>
        <pc:spChg chg="mod">
          <ac:chgData name="Annemarija Apine (LV)" userId="546f5c59-3b8d-47fd-b739-a8fadc631053" providerId="ADAL" clId="{34473802-5904-426F-ADDF-0D0D1B44876C}" dt="2024-03-01T15:08:09.761" v="6532" actId="1076"/>
          <ac:spMkLst>
            <pc:docMk/>
            <pc:sldMk cId="3615584869" sldId="942"/>
            <ac:spMk id="16" creationId="{30819613-CE74-49B6-0807-44FDBB81D466}"/>
          </ac:spMkLst>
        </pc:spChg>
        <pc:spChg chg="mod">
          <ac:chgData name="Annemarija Apine (LV)" userId="546f5c59-3b8d-47fd-b739-a8fadc631053" providerId="ADAL" clId="{34473802-5904-426F-ADDF-0D0D1B44876C}" dt="2024-03-01T15:07:23.155" v="6523" actId="14100"/>
          <ac:spMkLst>
            <pc:docMk/>
            <pc:sldMk cId="3615584869" sldId="942"/>
            <ac:spMk id="18" creationId="{E1D4AC8F-0322-E8A8-E509-5AF71473A8F4}"/>
          </ac:spMkLst>
        </pc:spChg>
        <pc:spChg chg="del">
          <ac:chgData name="Annemarija Apine (LV)" userId="546f5c59-3b8d-47fd-b739-a8fadc631053" providerId="ADAL" clId="{34473802-5904-426F-ADDF-0D0D1B44876C}" dt="2024-03-01T15:07:27.517" v="6524" actId="478"/>
          <ac:spMkLst>
            <pc:docMk/>
            <pc:sldMk cId="3615584869" sldId="942"/>
            <ac:spMk id="20" creationId="{BCB0856A-D775-E9B2-A22B-A661D9F8D43C}"/>
          </ac:spMkLst>
        </pc:spChg>
        <pc:spChg chg="del">
          <ac:chgData name="Annemarija Apine (LV)" userId="546f5c59-3b8d-47fd-b739-a8fadc631053" providerId="ADAL" clId="{34473802-5904-426F-ADDF-0D0D1B44876C}" dt="2024-03-01T15:07:27.517" v="6524" actId="478"/>
          <ac:spMkLst>
            <pc:docMk/>
            <pc:sldMk cId="3615584869" sldId="942"/>
            <ac:spMk id="22" creationId="{044C1CE5-09D8-63ED-7E23-4A59A70CC41B}"/>
          </ac:spMkLst>
        </pc:spChg>
        <pc:spChg chg="mod">
          <ac:chgData name="Annemarija Apine (LV)" userId="546f5c59-3b8d-47fd-b739-a8fadc631053" providerId="ADAL" clId="{34473802-5904-426F-ADDF-0D0D1B44876C}" dt="2024-03-01T15:05:38.178" v="6489"/>
          <ac:spMkLst>
            <pc:docMk/>
            <pc:sldMk cId="3615584869" sldId="942"/>
            <ac:spMk id="23" creationId="{F0F92295-EBAE-39D7-7494-D9035179A285}"/>
          </ac:spMkLst>
        </pc:spChg>
        <pc:spChg chg="del">
          <ac:chgData name="Annemarija Apine (LV)" userId="546f5c59-3b8d-47fd-b739-a8fadc631053" providerId="ADAL" clId="{34473802-5904-426F-ADDF-0D0D1B44876C}" dt="2024-03-01T15:07:27.517" v="6524" actId="478"/>
          <ac:spMkLst>
            <pc:docMk/>
            <pc:sldMk cId="3615584869" sldId="942"/>
            <ac:spMk id="34" creationId="{F1D573D1-C07D-A943-A741-380994F48A4F}"/>
          </ac:spMkLst>
        </pc:spChg>
        <pc:spChg chg="mod">
          <ac:chgData name="Annemarija Apine (LV)" userId="546f5c59-3b8d-47fd-b739-a8fadc631053" providerId="ADAL" clId="{34473802-5904-426F-ADDF-0D0D1B44876C}" dt="2024-03-01T15:07:23.155" v="6523" actId="14100"/>
          <ac:spMkLst>
            <pc:docMk/>
            <pc:sldMk cId="3615584869" sldId="942"/>
            <ac:spMk id="35" creationId="{4F177113-0781-5137-1CD7-3B2F5D62C022}"/>
          </ac:spMkLst>
        </pc:spChg>
        <pc:spChg chg="mod">
          <ac:chgData name="Annemarija Apine (LV)" userId="546f5c59-3b8d-47fd-b739-a8fadc631053" providerId="ADAL" clId="{34473802-5904-426F-ADDF-0D0D1B44876C}" dt="2024-03-01T15:07:23.155" v="6523" actId="14100"/>
          <ac:spMkLst>
            <pc:docMk/>
            <pc:sldMk cId="3615584869" sldId="942"/>
            <ac:spMk id="36" creationId="{A8F39C25-781C-A7DA-387A-D92FCABEE1F5}"/>
          </ac:spMkLst>
        </pc:spChg>
        <pc:spChg chg="del">
          <ac:chgData name="Annemarija Apine (LV)" userId="546f5c59-3b8d-47fd-b739-a8fadc631053" providerId="ADAL" clId="{34473802-5904-426F-ADDF-0D0D1B44876C}" dt="2024-03-01T15:07:27.517" v="6524" actId="478"/>
          <ac:spMkLst>
            <pc:docMk/>
            <pc:sldMk cId="3615584869" sldId="942"/>
            <ac:spMk id="37" creationId="{BD11DB78-D65B-9D3C-EED7-1721F1C9BCF6}"/>
          </ac:spMkLst>
        </pc:spChg>
        <pc:spChg chg="mod">
          <ac:chgData name="Annemarija Apine (LV)" userId="546f5c59-3b8d-47fd-b739-a8fadc631053" providerId="ADAL" clId="{34473802-5904-426F-ADDF-0D0D1B44876C}" dt="2024-03-01T15:07:23.155" v="6523" actId="14100"/>
          <ac:spMkLst>
            <pc:docMk/>
            <pc:sldMk cId="3615584869" sldId="942"/>
            <ac:spMk id="38" creationId="{7B1F3CCD-2DE1-C2A8-D340-EAF5B3993679}"/>
          </ac:spMkLst>
        </pc:spChg>
        <pc:spChg chg="del">
          <ac:chgData name="Annemarija Apine (LV)" userId="546f5c59-3b8d-47fd-b739-a8fadc631053" providerId="ADAL" clId="{34473802-5904-426F-ADDF-0D0D1B44876C}" dt="2024-03-01T15:07:27.517" v="6524" actId="478"/>
          <ac:spMkLst>
            <pc:docMk/>
            <pc:sldMk cId="3615584869" sldId="942"/>
            <ac:spMk id="39" creationId="{DCB78F50-A328-CF00-9A1A-F2F677D9CB38}"/>
          </ac:spMkLst>
        </pc:spChg>
        <pc:extLst>
          <p:ext xmlns:p="http://schemas.openxmlformats.org/presentationml/2006/main" uri="{D6D511B9-2390-475A-947B-AFAB55BFBCF1}">
            <pc226:cmChg xmlns:pc226="http://schemas.microsoft.com/office/powerpoint/2022/06/main/command" chg="del mod">
              <pc226:chgData name="Annemarija Apine (LV)" userId="546f5c59-3b8d-47fd-b739-a8fadc631053" providerId="ADAL" clId="{34473802-5904-426F-ADDF-0D0D1B44876C}" dt="2024-03-01T15:06:35.924" v="6509"/>
              <pc2:cmMkLst xmlns:pc2="http://schemas.microsoft.com/office/powerpoint/2019/9/main/command">
                <pc:docMk/>
                <pc:sldMk cId="3615584869" sldId="942"/>
                <pc2:cmMk id="{3134F20F-1681-4149-880A-E88C70E4FD5B}"/>
              </pc2:cmMkLst>
            </pc226:cmChg>
            <pc226:cmChg xmlns:pc226="http://schemas.microsoft.com/office/powerpoint/2022/06/main/command" chg="del">
              <pc226:chgData name="Annemarija Apine (LV)" userId="546f5c59-3b8d-47fd-b739-a8fadc631053" providerId="ADAL" clId="{34473802-5904-426F-ADDF-0D0D1B44876C}" dt="2024-03-01T15:06:31.794" v="6507"/>
              <pc2:cmMkLst xmlns:pc2="http://schemas.microsoft.com/office/powerpoint/2019/9/main/command">
                <pc:docMk/>
                <pc:sldMk cId="3615584869" sldId="942"/>
                <pc2:cmMk id="{95D95929-8F19-456F-84F1-8C2DE5D8AD99}"/>
              </pc2:cmMkLst>
            </pc226:cmChg>
            <pc226:cmChg xmlns:pc226="http://schemas.microsoft.com/office/powerpoint/2022/06/main/command" chg="mod">
              <pc226:chgData name="Annemarija Apine (LV)" userId="546f5c59-3b8d-47fd-b739-a8fadc631053" providerId="ADAL" clId="{34473802-5904-426F-ADDF-0D0D1B44876C}" dt="2024-03-01T15:09:24.198" v="6551"/>
              <pc2:cmMkLst xmlns:pc2="http://schemas.microsoft.com/office/powerpoint/2019/9/main/command">
                <pc:docMk/>
                <pc:sldMk cId="3615584869" sldId="942"/>
                <pc2:cmMk id="{096D112C-449F-4189-90D1-E6E5D7CBF081}"/>
              </pc2:cmMkLst>
              <pc226:cmRplyChg chg="add">
                <pc226:chgData name="Annemarija Apine (LV)" userId="546f5c59-3b8d-47fd-b739-a8fadc631053" providerId="ADAL" clId="{34473802-5904-426F-ADDF-0D0D1B44876C}" dt="2024-03-01T15:09:24.198" v="6551"/>
                <pc2:cmRplyMkLst xmlns:pc2="http://schemas.microsoft.com/office/powerpoint/2019/9/main/command">
                  <pc:docMk/>
                  <pc:sldMk cId="3615584869" sldId="942"/>
                  <pc2:cmMk id="{096D112C-449F-4189-90D1-E6E5D7CBF081}"/>
                  <pc2:cmRplyMk id="{F9621DAD-56BB-4DB9-A74E-BE3CC5D20361}"/>
                </pc2:cmRplyMkLst>
              </pc226:cmRplyChg>
            </pc226:cmChg>
            <pc226:cmChg xmlns:pc226="http://schemas.microsoft.com/office/powerpoint/2022/06/main/command" chg="del">
              <pc226:chgData name="Annemarija Apine (LV)" userId="546f5c59-3b8d-47fd-b739-a8fadc631053" providerId="ADAL" clId="{34473802-5904-426F-ADDF-0D0D1B44876C}" dt="2024-03-01T15:06:33.691" v="6508"/>
              <pc2:cmMkLst xmlns:pc2="http://schemas.microsoft.com/office/powerpoint/2019/9/main/command">
                <pc:docMk/>
                <pc:sldMk cId="3615584869" sldId="942"/>
                <pc2:cmMk id="{DFFB6158-F66F-40EF-9A12-6B0D7A51FCC5}"/>
              </pc2:cmMkLst>
            </pc226:cmChg>
            <pc226:cmChg xmlns:pc226="http://schemas.microsoft.com/office/powerpoint/2022/06/main/command" chg="add">
              <pc226:chgData name="Annemarija Apine (LV)" userId="546f5c59-3b8d-47fd-b739-a8fadc631053" providerId="ADAL" clId="{34473802-5904-426F-ADDF-0D0D1B44876C}" dt="2024-03-01T15:08:24.216" v="6533"/>
              <pc2:cmMkLst xmlns:pc2="http://schemas.microsoft.com/office/powerpoint/2019/9/main/command">
                <pc:docMk/>
                <pc:sldMk cId="3615584869" sldId="942"/>
                <pc2:cmMk id="{C59F5F95-7CF3-471D-B137-CACBBEBB3858}"/>
              </pc2:cmMkLst>
            </pc226:cmChg>
          </p:ext>
        </pc:extLst>
      </pc:sldChg>
      <pc:sldChg chg="addSp delSp modSp add mod addCm delCm modNotesTx">
        <pc:chgData name="Annemarija Apine (LV)" userId="546f5c59-3b8d-47fd-b739-a8fadc631053" providerId="ADAL" clId="{34473802-5904-426F-ADDF-0D0D1B44876C}" dt="2024-03-10T23:49:16.492" v="10012" actId="1076"/>
        <pc:sldMkLst>
          <pc:docMk/>
          <pc:sldMk cId="256155706" sldId="943"/>
        </pc:sldMkLst>
        <pc:spChg chg="del">
          <ac:chgData name="Annemarija Apine (LV)" userId="546f5c59-3b8d-47fd-b739-a8fadc631053" providerId="ADAL" clId="{34473802-5904-426F-ADDF-0D0D1B44876C}" dt="2024-03-01T15:18:05.621" v="6676" actId="478"/>
          <ac:spMkLst>
            <pc:docMk/>
            <pc:sldMk cId="256155706" sldId="943"/>
            <ac:spMk id="2" creationId="{6CA1ECBA-9098-2617-476E-BB53C42ACEE3}"/>
          </ac:spMkLst>
        </pc:spChg>
        <pc:spChg chg="mod">
          <ac:chgData name="Annemarija Apine (LV)" userId="546f5c59-3b8d-47fd-b739-a8fadc631053" providerId="ADAL" clId="{34473802-5904-426F-ADDF-0D0D1B44876C}" dt="2024-03-01T15:17:33.006" v="6644" actId="20577"/>
          <ac:spMkLst>
            <pc:docMk/>
            <pc:sldMk cId="256155706" sldId="943"/>
            <ac:spMk id="3" creationId="{F4CCF02E-F3C4-C376-8F56-61BD85A2E74B}"/>
          </ac:spMkLst>
        </pc:spChg>
        <pc:spChg chg="ord">
          <ac:chgData name="Annemarija Apine (LV)" userId="546f5c59-3b8d-47fd-b739-a8fadc631053" providerId="ADAL" clId="{34473802-5904-426F-ADDF-0D0D1B44876C}" dt="2024-03-10T23:49:14.640" v="10011" actId="166"/>
          <ac:spMkLst>
            <pc:docMk/>
            <pc:sldMk cId="256155706" sldId="943"/>
            <ac:spMk id="6" creationId="{898887DF-9190-F283-B120-8AE08B7645FA}"/>
          </ac:spMkLst>
        </pc:spChg>
        <pc:spChg chg="add mod">
          <ac:chgData name="Annemarija Apine (LV)" userId="546f5c59-3b8d-47fd-b739-a8fadc631053" providerId="ADAL" clId="{34473802-5904-426F-ADDF-0D0D1B44876C}" dt="2024-03-01T15:18:18.939" v="6680" actId="1076"/>
          <ac:spMkLst>
            <pc:docMk/>
            <pc:sldMk cId="256155706" sldId="943"/>
            <ac:spMk id="8" creationId="{8F84A1C1-A3B2-78F7-2F05-EA937E442831}"/>
          </ac:spMkLst>
        </pc:spChg>
        <pc:spChg chg="mod">
          <ac:chgData name="Annemarija Apine (LV)" userId="546f5c59-3b8d-47fd-b739-a8fadc631053" providerId="ADAL" clId="{34473802-5904-426F-ADDF-0D0D1B44876C}" dt="2024-03-10T23:49:16.492" v="10012" actId="1076"/>
          <ac:spMkLst>
            <pc:docMk/>
            <pc:sldMk cId="256155706" sldId="943"/>
            <ac:spMk id="10" creationId="{164C9440-3E17-A4DC-F886-2B0A9EA3C538}"/>
          </ac:spMkLst>
        </pc:spChg>
        <pc:spChg chg="mod">
          <ac:chgData name="Annemarija Apine (LV)" userId="546f5c59-3b8d-47fd-b739-a8fadc631053" providerId="ADAL" clId="{34473802-5904-426F-ADDF-0D0D1B44876C}" dt="2024-03-01T15:17:04.485" v="6607" actId="20577"/>
          <ac:spMkLst>
            <pc:docMk/>
            <pc:sldMk cId="256155706" sldId="943"/>
            <ac:spMk id="10" creationId="{6F55AA3F-6103-110B-C367-10711AC49356}"/>
          </ac:spMkLst>
        </pc:spChg>
        <pc:spChg chg="del">
          <ac:chgData name="Annemarija Apine (LV)" userId="546f5c59-3b8d-47fd-b739-a8fadc631053" providerId="ADAL" clId="{34473802-5904-426F-ADDF-0D0D1B44876C}" dt="2024-03-01T15:18:05.621" v="6676" actId="478"/>
          <ac:spMkLst>
            <pc:docMk/>
            <pc:sldMk cId="256155706" sldId="943"/>
            <ac:spMk id="17" creationId="{1B3B2816-7084-FA8B-9573-B5304273EF81}"/>
          </ac:spMkLst>
        </pc:spChg>
        <pc:spChg chg="add del">
          <ac:chgData name="Annemarija Apine (LV)" userId="546f5c59-3b8d-47fd-b739-a8fadc631053" providerId="ADAL" clId="{34473802-5904-426F-ADDF-0D0D1B44876C}" dt="2024-03-01T15:18:39.500" v="6695" actId="22"/>
          <ac:spMkLst>
            <pc:docMk/>
            <pc:sldMk cId="256155706" sldId="943"/>
            <ac:spMk id="18" creationId="{0EE0866D-8805-B469-88A3-B2148DB90845}"/>
          </ac:spMkLst>
        </pc:spChg>
        <pc:spChg chg="add mod">
          <ac:chgData name="Annemarija Apine (LV)" userId="546f5c59-3b8d-47fd-b739-a8fadc631053" providerId="ADAL" clId="{34473802-5904-426F-ADDF-0D0D1B44876C}" dt="2024-03-01T15:57:41.480" v="7148" actId="20577"/>
          <ac:spMkLst>
            <pc:docMk/>
            <pc:sldMk cId="256155706" sldId="943"/>
            <ac:spMk id="19" creationId="{6540A5E1-A41A-D662-410E-E26837FEC171}"/>
          </ac:spMkLst>
        </pc:spChg>
        <pc:spChg chg="del">
          <ac:chgData name="Annemarija Apine (LV)" userId="546f5c59-3b8d-47fd-b739-a8fadc631053" providerId="ADAL" clId="{34473802-5904-426F-ADDF-0D0D1B44876C}" dt="2024-03-01T15:18:05.621" v="6676" actId="478"/>
          <ac:spMkLst>
            <pc:docMk/>
            <pc:sldMk cId="256155706" sldId="943"/>
            <ac:spMk id="21" creationId="{78DC1799-6B68-492D-BBE0-D7BECB3D58E6}"/>
          </ac:spMkLst>
        </pc:spChg>
        <pc:spChg chg="del">
          <ac:chgData name="Annemarija Apine (LV)" userId="546f5c59-3b8d-47fd-b739-a8fadc631053" providerId="ADAL" clId="{34473802-5904-426F-ADDF-0D0D1B44876C}" dt="2024-03-01T15:18:05.621" v="6676" actId="478"/>
          <ac:spMkLst>
            <pc:docMk/>
            <pc:sldMk cId="256155706" sldId="943"/>
            <ac:spMk id="23" creationId="{AF01EC8D-5F48-32D6-594A-E45D62E76E38}"/>
          </ac:spMkLst>
        </pc:spChg>
        <pc:spChg chg="mod">
          <ac:chgData name="Annemarija Apine (LV)" userId="546f5c59-3b8d-47fd-b739-a8fadc631053" providerId="ADAL" clId="{34473802-5904-426F-ADDF-0D0D1B44876C}" dt="2024-03-01T15:18:30.517" v="6689" actId="20577"/>
          <ac:spMkLst>
            <pc:docMk/>
            <pc:sldMk cId="256155706" sldId="943"/>
            <ac:spMk id="25" creationId="{2B261BF4-92C6-462D-AA95-793AE54DD688}"/>
          </ac:spMkLst>
        </pc:spChg>
        <pc:spChg chg="del">
          <ac:chgData name="Annemarija Apine (LV)" userId="546f5c59-3b8d-47fd-b739-a8fadc631053" providerId="ADAL" clId="{34473802-5904-426F-ADDF-0D0D1B44876C}" dt="2024-03-01T15:18:05.621" v="6676" actId="478"/>
          <ac:spMkLst>
            <pc:docMk/>
            <pc:sldMk cId="256155706" sldId="943"/>
            <ac:spMk id="36" creationId="{B685A229-84EC-B93B-3F43-6BFE2BE1F4CA}"/>
          </ac:spMkLst>
        </pc:spChg>
        <pc:spChg chg="del">
          <ac:chgData name="Annemarija Apine (LV)" userId="546f5c59-3b8d-47fd-b739-a8fadc631053" providerId="ADAL" clId="{34473802-5904-426F-ADDF-0D0D1B44876C}" dt="2024-03-01T15:18:05.621" v="6676" actId="478"/>
          <ac:spMkLst>
            <pc:docMk/>
            <pc:sldMk cId="256155706" sldId="943"/>
            <ac:spMk id="37" creationId="{9D96FB8A-4DBF-49F0-A6C2-FDA1251682FE}"/>
          </ac:spMkLst>
        </pc:spChg>
        <pc:spChg chg="del">
          <ac:chgData name="Annemarija Apine (LV)" userId="546f5c59-3b8d-47fd-b739-a8fadc631053" providerId="ADAL" clId="{34473802-5904-426F-ADDF-0D0D1B44876C}" dt="2024-03-01T15:18:05.621" v="6676" actId="478"/>
          <ac:spMkLst>
            <pc:docMk/>
            <pc:sldMk cId="256155706" sldId="943"/>
            <ac:spMk id="39" creationId="{E8BDE45B-79CA-CD3A-5214-E24D77B8609C}"/>
          </ac:spMkLst>
        </pc:spChg>
        <pc:spChg chg="del">
          <ac:chgData name="Annemarija Apine (LV)" userId="546f5c59-3b8d-47fd-b739-a8fadc631053" providerId="ADAL" clId="{34473802-5904-426F-ADDF-0D0D1B44876C}" dt="2024-03-01T15:18:05.621" v="6676" actId="478"/>
          <ac:spMkLst>
            <pc:docMk/>
            <pc:sldMk cId="256155706" sldId="943"/>
            <ac:spMk id="40" creationId="{D996275D-295E-F1D0-D67A-44A0A69B4C01}"/>
          </ac:spMkLst>
        </pc:spChg>
        <pc:spChg chg="del">
          <ac:chgData name="Annemarija Apine (LV)" userId="546f5c59-3b8d-47fd-b739-a8fadc631053" providerId="ADAL" clId="{34473802-5904-426F-ADDF-0D0D1B44876C}" dt="2024-03-01T15:18:05.621" v="6676" actId="478"/>
          <ac:spMkLst>
            <pc:docMk/>
            <pc:sldMk cId="256155706" sldId="943"/>
            <ac:spMk id="43" creationId="{45949670-5BCB-C59B-3D24-28AC2A6F87F3}"/>
          </ac:spMkLst>
        </pc:spChg>
        <pc:spChg chg="del">
          <ac:chgData name="Annemarija Apine (LV)" userId="546f5c59-3b8d-47fd-b739-a8fadc631053" providerId="ADAL" clId="{34473802-5904-426F-ADDF-0D0D1B44876C}" dt="2024-03-01T15:18:05.621" v="6676" actId="478"/>
          <ac:spMkLst>
            <pc:docMk/>
            <pc:sldMk cId="256155706" sldId="943"/>
            <ac:spMk id="47" creationId="{53CB8D3C-9648-B17B-BD59-60EED0CCD133}"/>
          </ac:spMkLst>
        </pc:spChg>
        <pc:spChg chg="del">
          <ac:chgData name="Annemarija Apine (LV)" userId="546f5c59-3b8d-47fd-b739-a8fadc631053" providerId="ADAL" clId="{34473802-5904-426F-ADDF-0D0D1B44876C}" dt="2024-03-01T15:18:05.621" v="6676" actId="478"/>
          <ac:spMkLst>
            <pc:docMk/>
            <pc:sldMk cId="256155706" sldId="943"/>
            <ac:spMk id="48" creationId="{9DA2A02A-BBDF-DCC7-18AC-878856D7A5B2}"/>
          </ac:spMkLst>
        </pc:spChg>
        <pc:spChg chg="mod">
          <ac:chgData name="Annemarija Apine (LV)" userId="546f5c59-3b8d-47fd-b739-a8fadc631053" providerId="ADAL" clId="{34473802-5904-426F-ADDF-0D0D1B44876C}" dt="2024-03-01T15:17:58.653" v="6675" actId="20577"/>
          <ac:spMkLst>
            <pc:docMk/>
            <pc:sldMk cId="256155706" sldId="943"/>
            <ac:spMk id="51" creationId="{AFEB1935-0849-FFDB-14A2-768E555E2F79}"/>
          </ac:spMkLst>
        </pc:spChg>
        <pc:spChg chg="del">
          <ac:chgData name="Annemarija Apine (LV)" userId="546f5c59-3b8d-47fd-b739-a8fadc631053" providerId="ADAL" clId="{34473802-5904-426F-ADDF-0D0D1B44876C}" dt="2024-03-01T15:18:05.621" v="6676" actId="478"/>
          <ac:spMkLst>
            <pc:docMk/>
            <pc:sldMk cId="256155706" sldId="943"/>
            <ac:spMk id="61" creationId="{2A14CA01-2350-21C6-16E6-E9CEAF43B441}"/>
          </ac:spMkLst>
        </pc:spChg>
        <pc:spChg chg="del">
          <ac:chgData name="Annemarija Apine (LV)" userId="546f5c59-3b8d-47fd-b739-a8fadc631053" providerId="ADAL" clId="{34473802-5904-426F-ADDF-0D0D1B44876C}" dt="2024-03-01T15:18:05.621" v="6676" actId="478"/>
          <ac:spMkLst>
            <pc:docMk/>
            <pc:sldMk cId="256155706" sldId="943"/>
            <ac:spMk id="64" creationId="{19794A8F-A922-1A21-17E6-1B4B21C8F596}"/>
          </ac:spMkLst>
        </pc:spChg>
        <pc:spChg chg="del">
          <ac:chgData name="Annemarija Apine (LV)" userId="546f5c59-3b8d-47fd-b739-a8fadc631053" providerId="ADAL" clId="{34473802-5904-426F-ADDF-0D0D1B44876C}" dt="2024-03-01T15:18:05.621" v="6676" actId="478"/>
          <ac:spMkLst>
            <pc:docMk/>
            <pc:sldMk cId="256155706" sldId="943"/>
            <ac:spMk id="67" creationId="{173D6274-53F8-0DD4-4E9A-1018104D2DCB}"/>
          </ac:spMkLst>
        </pc:spChg>
        <pc:spChg chg="del">
          <ac:chgData name="Annemarija Apine (LV)" userId="546f5c59-3b8d-47fd-b739-a8fadc631053" providerId="ADAL" clId="{34473802-5904-426F-ADDF-0D0D1B44876C}" dt="2024-03-01T15:18:05.621" v="6676" actId="478"/>
          <ac:spMkLst>
            <pc:docMk/>
            <pc:sldMk cId="256155706" sldId="943"/>
            <ac:spMk id="70" creationId="{8E071A3F-2B5A-7CD2-907D-0A46168AC360}"/>
          </ac:spMkLst>
        </pc:spChg>
        <pc:spChg chg="del">
          <ac:chgData name="Annemarija Apine (LV)" userId="546f5c59-3b8d-47fd-b739-a8fadc631053" providerId="ADAL" clId="{34473802-5904-426F-ADDF-0D0D1B44876C}" dt="2024-03-01T15:18:05.621" v="6676" actId="478"/>
          <ac:spMkLst>
            <pc:docMk/>
            <pc:sldMk cId="256155706" sldId="943"/>
            <ac:spMk id="73" creationId="{F861E25B-F987-831A-A602-44A1BC3C9C06}"/>
          </ac:spMkLst>
        </pc:spChg>
        <pc:spChg chg="del">
          <ac:chgData name="Annemarija Apine (LV)" userId="546f5c59-3b8d-47fd-b739-a8fadc631053" providerId="ADAL" clId="{34473802-5904-426F-ADDF-0D0D1B44876C}" dt="2024-03-01T15:18:05.621" v="6676" actId="478"/>
          <ac:spMkLst>
            <pc:docMk/>
            <pc:sldMk cId="256155706" sldId="943"/>
            <ac:spMk id="76" creationId="{48C1CD32-80B1-493D-9426-7B73B4755484}"/>
          </ac:spMkLst>
        </pc:spChg>
        <pc:spChg chg="del">
          <ac:chgData name="Annemarija Apine (LV)" userId="546f5c59-3b8d-47fd-b739-a8fadc631053" providerId="ADAL" clId="{34473802-5904-426F-ADDF-0D0D1B44876C}" dt="2024-03-01T15:18:05.621" v="6676" actId="478"/>
          <ac:spMkLst>
            <pc:docMk/>
            <pc:sldMk cId="256155706" sldId="943"/>
            <ac:spMk id="79" creationId="{84ACD26B-9585-F3C8-8179-0329BA741C8A}"/>
          </ac:spMkLst>
        </pc:spChg>
        <pc:spChg chg="del">
          <ac:chgData name="Annemarija Apine (LV)" userId="546f5c59-3b8d-47fd-b739-a8fadc631053" providerId="ADAL" clId="{34473802-5904-426F-ADDF-0D0D1B44876C}" dt="2024-03-01T15:18:05.621" v="6676" actId="478"/>
          <ac:spMkLst>
            <pc:docMk/>
            <pc:sldMk cId="256155706" sldId="943"/>
            <ac:spMk id="100" creationId="{6196419E-02BA-D21D-1546-F1EC7C2A2D38}"/>
          </ac:spMkLst>
        </pc:spChg>
        <pc:spChg chg="del">
          <ac:chgData name="Annemarija Apine (LV)" userId="546f5c59-3b8d-47fd-b739-a8fadc631053" providerId="ADAL" clId="{34473802-5904-426F-ADDF-0D0D1B44876C}" dt="2024-03-01T15:18:05.621" v="6676" actId="478"/>
          <ac:spMkLst>
            <pc:docMk/>
            <pc:sldMk cId="256155706" sldId="943"/>
            <ac:spMk id="101" creationId="{9ECA4B5E-E4A7-485E-4742-A7A24FB938CD}"/>
          </ac:spMkLst>
        </pc:spChg>
        <pc:spChg chg="del">
          <ac:chgData name="Annemarija Apine (LV)" userId="546f5c59-3b8d-47fd-b739-a8fadc631053" providerId="ADAL" clId="{34473802-5904-426F-ADDF-0D0D1B44876C}" dt="2024-03-01T15:18:05.621" v="6676" actId="478"/>
          <ac:spMkLst>
            <pc:docMk/>
            <pc:sldMk cId="256155706" sldId="943"/>
            <ac:spMk id="102" creationId="{6C2839D0-72C0-7347-1A1F-A4C976165D3B}"/>
          </ac:spMkLst>
        </pc:spChg>
        <pc:spChg chg="del">
          <ac:chgData name="Annemarija Apine (LV)" userId="546f5c59-3b8d-47fd-b739-a8fadc631053" providerId="ADAL" clId="{34473802-5904-426F-ADDF-0D0D1B44876C}" dt="2024-03-01T15:18:05.621" v="6676" actId="478"/>
          <ac:spMkLst>
            <pc:docMk/>
            <pc:sldMk cId="256155706" sldId="943"/>
            <ac:spMk id="103" creationId="{20162A1E-1272-A65F-9743-08A1C56CDD8F}"/>
          </ac:spMkLst>
        </pc:spChg>
        <pc:spChg chg="del">
          <ac:chgData name="Annemarija Apine (LV)" userId="546f5c59-3b8d-47fd-b739-a8fadc631053" providerId="ADAL" clId="{34473802-5904-426F-ADDF-0D0D1B44876C}" dt="2024-03-01T15:18:05.621" v="6676" actId="478"/>
          <ac:spMkLst>
            <pc:docMk/>
            <pc:sldMk cId="256155706" sldId="943"/>
            <ac:spMk id="104" creationId="{C489AEBB-7FB2-EC1A-2DC3-18B08D331418}"/>
          </ac:spMkLst>
        </pc:spChg>
        <pc:spChg chg="del">
          <ac:chgData name="Annemarija Apine (LV)" userId="546f5c59-3b8d-47fd-b739-a8fadc631053" providerId="ADAL" clId="{34473802-5904-426F-ADDF-0D0D1B44876C}" dt="2024-03-01T15:18:05.621" v="6676" actId="478"/>
          <ac:spMkLst>
            <pc:docMk/>
            <pc:sldMk cId="256155706" sldId="943"/>
            <ac:spMk id="107" creationId="{5E4C4BD5-129E-6AAF-672B-2CE5A9EA1809}"/>
          </ac:spMkLst>
        </pc:spChg>
        <pc:spChg chg="del">
          <ac:chgData name="Annemarija Apine (LV)" userId="546f5c59-3b8d-47fd-b739-a8fadc631053" providerId="ADAL" clId="{34473802-5904-426F-ADDF-0D0D1B44876C}" dt="2024-03-01T15:18:05.621" v="6676" actId="478"/>
          <ac:spMkLst>
            <pc:docMk/>
            <pc:sldMk cId="256155706" sldId="943"/>
            <ac:spMk id="108" creationId="{374ED229-16EB-16FE-4EEB-6C75D32758A7}"/>
          </ac:spMkLst>
        </pc:spChg>
        <pc:cxnChg chg="del">
          <ac:chgData name="Annemarija Apine (LV)" userId="546f5c59-3b8d-47fd-b739-a8fadc631053" providerId="ADAL" clId="{34473802-5904-426F-ADDF-0D0D1B44876C}" dt="2024-03-01T15:18:05.621" v="6676" actId="478"/>
          <ac:cxnSpMkLst>
            <pc:docMk/>
            <pc:sldMk cId="256155706" sldId="943"/>
            <ac:cxnSpMk id="6" creationId="{B3733624-6466-BD41-3C49-71F64E87C523}"/>
          </ac:cxnSpMkLst>
        </pc:cxnChg>
        <pc:cxnChg chg="del">
          <ac:chgData name="Annemarija Apine (LV)" userId="546f5c59-3b8d-47fd-b739-a8fadc631053" providerId="ADAL" clId="{34473802-5904-426F-ADDF-0D0D1B44876C}" dt="2024-03-01T15:18:05.621" v="6676" actId="478"/>
          <ac:cxnSpMkLst>
            <pc:docMk/>
            <pc:sldMk cId="256155706" sldId="943"/>
            <ac:cxnSpMk id="7" creationId="{5A2159BA-60F1-B7B5-DA22-2E5D2C4A8574}"/>
          </ac:cxnSpMkLst>
        </pc:cxnChg>
        <pc:cxnChg chg="del">
          <ac:chgData name="Annemarija Apine (LV)" userId="546f5c59-3b8d-47fd-b739-a8fadc631053" providerId="ADAL" clId="{34473802-5904-426F-ADDF-0D0D1B44876C}" dt="2024-03-01T15:18:05.621" v="6676" actId="478"/>
          <ac:cxnSpMkLst>
            <pc:docMk/>
            <pc:sldMk cId="256155706" sldId="943"/>
            <ac:cxnSpMk id="9" creationId="{CBCFB46D-F848-5D86-81ED-08C2DDBD6018}"/>
          </ac:cxnSpMkLst>
        </pc:cxnChg>
        <pc:cxnChg chg="del">
          <ac:chgData name="Annemarija Apine (LV)" userId="546f5c59-3b8d-47fd-b739-a8fadc631053" providerId="ADAL" clId="{34473802-5904-426F-ADDF-0D0D1B44876C}" dt="2024-03-01T15:18:05.621" v="6676" actId="478"/>
          <ac:cxnSpMkLst>
            <pc:docMk/>
            <pc:sldMk cId="256155706" sldId="943"/>
            <ac:cxnSpMk id="11" creationId="{A04A74A1-0026-74F8-2A50-1E9075544CF3}"/>
          </ac:cxnSpMkLst>
        </pc:cxnChg>
        <pc:cxnChg chg="del">
          <ac:chgData name="Annemarija Apine (LV)" userId="546f5c59-3b8d-47fd-b739-a8fadc631053" providerId="ADAL" clId="{34473802-5904-426F-ADDF-0D0D1B44876C}" dt="2024-03-01T15:18:05.621" v="6676" actId="478"/>
          <ac:cxnSpMkLst>
            <pc:docMk/>
            <pc:sldMk cId="256155706" sldId="943"/>
            <ac:cxnSpMk id="13" creationId="{CB152EF5-0E28-D564-BA70-371799026C17}"/>
          </ac:cxnSpMkLst>
        </pc:cxnChg>
        <pc:cxnChg chg="del">
          <ac:chgData name="Annemarija Apine (LV)" userId="546f5c59-3b8d-47fd-b739-a8fadc631053" providerId="ADAL" clId="{34473802-5904-426F-ADDF-0D0D1B44876C}" dt="2024-03-01T15:18:05.621" v="6676" actId="478"/>
          <ac:cxnSpMkLst>
            <pc:docMk/>
            <pc:sldMk cId="256155706" sldId="943"/>
            <ac:cxnSpMk id="14" creationId="{FEF121C9-BA2C-579A-87E4-3935103FF4BC}"/>
          </ac:cxnSpMkLst>
        </pc:cxnChg>
        <pc:cxnChg chg="del">
          <ac:chgData name="Annemarija Apine (LV)" userId="546f5c59-3b8d-47fd-b739-a8fadc631053" providerId="ADAL" clId="{34473802-5904-426F-ADDF-0D0D1B44876C}" dt="2024-03-01T15:18:05.621" v="6676" actId="478"/>
          <ac:cxnSpMkLst>
            <pc:docMk/>
            <pc:sldMk cId="256155706" sldId="943"/>
            <ac:cxnSpMk id="15" creationId="{3DE31210-26C3-2A63-15ED-FE32524A997D}"/>
          </ac:cxnSpMkLst>
        </pc:cxnChg>
        <pc:cxnChg chg="del mod">
          <ac:chgData name="Annemarija Apine (LV)" userId="546f5c59-3b8d-47fd-b739-a8fadc631053" providerId="ADAL" clId="{34473802-5904-426F-ADDF-0D0D1B44876C}" dt="2024-03-01T15:18:05.621" v="6676" actId="478"/>
          <ac:cxnSpMkLst>
            <pc:docMk/>
            <pc:sldMk cId="256155706" sldId="943"/>
            <ac:cxnSpMk id="20" creationId="{2864A4FB-5A6B-6282-1ED3-79348932303D}"/>
          </ac:cxnSpMkLst>
        </pc:cxnChg>
        <pc:extLst>
          <p:ext xmlns:p="http://schemas.openxmlformats.org/presentationml/2006/main" uri="{D6D511B9-2390-475A-947B-AFAB55BFBCF1}">
            <pc226:cmChg xmlns:pc226="http://schemas.microsoft.com/office/powerpoint/2022/06/main/command" chg="add del">
              <pc226:chgData name="Annemarija Apine (LV)" userId="546f5c59-3b8d-47fd-b739-a8fadc631053" providerId="ADAL" clId="{34473802-5904-426F-ADDF-0D0D1B44876C}" dt="2024-03-01T15:57:19.787" v="7053"/>
              <pc2:cmMkLst xmlns:pc2="http://schemas.microsoft.com/office/powerpoint/2019/9/main/command">
                <pc:docMk/>
                <pc:sldMk cId="256155706" sldId="943"/>
                <pc2:cmMk id="{5B55F156-74AF-4E13-8B19-DC04C2D817F4}"/>
              </pc2:cmMkLst>
            </pc226:cmChg>
            <pc226:cmChg xmlns:pc226="http://schemas.microsoft.com/office/powerpoint/2022/06/main/command" chg="add del">
              <pc226:chgData name="Annemarija Apine (LV)" userId="546f5c59-3b8d-47fd-b739-a8fadc631053" providerId="ADAL" clId="{34473802-5904-426F-ADDF-0D0D1B44876C}" dt="2024-03-01T15:57:20.728" v="7054"/>
              <pc2:cmMkLst xmlns:pc2="http://schemas.microsoft.com/office/powerpoint/2019/9/main/command">
                <pc:docMk/>
                <pc:sldMk cId="256155706" sldId="943"/>
                <pc2:cmMk id="{B00548AB-3AD4-4241-A2D9-9B34C9A635EF}"/>
              </pc2:cmMkLst>
            </pc226:cmChg>
            <pc226:cmChg xmlns:pc226="http://schemas.microsoft.com/office/powerpoint/2022/06/main/command" chg="add">
              <pc226:chgData name="Annemarija Apine (LV)" userId="546f5c59-3b8d-47fd-b739-a8fadc631053" providerId="ADAL" clId="{34473802-5904-426F-ADDF-0D0D1B44876C}" dt="2024-03-08T12:28:22.391" v="9156"/>
              <pc2:cmMkLst xmlns:pc2="http://schemas.microsoft.com/office/powerpoint/2019/9/main/command">
                <pc:docMk/>
                <pc:sldMk cId="256155706" sldId="943"/>
                <pc2:cmMk id="{C9ACB5CE-8196-4FDD-9B0B-DF019600B170}"/>
              </pc2:cmMkLst>
            </pc226:cmChg>
          </p:ext>
        </pc:extLst>
      </pc:sldChg>
      <pc:sldChg chg="delSp modSp add mod addCm modNotesTx">
        <pc:chgData name="Annemarija Apine (LV)" userId="546f5c59-3b8d-47fd-b739-a8fadc631053" providerId="ADAL" clId="{34473802-5904-426F-ADDF-0D0D1B44876C}" dt="2024-03-08T12:28:28.215" v="9159"/>
        <pc:sldMkLst>
          <pc:docMk/>
          <pc:sldMk cId="2143110826" sldId="944"/>
        </pc:sldMkLst>
        <pc:spChg chg="mod">
          <ac:chgData name="Annemarija Apine (LV)" userId="546f5c59-3b8d-47fd-b739-a8fadc631053" providerId="ADAL" clId="{34473802-5904-426F-ADDF-0D0D1B44876C}" dt="2024-03-01T15:33:02.118" v="6759" actId="20577"/>
          <ac:spMkLst>
            <pc:docMk/>
            <pc:sldMk cId="2143110826" sldId="944"/>
            <ac:spMk id="3" creationId="{F4CCF02E-F3C4-C376-8F56-61BD85A2E74B}"/>
          </ac:spMkLst>
        </pc:spChg>
        <pc:spChg chg="mod">
          <ac:chgData name="Annemarija Apine (LV)" userId="546f5c59-3b8d-47fd-b739-a8fadc631053" providerId="ADAL" clId="{34473802-5904-426F-ADDF-0D0D1B44876C}" dt="2024-03-01T15:33:40.483" v="6778" actId="20577"/>
          <ac:spMkLst>
            <pc:docMk/>
            <pc:sldMk cId="2143110826" sldId="944"/>
            <ac:spMk id="8" creationId="{8F84A1C1-A3B2-78F7-2F05-EA937E442831}"/>
          </ac:spMkLst>
        </pc:spChg>
        <pc:spChg chg="mod">
          <ac:chgData name="Annemarija Apine (LV)" userId="546f5c59-3b8d-47fd-b739-a8fadc631053" providerId="ADAL" clId="{34473802-5904-426F-ADDF-0D0D1B44876C}" dt="2024-03-01T15:33:58.073" v="6787" actId="20577"/>
          <ac:spMkLst>
            <pc:docMk/>
            <pc:sldMk cId="2143110826" sldId="944"/>
            <ac:spMk id="25" creationId="{2B261BF4-92C6-462D-AA95-793AE54DD688}"/>
          </ac:spMkLst>
        </pc:spChg>
        <pc:spChg chg="del">
          <ac:chgData name="Annemarija Apine (LV)" userId="546f5c59-3b8d-47fd-b739-a8fadc631053" providerId="ADAL" clId="{34473802-5904-426F-ADDF-0D0D1B44876C}" dt="2024-03-01T15:32:44.436" v="6724" actId="478"/>
          <ac:spMkLst>
            <pc:docMk/>
            <pc:sldMk cId="2143110826" sldId="944"/>
            <ac:spMk id="50" creationId="{0130363F-7CE7-F3D0-4AB5-F295FAC2DCBC}"/>
          </ac:spMkLst>
        </pc:spChg>
        <pc:spChg chg="del mod">
          <ac:chgData name="Annemarija Apine (LV)" userId="546f5c59-3b8d-47fd-b739-a8fadc631053" providerId="ADAL" clId="{34473802-5904-426F-ADDF-0D0D1B44876C}" dt="2024-03-01T15:32:47.034" v="6728" actId="478"/>
          <ac:spMkLst>
            <pc:docMk/>
            <pc:sldMk cId="2143110826" sldId="944"/>
            <ac:spMk id="51" creationId="{AFEB1935-0849-FFDB-14A2-768E555E2F79}"/>
          </ac:spMkLst>
        </pc:spChg>
        <pc:spChg chg="del">
          <ac:chgData name="Annemarija Apine (LV)" userId="546f5c59-3b8d-47fd-b739-a8fadc631053" providerId="ADAL" clId="{34473802-5904-426F-ADDF-0D0D1B44876C}" dt="2024-03-01T15:32:45.371" v="6725" actId="478"/>
          <ac:spMkLst>
            <pc:docMk/>
            <pc:sldMk cId="2143110826" sldId="944"/>
            <ac:spMk id="52" creationId="{C28EBB85-E5E0-FA58-8077-AD15508F23C6}"/>
          </ac:spMkLst>
        </pc:spChg>
        <pc:cxnChg chg="del">
          <ac:chgData name="Annemarija Apine (LV)" userId="546f5c59-3b8d-47fd-b739-a8fadc631053" providerId="ADAL" clId="{34473802-5904-426F-ADDF-0D0D1B44876C}" dt="2024-03-01T15:32:46.468" v="6727" actId="478"/>
          <ac:cxnSpMkLst>
            <pc:docMk/>
            <pc:sldMk cId="2143110826" sldId="944"/>
            <ac:cxnSpMk id="53" creationId="{F358E754-064A-5B8C-B2FC-4E612BA07893}"/>
          </ac:cxnSpMkLst>
        </pc:cxn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8T12:28:28.215" v="9159"/>
              <pc2:cmMkLst xmlns:pc2="http://schemas.microsoft.com/office/powerpoint/2019/9/main/command">
                <pc:docMk/>
                <pc:sldMk cId="2143110826" sldId="944"/>
                <pc2:cmMk id="{00F64B62-8E67-4267-B90E-8D01A894BC1C}"/>
              </pc2:cmMkLst>
            </pc226:cmChg>
            <pc226:cmChg xmlns:pc226="http://schemas.microsoft.com/office/powerpoint/2022/06/main/command" chg="add">
              <pc226:chgData name="Annemarija Apine (LV)" userId="546f5c59-3b8d-47fd-b739-a8fadc631053" providerId="ADAL" clId="{34473802-5904-426F-ADDF-0D0D1B44876C}" dt="2024-03-01T15:33:23.999" v="6763"/>
              <pc2:cmMkLst xmlns:pc2="http://schemas.microsoft.com/office/powerpoint/2019/9/main/command">
                <pc:docMk/>
                <pc:sldMk cId="2143110826" sldId="944"/>
                <pc2:cmMk id="{E4E4028E-C444-4B9A-9707-A02A265366EC}"/>
              </pc2:cmMkLst>
            </pc226:cmChg>
          </p:ext>
        </pc:extLst>
      </pc:sldChg>
      <pc:sldChg chg="modSp add mod addCm modCm modNotesTx">
        <pc:chgData name="Annemarija Apine (LV)" userId="546f5c59-3b8d-47fd-b739-a8fadc631053" providerId="ADAL" clId="{34473802-5904-426F-ADDF-0D0D1B44876C}" dt="2024-03-08T12:28:35.650" v="9161"/>
        <pc:sldMkLst>
          <pc:docMk/>
          <pc:sldMk cId="2603595337" sldId="945"/>
        </pc:sldMkLst>
        <pc:spChg chg="mod">
          <ac:chgData name="Annemarija Apine (LV)" userId="546f5c59-3b8d-47fd-b739-a8fadc631053" providerId="ADAL" clId="{34473802-5904-426F-ADDF-0D0D1B44876C}" dt="2024-03-01T15:34:46.270" v="6820" actId="20577"/>
          <ac:spMkLst>
            <pc:docMk/>
            <pc:sldMk cId="2603595337" sldId="945"/>
            <ac:spMk id="3" creationId="{F4CCF02E-F3C4-C376-8F56-61BD85A2E74B}"/>
          </ac:spMkLst>
        </pc:spChg>
        <pc:spChg chg="mod">
          <ac:chgData name="Annemarija Apine (LV)" userId="546f5c59-3b8d-47fd-b739-a8fadc631053" providerId="ADAL" clId="{34473802-5904-426F-ADDF-0D0D1B44876C}" dt="2024-03-01T15:34:58.589" v="6831" actId="20577"/>
          <ac:spMkLst>
            <pc:docMk/>
            <pc:sldMk cId="2603595337" sldId="945"/>
            <ac:spMk id="8" creationId="{8F84A1C1-A3B2-78F7-2F05-EA937E442831}"/>
          </ac:spMkLst>
        </pc:spChg>
        <pc:spChg chg="mod">
          <ac:chgData name="Annemarija Apine (LV)" userId="546f5c59-3b8d-47fd-b739-a8fadc631053" providerId="ADAL" clId="{34473802-5904-426F-ADDF-0D0D1B44876C}" dt="2024-03-01T15:35:49.955" v="6846" actId="20577"/>
          <ac:spMkLst>
            <pc:docMk/>
            <pc:sldMk cId="2603595337" sldId="945"/>
            <ac:spMk id="25" creationId="{2B261BF4-92C6-462D-AA95-793AE54DD688}"/>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8T12:28:35.650" v="9161"/>
              <pc2:cmMkLst xmlns:pc2="http://schemas.microsoft.com/office/powerpoint/2019/9/main/command">
                <pc:docMk/>
                <pc:sldMk cId="2603595337" sldId="945"/>
                <pc2:cmMk id="{F3323D1F-DC8E-4C7E-A8C9-D860FBBA9998}"/>
              </pc2:cmMkLst>
            </pc226:cmChg>
            <pc226:cmChg xmlns:pc226="http://schemas.microsoft.com/office/powerpoint/2022/06/main/command" chg="mod">
              <pc226:chgData name="Annemarija Apine (LV)" userId="546f5c59-3b8d-47fd-b739-a8fadc631053" providerId="ADAL" clId="{34473802-5904-426F-ADDF-0D0D1B44876C}" dt="2024-03-01T15:34:30.298" v="6790"/>
              <pc2:cmMkLst xmlns:pc2="http://schemas.microsoft.com/office/powerpoint/2019/9/main/command">
                <pc:docMk/>
                <pc:sldMk cId="2603595337" sldId="945"/>
                <pc2:cmMk id="{D31A62EF-F815-4755-9A6E-9B7E3FAD370D}"/>
              </pc2:cmMkLst>
            </pc226:cmChg>
          </p:ext>
        </pc:extLst>
      </pc:sldChg>
      <pc:sldChg chg="addSp delSp modSp add mod addCm delCm modNotesTx">
        <pc:chgData name="Annemarija Apine (LV)" userId="546f5c59-3b8d-47fd-b739-a8fadc631053" providerId="ADAL" clId="{34473802-5904-426F-ADDF-0D0D1B44876C}" dt="2024-03-10T23:51:53.023" v="10058"/>
        <pc:sldMkLst>
          <pc:docMk/>
          <pc:sldMk cId="3488828484" sldId="946"/>
        </pc:sldMkLst>
        <pc:spChg chg="del mod">
          <ac:chgData name="Annemarija Apine (LV)" userId="546f5c59-3b8d-47fd-b739-a8fadc631053" providerId="ADAL" clId="{34473802-5904-426F-ADDF-0D0D1B44876C}" dt="2024-03-01T15:56:51.039" v="7041" actId="478"/>
          <ac:spMkLst>
            <pc:docMk/>
            <pc:sldMk cId="3488828484" sldId="946"/>
            <ac:spMk id="2" creationId="{6CA1ECBA-9098-2617-476E-BB53C42ACEE3}"/>
          </ac:spMkLst>
        </pc:spChg>
        <pc:spChg chg="mod">
          <ac:chgData name="Annemarija Apine (LV)" userId="546f5c59-3b8d-47fd-b739-a8fadc631053" providerId="ADAL" clId="{34473802-5904-426F-ADDF-0D0D1B44876C}" dt="2024-03-01T15:54:38.220" v="6962" actId="20577"/>
          <ac:spMkLst>
            <pc:docMk/>
            <pc:sldMk cId="3488828484" sldId="946"/>
            <ac:spMk id="3" creationId="{F4CCF02E-F3C4-C376-8F56-61BD85A2E74B}"/>
          </ac:spMkLst>
        </pc:spChg>
        <pc:spChg chg="add del mod">
          <ac:chgData name="Annemarija Apine (LV)" userId="546f5c59-3b8d-47fd-b739-a8fadc631053" providerId="ADAL" clId="{34473802-5904-426F-ADDF-0D0D1B44876C}" dt="2024-03-01T15:56:20.432" v="7038"/>
          <ac:spMkLst>
            <pc:docMk/>
            <pc:sldMk cId="3488828484" sldId="946"/>
            <ac:spMk id="5" creationId="{8636D03E-C3FA-9953-9923-FDFD8DF40DE2}"/>
          </ac:spMkLst>
        </pc:spChg>
        <pc:spChg chg="add del mod">
          <ac:chgData name="Annemarija Apine (LV)" userId="546f5c59-3b8d-47fd-b739-a8fadc631053" providerId="ADAL" clId="{34473802-5904-426F-ADDF-0D0D1B44876C}" dt="2024-03-01T15:56:20.432" v="7038"/>
          <ac:spMkLst>
            <pc:docMk/>
            <pc:sldMk cId="3488828484" sldId="946"/>
            <ac:spMk id="8" creationId="{2BBFCF86-207B-8BF6-938E-D970E37D9452}"/>
          </ac:spMkLst>
        </pc:spChg>
        <pc:spChg chg="add del mod">
          <ac:chgData name="Annemarija Apine (LV)" userId="546f5c59-3b8d-47fd-b739-a8fadc631053" providerId="ADAL" clId="{34473802-5904-426F-ADDF-0D0D1B44876C}" dt="2024-03-01T15:56:20.432" v="7038"/>
          <ac:spMkLst>
            <pc:docMk/>
            <pc:sldMk cId="3488828484" sldId="946"/>
            <ac:spMk id="16" creationId="{836373B3-ACAD-2103-A6C0-B0C75A42643C}"/>
          </ac:spMkLst>
        </pc:spChg>
        <pc:spChg chg="del mod">
          <ac:chgData name="Annemarija Apine (LV)" userId="546f5c59-3b8d-47fd-b739-a8fadc631053" providerId="ADAL" clId="{34473802-5904-426F-ADDF-0D0D1B44876C}" dt="2024-03-01T15:56:51.039" v="7041" actId="478"/>
          <ac:spMkLst>
            <pc:docMk/>
            <pc:sldMk cId="3488828484" sldId="946"/>
            <ac:spMk id="17" creationId="{1B3B2816-7084-FA8B-9573-B5304273EF81}"/>
          </ac:spMkLst>
        </pc:spChg>
        <pc:spChg chg="add del mod">
          <ac:chgData name="Annemarija Apine (LV)" userId="546f5c59-3b8d-47fd-b739-a8fadc631053" providerId="ADAL" clId="{34473802-5904-426F-ADDF-0D0D1B44876C}" dt="2024-03-01T15:56:22.620" v="7040"/>
          <ac:spMkLst>
            <pc:docMk/>
            <pc:sldMk cId="3488828484" sldId="946"/>
            <ac:spMk id="18" creationId="{B9835E27-26E7-28B6-C3DD-9E49377086A8}"/>
          </ac:spMkLst>
        </pc:spChg>
        <pc:spChg chg="add del mod">
          <ac:chgData name="Annemarija Apine (LV)" userId="546f5c59-3b8d-47fd-b739-a8fadc631053" providerId="ADAL" clId="{34473802-5904-426F-ADDF-0D0D1B44876C}" dt="2024-03-01T15:56:22.620" v="7040"/>
          <ac:spMkLst>
            <pc:docMk/>
            <pc:sldMk cId="3488828484" sldId="946"/>
            <ac:spMk id="19" creationId="{A6C1D6FC-0F2F-0038-DA65-4ECEDB0FA4A4}"/>
          </ac:spMkLst>
        </pc:spChg>
        <pc:spChg chg="del mod">
          <ac:chgData name="Annemarija Apine (LV)" userId="546f5c59-3b8d-47fd-b739-a8fadc631053" providerId="ADAL" clId="{34473802-5904-426F-ADDF-0D0D1B44876C}" dt="2024-03-01T15:56:51.039" v="7041" actId="478"/>
          <ac:spMkLst>
            <pc:docMk/>
            <pc:sldMk cId="3488828484" sldId="946"/>
            <ac:spMk id="21" creationId="{78DC1799-6B68-492D-BBE0-D7BECB3D58E6}"/>
          </ac:spMkLst>
        </pc:spChg>
        <pc:spChg chg="add del mod">
          <ac:chgData name="Annemarija Apine (LV)" userId="546f5c59-3b8d-47fd-b739-a8fadc631053" providerId="ADAL" clId="{34473802-5904-426F-ADDF-0D0D1B44876C}" dt="2024-03-01T15:56:22.620" v="7040"/>
          <ac:spMkLst>
            <pc:docMk/>
            <pc:sldMk cId="3488828484" sldId="946"/>
            <ac:spMk id="22" creationId="{58B8A8A9-C1F9-FE31-3608-2E8D6A02DBB9}"/>
          </ac:spMkLst>
        </pc:spChg>
        <pc:spChg chg="del mod">
          <ac:chgData name="Annemarija Apine (LV)" userId="546f5c59-3b8d-47fd-b739-a8fadc631053" providerId="ADAL" clId="{34473802-5904-426F-ADDF-0D0D1B44876C}" dt="2024-03-01T15:56:51.039" v="7041" actId="478"/>
          <ac:spMkLst>
            <pc:docMk/>
            <pc:sldMk cId="3488828484" sldId="946"/>
            <ac:spMk id="23" creationId="{AF01EC8D-5F48-32D6-594A-E45D62E76E38}"/>
          </ac:spMkLst>
        </pc:spChg>
        <pc:spChg chg="add del mod">
          <ac:chgData name="Annemarija Apine (LV)" userId="546f5c59-3b8d-47fd-b739-a8fadc631053" providerId="ADAL" clId="{34473802-5904-426F-ADDF-0D0D1B44876C}" dt="2024-03-01T15:56:22.620" v="7040"/>
          <ac:spMkLst>
            <pc:docMk/>
            <pc:sldMk cId="3488828484" sldId="946"/>
            <ac:spMk id="24" creationId="{F6831935-691B-1872-10D5-30CC44770E34}"/>
          </ac:spMkLst>
        </pc:spChg>
        <pc:spChg chg="mod">
          <ac:chgData name="Annemarija Apine (LV)" userId="546f5c59-3b8d-47fd-b739-a8fadc631053" providerId="ADAL" clId="{34473802-5904-426F-ADDF-0D0D1B44876C}" dt="2024-03-10T23:51:40.748" v="10053" actId="20577"/>
          <ac:spMkLst>
            <pc:docMk/>
            <pc:sldMk cId="3488828484" sldId="946"/>
            <ac:spMk id="25" creationId="{2B261BF4-92C6-462D-AA95-793AE54DD688}"/>
          </ac:spMkLst>
        </pc:spChg>
        <pc:spChg chg="mod">
          <ac:chgData name="Annemarija Apine (LV)" userId="546f5c59-3b8d-47fd-b739-a8fadc631053" providerId="ADAL" clId="{34473802-5904-426F-ADDF-0D0D1B44876C}" dt="2024-03-01T15:56:20.144" v="7037" actId="1036"/>
          <ac:spMkLst>
            <pc:docMk/>
            <pc:sldMk cId="3488828484" sldId="946"/>
            <ac:spMk id="26" creationId="{5EC1F9AE-82A4-85FE-592B-EF659F76F7EC}"/>
          </ac:spMkLst>
        </pc:spChg>
        <pc:spChg chg="mod">
          <ac:chgData name="Annemarija Apine (LV)" userId="546f5c59-3b8d-47fd-b739-a8fadc631053" providerId="ADAL" clId="{34473802-5904-426F-ADDF-0D0D1B44876C}" dt="2024-03-01T15:56:20.144" v="7037" actId="1036"/>
          <ac:spMkLst>
            <pc:docMk/>
            <pc:sldMk cId="3488828484" sldId="946"/>
            <ac:spMk id="27" creationId="{72D802D4-B169-1594-D931-40179675E33A}"/>
          </ac:spMkLst>
        </pc:spChg>
        <pc:spChg chg="add del mod">
          <ac:chgData name="Annemarija Apine (LV)" userId="546f5c59-3b8d-47fd-b739-a8fadc631053" providerId="ADAL" clId="{34473802-5904-426F-ADDF-0D0D1B44876C}" dt="2024-03-01T15:56:22.620" v="7040"/>
          <ac:spMkLst>
            <pc:docMk/>
            <pc:sldMk cId="3488828484" sldId="946"/>
            <ac:spMk id="28" creationId="{E48D4B8D-ECA4-C3FA-815E-5528790F344E}"/>
          </ac:spMkLst>
        </pc:spChg>
        <pc:spChg chg="mod">
          <ac:chgData name="Annemarija Apine (LV)" userId="546f5c59-3b8d-47fd-b739-a8fadc631053" providerId="ADAL" clId="{34473802-5904-426F-ADDF-0D0D1B44876C}" dt="2024-03-01T15:56:20.144" v="7037" actId="1036"/>
          <ac:spMkLst>
            <pc:docMk/>
            <pc:sldMk cId="3488828484" sldId="946"/>
            <ac:spMk id="29" creationId="{3915AD89-6428-4A75-0915-328643F1703C}"/>
          </ac:spMkLst>
        </pc:spChg>
        <pc:spChg chg="mod">
          <ac:chgData name="Annemarija Apine (LV)" userId="546f5c59-3b8d-47fd-b739-a8fadc631053" providerId="ADAL" clId="{34473802-5904-426F-ADDF-0D0D1B44876C}" dt="2024-03-01T15:56:20.144" v="7037" actId="1036"/>
          <ac:spMkLst>
            <pc:docMk/>
            <pc:sldMk cId="3488828484" sldId="946"/>
            <ac:spMk id="30" creationId="{373AB206-F1F0-CC72-8C15-85605D9AF2AC}"/>
          </ac:spMkLst>
        </pc:spChg>
        <pc:spChg chg="add del mod">
          <ac:chgData name="Annemarija Apine (LV)" userId="546f5c59-3b8d-47fd-b739-a8fadc631053" providerId="ADAL" clId="{34473802-5904-426F-ADDF-0D0D1B44876C}" dt="2024-03-01T15:56:22.620" v="7040"/>
          <ac:spMkLst>
            <pc:docMk/>
            <pc:sldMk cId="3488828484" sldId="946"/>
            <ac:spMk id="31" creationId="{68D8230E-1481-AAFB-C269-F2D47395D288}"/>
          </ac:spMkLst>
        </pc:spChg>
        <pc:spChg chg="add del mod">
          <ac:chgData name="Annemarija Apine (LV)" userId="546f5c59-3b8d-47fd-b739-a8fadc631053" providerId="ADAL" clId="{34473802-5904-426F-ADDF-0D0D1B44876C}" dt="2024-03-01T15:56:22.620" v="7040"/>
          <ac:spMkLst>
            <pc:docMk/>
            <pc:sldMk cId="3488828484" sldId="946"/>
            <ac:spMk id="32" creationId="{33A34C2D-A6B3-A4AC-BF4A-B5272AF3D93E}"/>
          </ac:spMkLst>
        </pc:spChg>
        <pc:spChg chg="add del mod">
          <ac:chgData name="Annemarija Apine (LV)" userId="546f5c59-3b8d-47fd-b739-a8fadc631053" providerId="ADAL" clId="{34473802-5904-426F-ADDF-0D0D1B44876C}" dt="2024-03-01T15:56:22.620" v="7040"/>
          <ac:spMkLst>
            <pc:docMk/>
            <pc:sldMk cId="3488828484" sldId="946"/>
            <ac:spMk id="33" creationId="{703D5530-629F-76AE-B565-B041E7784588}"/>
          </ac:spMkLst>
        </pc:spChg>
        <pc:spChg chg="add del mod">
          <ac:chgData name="Annemarija Apine (LV)" userId="546f5c59-3b8d-47fd-b739-a8fadc631053" providerId="ADAL" clId="{34473802-5904-426F-ADDF-0D0D1B44876C}" dt="2024-03-01T15:56:22.620" v="7040"/>
          <ac:spMkLst>
            <pc:docMk/>
            <pc:sldMk cId="3488828484" sldId="946"/>
            <ac:spMk id="34" creationId="{1051A6EF-C8F4-7B9D-C078-92D19E31D5DD}"/>
          </ac:spMkLst>
        </pc:spChg>
        <pc:spChg chg="add del mod">
          <ac:chgData name="Annemarija Apine (LV)" userId="546f5c59-3b8d-47fd-b739-a8fadc631053" providerId="ADAL" clId="{34473802-5904-426F-ADDF-0D0D1B44876C}" dt="2024-03-01T15:56:22.620" v="7040"/>
          <ac:spMkLst>
            <pc:docMk/>
            <pc:sldMk cId="3488828484" sldId="946"/>
            <ac:spMk id="35" creationId="{42E128C8-29C9-4248-B79C-8430827E67D2}"/>
          </ac:spMkLst>
        </pc:spChg>
        <pc:spChg chg="del mod">
          <ac:chgData name="Annemarija Apine (LV)" userId="546f5c59-3b8d-47fd-b739-a8fadc631053" providerId="ADAL" clId="{34473802-5904-426F-ADDF-0D0D1B44876C}" dt="2024-03-01T15:56:51.039" v="7041" actId="478"/>
          <ac:spMkLst>
            <pc:docMk/>
            <pc:sldMk cId="3488828484" sldId="946"/>
            <ac:spMk id="36" creationId="{B685A229-84EC-B93B-3F43-6BFE2BE1F4CA}"/>
          </ac:spMkLst>
        </pc:spChg>
        <pc:spChg chg="del mod">
          <ac:chgData name="Annemarija Apine (LV)" userId="546f5c59-3b8d-47fd-b739-a8fadc631053" providerId="ADAL" clId="{34473802-5904-426F-ADDF-0D0D1B44876C}" dt="2024-03-01T15:56:51.039" v="7041" actId="478"/>
          <ac:spMkLst>
            <pc:docMk/>
            <pc:sldMk cId="3488828484" sldId="946"/>
            <ac:spMk id="37" creationId="{9D96FB8A-4DBF-49F0-A6C2-FDA1251682FE}"/>
          </ac:spMkLst>
        </pc:spChg>
        <pc:spChg chg="add del mod">
          <ac:chgData name="Annemarija Apine (LV)" userId="546f5c59-3b8d-47fd-b739-a8fadc631053" providerId="ADAL" clId="{34473802-5904-426F-ADDF-0D0D1B44876C}" dt="2024-03-01T15:56:22.620" v="7040"/>
          <ac:spMkLst>
            <pc:docMk/>
            <pc:sldMk cId="3488828484" sldId="946"/>
            <ac:spMk id="38" creationId="{7596708A-CB15-E323-FBC8-BFA5A4E0A9B8}"/>
          </ac:spMkLst>
        </pc:spChg>
        <pc:spChg chg="del mod">
          <ac:chgData name="Annemarija Apine (LV)" userId="546f5c59-3b8d-47fd-b739-a8fadc631053" providerId="ADAL" clId="{34473802-5904-426F-ADDF-0D0D1B44876C}" dt="2024-03-01T15:56:51.039" v="7041" actId="478"/>
          <ac:spMkLst>
            <pc:docMk/>
            <pc:sldMk cId="3488828484" sldId="946"/>
            <ac:spMk id="39" creationId="{E8BDE45B-79CA-CD3A-5214-E24D77B8609C}"/>
          </ac:spMkLst>
        </pc:spChg>
        <pc:spChg chg="del mod">
          <ac:chgData name="Annemarija Apine (LV)" userId="546f5c59-3b8d-47fd-b739-a8fadc631053" providerId="ADAL" clId="{34473802-5904-426F-ADDF-0D0D1B44876C}" dt="2024-03-01T15:56:51.039" v="7041" actId="478"/>
          <ac:spMkLst>
            <pc:docMk/>
            <pc:sldMk cId="3488828484" sldId="946"/>
            <ac:spMk id="40" creationId="{D996275D-295E-F1D0-D67A-44A0A69B4C01}"/>
          </ac:spMkLst>
        </pc:spChg>
        <pc:spChg chg="del mod">
          <ac:chgData name="Annemarija Apine (LV)" userId="546f5c59-3b8d-47fd-b739-a8fadc631053" providerId="ADAL" clId="{34473802-5904-426F-ADDF-0D0D1B44876C}" dt="2024-03-01T15:56:51.039" v="7041" actId="478"/>
          <ac:spMkLst>
            <pc:docMk/>
            <pc:sldMk cId="3488828484" sldId="946"/>
            <ac:spMk id="43" creationId="{45949670-5BCB-C59B-3D24-28AC2A6F87F3}"/>
          </ac:spMkLst>
        </pc:spChg>
        <pc:spChg chg="mod">
          <ac:chgData name="Annemarija Apine (LV)" userId="546f5c59-3b8d-47fd-b739-a8fadc631053" providerId="ADAL" clId="{34473802-5904-426F-ADDF-0D0D1B44876C}" dt="2024-03-01T15:56:20.144" v="7037" actId="1036"/>
          <ac:spMkLst>
            <pc:docMk/>
            <pc:sldMk cId="3488828484" sldId="946"/>
            <ac:spMk id="44" creationId="{37325A5C-F07F-2313-782A-18E3E98D15F0}"/>
          </ac:spMkLst>
        </pc:spChg>
        <pc:spChg chg="mod">
          <ac:chgData name="Annemarija Apine (LV)" userId="546f5c59-3b8d-47fd-b739-a8fadc631053" providerId="ADAL" clId="{34473802-5904-426F-ADDF-0D0D1B44876C}" dt="2024-03-01T15:56:20.144" v="7037" actId="1036"/>
          <ac:spMkLst>
            <pc:docMk/>
            <pc:sldMk cId="3488828484" sldId="946"/>
            <ac:spMk id="45" creationId="{5A4A472A-422C-56F4-A0F5-AE422E82D144}"/>
          </ac:spMkLst>
        </pc:spChg>
        <pc:spChg chg="mod">
          <ac:chgData name="Annemarija Apine (LV)" userId="546f5c59-3b8d-47fd-b739-a8fadc631053" providerId="ADAL" clId="{34473802-5904-426F-ADDF-0D0D1B44876C}" dt="2024-03-01T15:56:20.144" v="7037" actId="1036"/>
          <ac:spMkLst>
            <pc:docMk/>
            <pc:sldMk cId="3488828484" sldId="946"/>
            <ac:spMk id="46" creationId="{09BF84D6-F468-7005-FAB5-AA0B6AE5CFB4}"/>
          </ac:spMkLst>
        </pc:spChg>
        <pc:spChg chg="del mod">
          <ac:chgData name="Annemarija Apine (LV)" userId="546f5c59-3b8d-47fd-b739-a8fadc631053" providerId="ADAL" clId="{34473802-5904-426F-ADDF-0D0D1B44876C}" dt="2024-03-01T15:56:51.039" v="7041" actId="478"/>
          <ac:spMkLst>
            <pc:docMk/>
            <pc:sldMk cId="3488828484" sldId="946"/>
            <ac:spMk id="47" creationId="{53CB8D3C-9648-B17B-BD59-60EED0CCD133}"/>
          </ac:spMkLst>
        </pc:spChg>
        <pc:spChg chg="del mod">
          <ac:chgData name="Annemarija Apine (LV)" userId="546f5c59-3b8d-47fd-b739-a8fadc631053" providerId="ADAL" clId="{34473802-5904-426F-ADDF-0D0D1B44876C}" dt="2024-03-01T15:56:51.039" v="7041" actId="478"/>
          <ac:spMkLst>
            <pc:docMk/>
            <pc:sldMk cId="3488828484" sldId="946"/>
            <ac:spMk id="48" creationId="{9DA2A02A-BBDF-DCC7-18AC-878856D7A5B2}"/>
          </ac:spMkLst>
        </pc:spChg>
        <pc:spChg chg="mod">
          <ac:chgData name="Annemarija Apine (LV)" userId="546f5c59-3b8d-47fd-b739-a8fadc631053" providerId="ADAL" clId="{34473802-5904-426F-ADDF-0D0D1B44876C}" dt="2024-03-01T15:56:20.144" v="7037" actId="1036"/>
          <ac:spMkLst>
            <pc:docMk/>
            <pc:sldMk cId="3488828484" sldId="946"/>
            <ac:spMk id="49" creationId="{DED3BED4-139F-CB4F-0A7B-7B90211550F4}"/>
          </ac:spMkLst>
        </pc:spChg>
        <pc:spChg chg="mod">
          <ac:chgData name="Annemarija Apine (LV)" userId="546f5c59-3b8d-47fd-b739-a8fadc631053" providerId="ADAL" clId="{34473802-5904-426F-ADDF-0D0D1B44876C}" dt="2024-03-01T15:54:50.840" v="6981" actId="20577"/>
          <ac:spMkLst>
            <pc:docMk/>
            <pc:sldMk cId="3488828484" sldId="946"/>
            <ac:spMk id="51" creationId="{AFEB1935-0849-FFDB-14A2-768E555E2F79}"/>
          </ac:spMkLst>
        </pc:spChg>
        <pc:spChg chg="add del mod">
          <ac:chgData name="Annemarija Apine (LV)" userId="546f5c59-3b8d-47fd-b739-a8fadc631053" providerId="ADAL" clId="{34473802-5904-426F-ADDF-0D0D1B44876C}" dt="2024-03-01T15:56:22.620" v="7040"/>
          <ac:spMkLst>
            <pc:docMk/>
            <pc:sldMk cId="3488828484" sldId="946"/>
            <ac:spMk id="54" creationId="{84C2FE73-3958-45B5-E8EE-57A4767CB59D}"/>
          </ac:spMkLst>
        </pc:spChg>
        <pc:spChg chg="add del mod">
          <ac:chgData name="Annemarija Apine (LV)" userId="546f5c59-3b8d-47fd-b739-a8fadc631053" providerId="ADAL" clId="{34473802-5904-426F-ADDF-0D0D1B44876C}" dt="2024-03-01T15:56:22.620" v="7040"/>
          <ac:spMkLst>
            <pc:docMk/>
            <pc:sldMk cId="3488828484" sldId="946"/>
            <ac:spMk id="55" creationId="{1DADEC72-C97F-D942-A61E-30942309BFBA}"/>
          </ac:spMkLst>
        </pc:spChg>
        <pc:spChg chg="add del mod">
          <ac:chgData name="Annemarija Apine (LV)" userId="546f5c59-3b8d-47fd-b739-a8fadc631053" providerId="ADAL" clId="{34473802-5904-426F-ADDF-0D0D1B44876C}" dt="2024-03-01T15:56:22.620" v="7040"/>
          <ac:spMkLst>
            <pc:docMk/>
            <pc:sldMk cId="3488828484" sldId="946"/>
            <ac:spMk id="56" creationId="{68A52EE4-5111-3743-4E30-06872AD91BFA}"/>
          </ac:spMkLst>
        </pc:spChg>
        <pc:spChg chg="mod">
          <ac:chgData name="Annemarija Apine (LV)" userId="546f5c59-3b8d-47fd-b739-a8fadc631053" providerId="ADAL" clId="{34473802-5904-426F-ADDF-0D0D1B44876C}" dt="2024-03-01T15:36:46.910" v="6861"/>
          <ac:spMkLst>
            <pc:docMk/>
            <pc:sldMk cId="3488828484" sldId="946"/>
            <ac:spMk id="57" creationId="{E0007A68-F3EF-5218-37FA-972FF8C8BB56}"/>
          </ac:spMkLst>
        </pc:spChg>
        <pc:spChg chg="add del mod">
          <ac:chgData name="Annemarija Apine (LV)" userId="546f5c59-3b8d-47fd-b739-a8fadc631053" providerId="ADAL" clId="{34473802-5904-426F-ADDF-0D0D1B44876C}" dt="2024-03-01T15:56:22.620" v="7040"/>
          <ac:spMkLst>
            <pc:docMk/>
            <pc:sldMk cId="3488828484" sldId="946"/>
            <ac:spMk id="58" creationId="{2A6D00C0-F871-203C-7CB6-BF4CA3C9CFE6}"/>
          </ac:spMkLst>
        </pc:spChg>
        <pc:spChg chg="add del mod">
          <ac:chgData name="Annemarija Apine (LV)" userId="546f5c59-3b8d-47fd-b739-a8fadc631053" providerId="ADAL" clId="{34473802-5904-426F-ADDF-0D0D1B44876C}" dt="2024-03-01T15:56:22.620" v="7040"/>
          <ac:spMkLst>
            <pc:docMk/>
            <pc:sldMk cId="3488828484" sldId="946"/>
            <ac:spMk id="59" creationId="{5E62F79A-A31E-79D1-61A5-4ED2C8F67519}"/>
          </ac:spMkLst>
        </pc:spChg>
        <pc:spChg chg="add del mod">
          <ac:chgData name="Annemarija Apine (LV)" userId="546f5c59-3b8d-47fd-b739-a8fadc631053" providerId="ADAL" clId="{34473802-5904-426F-ADDF-0D0D1B44876C}" dt="2024-03-01T15:56:22.620" v="7040"/>
          <ac:spMkLst>
            <pc:docMk/>
            <pc:sldMk cId="3488828484" sldId="946"/>
            <ac:spMk id="60" creationId="{D536F95F-9E33-46ED-17E9-F340E48A69F6}"/>
          </ac:spMkLst>
        </pc:spChg>
        <pc:spChg chg="del mod">
          <ac:chgData name="Annemarija Apine (LV)" userId="546f5c59-3b8d-47fd-b739-a8fadc631053" providerId="ADAL" clId="{34473802-5904-426F-ADDF-0D0D1B44876C}" dt="2024-03-01T15:56:51.039" v="7041" actId="478"/>
          <ac:spMkLst>
            <pc:docMk/>
            <pc:sldMk cId="3488828484" sldId="946"/>
            <ac:spMk id="61" creationId="{2A14CA01-2350-21C6-16E6-E9CEAF43B441}"/>
          </ac:spMkLst>
        </pc:spChg>
        <pc:spChg chg="add del mod">
          <ac:chgData name="Annemarija Apine (LV)" userId="546f5c59-3b8d-47fd-b739-a8fadc631053" providerId="ADAL" clId="{34473802-5904-426F-ADDF-0D0D1B44876C}" dt="2024-03-01T15:56:22.620" v="7040"/>
          <ac:spMkLst>
            <pc:docMk/>
            <pc:sldMk cId="3488828484" sldId="946"/>
            <ac:spMk id="62" creationId="{2D03D71E-5E4C-B4F9-3DA2-C1CCA0387CBF}"/>
          </ac:spMkLst>
        </pc:spChg>
        <pc:spChg chg="add del mod">
          <ac:chgData name="Annemarija Apine (LV)" userId="546f5c59-3b8d-47fd-b739-a8fadc631053" providerId="ADAL" clId="{34473802-5904-426F-ADDF-0D0D1B44876C}" dt="2024-03-01T15:56:22.620" v="7040"/>
          <ac:spMkLst>
            <pc:docMk/>
            <pc:sldMk cId="3488828484" sldId="946"/>
            <ac:spMk id="63" creationId="{573285A7-A836-CF90-649C-3E8D4B03AD8F}"/>
          </ac:spMkLst>
        </pc:spChg>
        <pc:spChg chg="del mod">
          <ac:chgData name="Annemarija Apine (LV)" userId="546f5c59-3b8d-47fd-b739-a8fadc631053" providerId="ADAL" clId="{34473802-5904-426F-ADDF-0D0D1B44876C}" dt="2024-03-01T15:56:51.039" v="7041" actId="478"/>
          <ac:spMkLst>
            <pc:docMk/>
            <pc:sldMk cId="3488828484" sldId="946"/>
            <ac:spMk id="64" creationId="{19794A8F-A922-1A21-17E6-1B4B21C8F596}"/>
          </ac:spMkLst>
        </pc:spChg>
        <pc:spChg chg="add del mod">
          <ac:chgData name="Annemarija Apine (LV)" userId="546f5c59-3b8d-47fd-b739-a8fadc631053" providerId="ADAL" clId="{34473802-5904-426F-ADDF-0D0D1B44876C}" dt="2024-03-01T15:56:22.620" v="7040"/>
          <ac:spMkLst>
            <pc:docMk/>
            <pc:sldMk cId="3488828484" sldId="946"/>
            <ac:spMk id="65" creationId="{3BF094E4-A78E-3F1A-CAD0-A5435BE666B4}"/>
          </ac:spMkLst>
        </pc:spChg>
        <pc:spChg chg="add del mod">
          <ac:chgData name="Annemarija Apine (LV)" userId="546f5c59-3b8d-47fd-b739-a8fadc631053" providerId="ADAL" clId="{34473802-5904-426F-ADDF-0D0D1B44876C}" dt="2024-03-01T15:56:22.620" v="7040"/>
          <ac:spMkLst>
            <pc:docMk/>
            <pc:sldMk cId="3488828484" sldId="946"/>
            <ac:spMk id="66" creationId="{366B4664-4268-1082-F3E5-5D5F8FAC9C0E}"/>
          </ac:spMkLst>
        </pc:spChg>
        <pc:spChg chg="del mod">
          <ac:chgData name="Annemarija Apine (LV)" userId="546f5c59-3b8d-47fd-b739-a8fadc631053" providerId="ADAL" clId="{34473802-5904-426F-ADDF-0D0D1B44876C}" dt="2024-03-01T15:56:51.039" v="7041" actId="478"/>
          <ac:spMkLst>
            <pc:docMk/>
            <pc:sldMk cId="3488828484" sldId="946"/>
            <ac:spMk id="67" creationId="{173D6274-53F8-0DD4-4E9A-1018104D2DCB}"/>
          </ac:spMkLst>
        </pc:spChg>
        <pc:spChg chg="add del mod">
          <ac:chgData name="Annemarija Apine (LV)" userId="546f5c59-3b8d-47fd-b739-a8fadc631053" providerId="ADAL" clId="{34473802-5904-426F-ADDF-0D0D1B44876C}" dt="2024-03-01T15:56:22.620" v="7040"/>
          <ac:spMkLst>
            <pc:docMk/>
            <pc:sldMk cId="3488828484" sldId="946"/>
            <ac:spMk id="68" creationId="{909CC635-65BC-986E-2A5F-A6CE517697E0}"/>
          </ac:spMkLst>
        </pc:spChg>
        <pc:spChg chg="del mod">
          <ac:chgData name="Annemarija Apine (LV)" userId="546f5c59-3b8d-47fd-b739-a8fadc631053" providerId="ADAL" clId="{34473802-5904-426F-ADDF-0D0D1B44876C}" dt="2024-03-01T15:56:51.039" v="7041" actId="478"/>
          <ac:spMkLst>
            <pc:docMk/>
            <pc:sldMk cId="3488828484" sldId="946"/>
            <ac:spMk id="70" creationId="{8E071A3F-2B5A-7CD2-907D-0A46168AC360}"/>
          </ac:spMkLst>
        </pc:spChg>
        <pc:spChg chg="del mod">
          <ac:chgData name="Annemarija Apine (LV)" userId="546f5c59-3b8d-47fd-b739-a8fadc631053" providerId="ADAL" clId="{34473802-5904-426F-ADDF-0D0D1B44876C}" dt="2024-03-01T15:56:51.039" v="7041" actId="478"/>
          <ac:spMkLst>
            <pc:docMk/>
            <pc:sldMk cId="3488828484" sldId="946"/>
            <ac:spMk id="73" creationId="{F861E25B-F987-831A-A602-44A1BC3C9C06}"/>
          </ac:spMkLst>
        </pc:spChg>
        <pc:spChg chg="del mod">
          <ac:chgData name="Annemarija Apine (LV)" userId="546f5c59-3b8d-47fd-b739-a8fadc631053" providerId="ADAL" clId="{34473802-5904-426F-ADDF-0D0D1B44876C}" dt="2024-03-01T15:56:51.039" v="7041" actId="478"/>
          <ac:spMkLst>
            <pc:docMk/>
            <pc:sldMk cId="3488828484" sldId="946"/>
            <ac:spMk id="76" creationId="{48C1CD32-80B1-493D-9426-7B73B4755484}"/>
          </ac:spMkLst>
        </pc:spChg>
        <pc:spChg chg="del mod">
          <ac:chgData name="Annemarija Apine (LV)" userId="546f5c59-3b8d-47fd-b739-a8fadc631053" providerId="ADAL" clId="{34473802-5904-426F-ADDF-0D0D1B44876C}" dt="2024-03-01T15:56:51.039" v="7041" actId="478"/>
          <ac:spMkLst>
            <pc:docMk/>
            <pc:sldMk cId="3488828484" sldId="946"/>
            <ac:spMk id="79" creationId="{84ACD26B-9585-F3C8-8179-0329BA741C8A}"/>
          </ac:spMkLst>
        </pc:spChg>
        <pc:spChg chg="add del mod">
          <ac:chgData name="Annemarija Apine (LV)" userId="546f5c59-3b8d-47fd-b739-a8fadc631053" providerId="ADAL" clId="{34473802-5904-426F-ADDF-0D0D1B44876C}" dt="2024-03-01T15:56:22.620" v="7040"/>
          <ac:spMkLst>
            <pc:docMk/>
            <pc:sldMk cId="3488828484" sldId="946"/>
            <ac:spMk id="80" creationId="{BE559B56-CEE6-039F-C415-107859B17CF2}"/>
          </ac:spMkLst>
        </pc:spChg>
        <pc:spChg chg="add del mod">
          <ac:chgData name="Annemarija Apine (LV)" userId="546f5c59-3b8d-47fd-b739-a8fadc631053" providerId="ADAL" clId="{34473802-5904-426F-ADDF-0D0D1B44876C}" dt="2024-03-01T15:56:22.620" v="7040"/>
          <ac:spMkLst>
            <pc:docMk/>
            <pc:sldMk cId="3488828484" sldId="946"/>
            <ac:spMk id="81" creationId="{0F2956E1-EF5A-EB8C-C16A-1D5C5694C5E6}"/>
          </ac:spMkLst>
        </pc:spChg>
        <pc:spChg chg="add del mod">
          <ac:chgData name="Annemarija Apine (LV)" userId="546f5c59-3b8d-47fd-b739-a8fadc631053" providerId="ADAL" clId="{34473802-5904-426F-ADDF-0D0D1B44876C}" dt="2024-03-01T15:56:22.620" v="7040"/>
          <ac:spMkLst>
            <pc:docMk/>
            <pc:sldMk cId="3488828484" sldId="946"/>
            <ac:spMk id="82" creationId="{5F003072-0A84-3A40-2FC5-5138724EE6EA}"/>
          </ac:spMkLst>
        </pc:spChg>
        <pc:spChg chg="add del mod">
          <ac:chgData name="Annemarija Apine (LV)" userId="546f5c59-3b8d-47fd-b739-a8fadc631053" providerId="ADAL" clId="{34473802-5904-426F-ADDF-0D0D1B44876C}" dt="2024-03-01T15:56:22.620" v="7040"/>
          <ac:spMkLst>
            <pc:docMk/>
            <pc:sldMk cId="3488828484" sldId="946"/>
            <ac:spMk id="84" creationId="{760ABCF7-5BBF-DD84-81C4-B5EA36A25470}"/>
          </ac:spMkLst>
        </pc:spChg>
        <pc:spChg chg="add del mod">
          <ac:chgData name="Annemarija Apine (LV)" userId="546f5c59-3b8d-47fd-b739-a8fadc631053" providerId="ADAL" clId="{34473802-5904-426F-ADDF-0D0D1B44876C}" dt="2024-03-01T15:56:22.620" v="7040"/>
          <ac:spMkLst>
            <pc:docMk/>
            <pc:sldMk cId="3488828484" sldId="946"/>
            <ac:spMk id="85" creationId="{E833AAEA-58FD-A6CE-E25A-E34FD10EB8E8}"/>
          </ac:spMkLst>
        </pc:spChg>
        <pc:spChg chg="add del mod">
          <ac:chgData name="Annemarija Apine (LV)" userId="546f5c59-3b8d-47fd-b739-a8fadc631053" providerId="ADAL" clId="{34473802-5904-426F-ADDF-0D0D1B44876C}" dt="2024-03-01T15:56:22.620" v="7040"/>
          <ac:spMkLst>
            <pc:docMk/>
            <pc:sldMk cId="3488828484" sldId="946"/>
            <ac:spMk id="86" creationId="{C9155987-1CDE-4FC0-B180-3E143AB46F97}"/>
          </ac:spMkLst>
        </pc:spChg>
        <pc:spChg chg="add del mod">
          <ac:chgData name="Annemarija Apine (LV)" userId="546f5c59-3b8d-47fd-b739-a8fadc631053" providerId="ADAL" clId="{34473802-5904-426F-ADDF-0D0D1B44876C}" dt="2024-03-01T15:56:22.620" v="7040"/>
          <ac:spMkLst>
            <pc:docMk/>
            <pc:sldMk cId="3488828484" sldId="946"/>
            <ac:spMk id="87" creationId="{A5FD6447-4B60-7E96-D721-6841D6A4E575}"/>
          </ac:spMkLst>
        </pc:spChg>
        <pc:spChg chg="add del mod">
          <ac:chgData name="Annemarija Apine (LV)" userId="546f5c59-3b8d-47fd-b739-a8fadc631053" providerId="ADAL" clId="{34473802-5904-426F-ADDF-0D0D1B44876C}" dt="2024-03-01T15:56:22.620" v="7040"/>
          <ac:spMkLst>
            <pc:docMk/>
            <pc:sldMk cId="3488828484" sldId="946"/>
            <ac:spMk id="88" creationId="{CC86E9B7-80D4-C388-3DDF-1CF825225844}"/>
          </ac:spMkLst>
        </pc:spChg>
        <pc:spChg chg="add del mod">
          <ac:chgData name="Annemarija Apine (LV)" userId="546f5c59-3b8d-47fd-b739-a8fadc631053" providerId="ADAL" clId="{34473802-5904-426F-ADDF-0D0D1B44876C}" dt="2024-03-01T15:56:22.620" v="7040"/>
          <ac:spMkLst>
            <pc:docMk/>
            <pc:sldMk cId="3488828484" sldId="946"/>
            <ac:spMk id="89" creationId="{88F0AE4F-9C84-35AC-272E-8C3BD6BF0D53}"/>
          </ac:spMkLst>
        </pc:spChg>
        <pc:spChg chg="add del mod">
          <ac:chgData name="Annemarija Apine (LV)" userId="546f5c59-3b8d-47fd-b739-a8fadc631053" providerId="ADAL" clId="{34473802-5904-426F-ADDF-0D0D1B44876C}" dt="2024-03-01T15:56:22.620" v="7040"/>
          <ac:spMkLst>
            <pc:docMk/>
            <pc:sldMk cId="3488828484" sldId="946"/>
            <ac:spMk id="90" creationId="{C501C847-B68E-7924-FB40-717A70044C88}"/>
          </ac:spMkLst>
        </pc:spChg>
        <pc:spChg chg="add del mod">
          <ac:chgData name="Annemarija Apine (LV)" userId="546f5c59-3b8d-47fd-b739-a8fadc631053" providerId="ADAL" clId="{34473802-5904-426F-ADDF-0D0D1B44876C}" dt="2024-03-01T15:56:22.620" v="7040"/>
          <ac:spMkLst>
            <pc:docMk/>
            <pc:sldMk cId="3488828484" sldId="946"/>
            <ac:spMk id="91" creationId="{C7D28287-6F94-4FAB-2F38-A5A5A3D5A10F}"/>
          </ac:spMkLst>
        </pc:spChg>
        <pc:spChg chg="add del mod">
          <ac:chgData name="Annemarija Apine (LV)" userId="546f5c59-3b8d-47fd-b739-a8fadc631053" providerId="ADAL" clId="{34473802-5904-426F-ADDF-0D0D1B44876C}" dt="2024-03-01T15:56:22.620" v="7040"/>
          <ac:spMkLst>
            <pc:docMk/>
            <pc:sldMk cId="3488828484" sldId="946"/>
            <ac:spMk id="92" creationId="{8396264C-2342-1C71-E7BE-C4C0D7615710}"/>
          </ac:spMkLst>
        </pc:spChg>
        <pc:spChg chg="add mod">
          <ac:chgData name="Annemarija Apine (LV)" userId="546f5c59-3b8d-47fd-b739-a8fadc631053" providerId="ADAL" clId="{34473802-5904-426F-ADDF-0D0D1B44876C}" dt="2024-03-01T16:00:49.063" v="7247" actId="14100"/>
          <ac:spMkLst>
            <pc:docMk/>
            <pc:sldMk cId="3488828484" sldId="946"/>
            <ac:spMk id="93" creationId="{5A55EC81-0AD5-CE05-4AAF-6599399D9BD3}"/>
          </ac:spMkLst>
        </pc:spChg>
        <pc:spChg chg="add mod">
          <ac:chgData name="Annemarija Apine (LV)" userId="546f5c59-3b8d-47fd-b739-a8fadc631053" providerId="ADAL" clId="{34473802-5904-426F-ADDF-0D0D1B44876C}" dt="2024-03-01T16:00:45.735" v="7246" actId="1076"/>
          <ac:spMkLst>
            <pc:docMk/>
            <pc:sldMk cId="3488828484" sldId="946"/>
            <ac:spMk id="94" creationId="{2945AFC3-C832-6045-1DDE-A189FFBEDD95}"/>
          </ac:spMkLst>
        </pc:spChg>
        <pc:spChg chg="add mod">
          <ac:chgData name="Annemarija Apine (LV)" userId="546f5c59-3b8d-47fd-b739-a8fadc631053" providerId="ADAL" clId="{34473802-5904-426F-ADDF-0D0D1B44876C}" dt="2024-03-01T15:57:13.292" v="7049" actId="1076"/>
          <ac:spMkLst>
            <pc:docMk/>
            <pc:sldMk cId="3488828484" sldId="946"/>
            <ac:spMk id="96" creationId="{2A913932-8BE1-F1EB-2C97-BB1A5EF0C629}"/>
          </ac:spMkLst>
        </pc:spChg>
        <pc:spChg chg="add del mod">
          <ac:chgData name="Annemarija Apine (LV)" userId="546f5c59-3b8d-47fd-b739-a8fadc631053" providerId="ADAL" clId="{34473802-5904-426F-ADDF-0D0D1B44876C}" dt="2024-03-01T16:00:57.176" v="7251" actId="22"/>
          <ac:spMkLst>
            <pc:docMk/>
            <pc:sldMk cId="3488828484" sldId="946"/>
            <ac:spMk id="98" creationId="{4C618111-C0B3-C2CC-EA6E-7219392D4C90}"/>
          </ac:spMkLst>
        </pc:spChg>
        <pc:spChg chg="add del mod">
          <ac:chgData name="Annemarija Apine (LV)" userId="546f5c59-3b8d-47fd-b739-a8fadc631053" providerId="ADAL" clId="{34473802-5904-426F-ADDF-0D0D1B44876C}" dt="2024-03-01T16:01:01.205" v="7253"/>
          <ac:spMkLst>
            <pc:docMk/>
            <pc:sldMk cId="3488828484" sldId="946"/>
            <ac:spMk id="99" creationId="{4B6053F6-F872-7BB6-0E22-3F49181F71F7}"/>
          </ac:spMkLst>
        </pc:spChg>
        <pc:spChg chg="del mod">
          <ac:chgData name="Annemarija Apine (LV)" userId="546f5c59-3b8d-47fd-b739-a8fadc631053" providerId="ADAL" clId="{34473802-5904-426F-ADDF-0D0D1B44876C}" dt="2024-03-01T15:56:51.039" v="7041" actId="478"/>
          <ac:spMkLst>
            <pc:docMk/>
            <pc:sldMk cId="3488828484" sldId="946"/>
            <ac:spMk id="100" creationId="{6196419E-02BA-D21D-1546-F1EC7C2A2D38}"/>
          </ac:spMkLst>
        </pc:spChg>
        <pc:spChg chg="del mod">
          <ac:chgData name="Annemarija Apine (LV)" userId="546f5c59-3b8d-47fd-b739-a8fadc631053" providerId="ADAL" clId="{34473802-5904-426F-ADDF-0D0D1B44876C}" dt="2024-03-01T15:56:51.039" v="7041" actId="478"/>
          <ac:spMkLst>
            <pc:docMk/>
            <pc:sldMk cId="3488828484" sldId="946"/>
            <ac:spMk id="101" creationId="{9ECA4B5E-E4A7-485E-4742-A7A24FB938CD}"/>
          </ac:spMkLst>
        </pc:spChg>
        <pc:spChg chg="del mod">
          <ac:chgData name="Annemarija Apine (LV)" userId="546f5c59-3b8d-47fd-b739-a8fadc631053" providerId="ADAL" clId="{34473802-5904-426F-ADDF-0D0D1B44876C}" dt="2024-03-01T15:56:51.039" v="7041" actId="478"/>
          <ac:spMkLst>
            <pc:docMk/>
            <pc:sldMk cId="3488828484" sldId="946"/>
            <ac:spMk id="102" creationId="{6C2839D0-72C0-7347-1A1F-A4C976165D3B}"/>
          </ac:spMkLst>
        </pc:spChg>
        <pc:spChg chg="del mod">
          <ac:chgData name="Annemarija Apine (LV)" userId="546f5c59-3b8d-47fd-b739-a8fadc631053" providerId="ADAL" clId="{34473802-5904-426F-ADDF-0D0D1B44876C}" dt="2024-03-01T15:56:51.039" v="7041" actId="478"/>
          <ac:spMkLst>
            <pc:docMk/>
            <pc:sldMk cId="3488828484" sldId="946"/>
            <ac:spMk id="103" creationId="{20162A1E-1272-A65F-9743-08A1C56CDD8F}"/>
          </ac:spMkLst>
        </pc:spChg>
        <pc:spChg chg="del mod">
          <ac:chgData name="Annemarija Apine (LV)" userId="546f5c59-3b8d-47fd-b739-a8fadc631053" providerId="ADAL" clId="{34473802-5904-426F-ADDF-0D0D1B44876C}" dt="2024-03-01T15:56:51.039" v="7041" actId="478"/>
          <ac:spMkLst>
            <pc:docMk/>
            <pc:sldMk cId="3488828484" sldId="946"/>
            <ac:spMk id="104" creationId="{C489AEBB-7FB2-EC1A-2DC3-18B08D331418}"/>
          </ac:spMkLst>
        </pc:spChg>
        <pc:spChg chg="add mod">
          <ac:chgData name="Annemarija Apine (LV)" userId="546f5c59-3b8d-47fd-b739-a8fadc631053" providerId="ADAL" clId="{34473802-5904-426F-ADDF-0D0D1B44876C}" dt="2024-03-01T16:01:26.459" v="7271" actId="14100"/>
          <ac:spMkLst>
            <pc:docMk/>
            <pc:sldMk cId="3488828484" sldId="946"/>
            <ac:spMk id="105" creationId="{C73B42A3-EA68-B90F-A6C9-5F7FF93DD187}"/>
          </ac:spMkLst>
        </pc:spChg>
        <pc:spChg chg="del mod">
          <ac:chgData name="Annemarija Apine (LV)" userId="546f5c59-3b8d-47fd-b739-a8fadc631053" providerId="ADAL" clId="{34473802-5904-426F-ADDF-0D0D1B44876C}" dt="2024-03-01T15:56:51.039" v="7041" actId="478"/>
          <ac:spMkLst>
            <pc:docMk/>
            <pc:sldMk cId="3488828484" sldId="946"/>
            <ac:spMk id="107" creationId="{5E4C4BD5-129E-6AAF-672B-2CE5A9EA1809}"/>
          </ac:spMkLst>
        </pc:spChg>
        <pc:spChg chg="del mod">
          <ac:chgData name="Annemarija Apine (LV)" userId="546f5c59-3b8d-47fd-b739-a8fadc631053" providerId="ADAL" clId="{34473802-5904-426F-ADDF-0D0D1B44876C}" dt="2024-03-01T15:56:51.039" v="7041" actId="478"/>
          <ac:spMkLst>
            <pc:docMk/>
            <pc:sldMk cId="3488828484" sldId="946"/>
            <ac:spMk id="108" creationId="{374ED229-16EB-16FE-4EEB-6C75D32758A7}"/>
          </ac:spMkLst>
        </pc:spChg>
        <pc:cxnChg chg="del mod">
          <ac:chgData name="Annemarija Apine (LV)" userId="546f5c59-3b8d-47fd-b739-a8fadc631053" providerId="ADAL" clId="{34473802-5904-426F-ADDF-0D0D1B44876C}" dt="2024-03-01T15:56:51.039" v="7041" actId="478"/>
          <ac:cxnSpMkLst>
            <pc:docMk/>
            <pc:sldMk cId="3488828484" sldId="946"/>
            <ac:cxnSpMk id="6" creationId="{B3733624-6466-BD41-3C49-71F64E87C523}"/>
          </ac:cxnSpMkLst>
        </pc:cxnChg>
        <pc:cxnChg chg="del mod">
          <ac:chgData name="Annemarija Apine (LV)" userId="546f5c59-3b8d-47fd-b739-a8fadc631053" providerId="ADAL" clId="{34473802-5904-426F-ADDF-0D0D1B44876C}" dt="2024-03-01T15:56:51.039" v="7041" actId="478"/>
          <ac:cxnSpMkLst>
            <pc:docMk/>
            <pc:sldMk cId="3488828484" sldId="946"/>
            <ac:cxnSpMk id="7" creationId="{5A2159BA-60F1-B7B5-DA22-2E5D2C4A8574}"/>
          </ac:cxnSpMkLst>
        </pc:cxnChg>
        <pc:cxnChg chg="del mod">
          <ac:chgData name="Annemarija Apine (LV)" userId="546f5c59-3b8d-47fd-b739-a8fadc631053" providerId="ADAL" clId="{34473802-5904-426F-ADDF-0D0D1B44876C}" dt="2024-03-01T15:56:51.039" v="7041" actId="478"/>
          <ac:cxnSpMkLst>
            <pc:docMk/>
            <pc:sldMk cId="3488828484" sldId="946"/>
            <ac:cxnSpMk id="9" creationId="{CBCFB46D-F848-5D86-81ED-08C2DDBD6018}"/>
          </ac:cxnSpMkLst>
        </pc:cxnChg>
        <pc:cxnChg chg="add del mod">
          <ac:chgData name="Annemarija Apine (LV)" userId="546f5c59-3b8d-47fd-b739-a8fadc631053" providerId="ADAL" clId="{34473802-5904-426F-ADDF-0D0D1B44876C}" dt="2024-03-01T15:56:20.432" v="7038"/>
          <ac:cxnSpMkLst>
            <pc:docMk/>
            <pc:sldMk cId="3488828484" sldId="946"/>
            <ac:cxnSpMk id="10" creationId="{B35BFB0D-2F30-05E0-31CE-FE2BE79BA95F}"/>
          </ac:cxnSpMkLst>
        </pc:cxnChg>
        <pc:cxnChg chg="del mod">
          <ac:chgData name="Annemarija Apine (LV)" userId="546f5c59-3b8d-47fd-b739-a8fadc631053" providerId="ADAL" clId="{34473802-5904-426F-ADDF-0D0D1B44876C}" dt="2024-03-01T15:56:51.039" v="7041" actId="478"/>
          <ac:cxnSpMkLst>
            <pc:docMk/>
            <pc:sldMk cId="3488828484" sldId="946"/>
            <ac:cxnSpMk id="11" creationId="{A04A74A1-0026-74F8-2A50-1E9075544CF3}"/>
          </ac:cxnSpMkLst>
        </pc:cxnChg>
        <pc:cxnChg chg="del mod">
          <ac:chgData name="Annemarija Apine (LV)" userId="546f5c59-3b8d-47fd-b739-a8fadc631053" providerId="ADAL" clId="{34473802-5904-426F-ADDF-0D0D1B44876C}" dt="2024-03-01T15:56:51.039" v="7041" actId="478"/>
          <ac:cxnSpMkLst>
            <pc:docMk/>
            <pc:sldMk cId="3488828484" sldId="946"/>
            <ac:cxnSpMk id="13" creationId="{CB152EF5-0E28-D564-BA70-371799026C17}"/>
          </ac:cxnSpMkLst>
        </pc:cxnChg>
        <pc:cxnChg chg="del mod">
          <ac:chgData name="Annemarija Apine (LV)" userId="546f5c59-3b8d-47fd-b739-a8fadc631053" providerId="ADAL" clId="{34473802-5904-426F-ADDF-0D0D1B44876C}" dt="2024-03-01T15:56:51.039" v="7041" actId="478"/>
          <ac:cxnSpMkLst>
            <pc:docMk/>
            <pc:sldMk cId="3488828484" sldId="946"/>
            <ac:cxnSpMk id="14" creationId="{FEF121C9-BA2C-579A-87E4-3935103FF4BC}"/>
          </ac:cxnSpMkLst>
        </pc:cxnChg>
        <pc:cxnChg chg="del mod">
          <ac:chgData name="Annemarija Apine (LV)" userId="546f5c59-3b8d-47fd-b739-a8fadc631053" providerId="ADAL" clId="{34473802-5904-426F-ADDF-0D0D1B44876C}" dt="2024-03-01T15:56:51.039" v="7041" actId="478"/>
          <ac:cxnSpMkLst>
            <pc:docMk/>
            <pc:sldMk cId="3488828484" sldId="946"/>
            <ac:cxnSpMk id="15" creationId="{3DE31210-26C3-2A63-15ED-FE32524A997D}"/>
          </ac:cxnSpMkLst>
        </pc:cxnChg>
        <pc:cxnChg chg="del mod">
          <ac:chgData name="Annemarija Apine (LV)" userId="546f5c59-3b8d-47fd-b739-a8fadc631053" providerId="ADAL" clId="{34473802-5904-426F-ADDF-0D0D1B44876C}" dt="2024-03-01T15:56:51.039" v="7041" actId="478"/>
          <ac:cxnSpMkLst>
            <pc:docMk/>
            <pc:sldMk cId="3488828484" sldId="946"/>
            <ac:cxnSpMk id="20" creationId="{2864A4FB-5A6B-6282-1ED3-79348932303D}"/>
          </ac:cxnSpMkLst>
        </pc:cxnChg>
        <pc:cxnChg chg="add del mod">
          <ac:chgData name="Annemarija Apine (LV)" userId="546f5c59-3b8d-47fd-b739-a8fadc631053" providerId="ADAL" clId="{34473802-5904-426F-ADDF-0D0D1B44876C}" dt="2024-03-01T15:56:22.620" v="7040"/>
          <ac:cxnSpMkLst>
            <pc:docMk/>
            <pc:sldMk cId="3488828484" sldId="946"/>
            <ac:cxnSpMk id="69" creationId="{9541F1B0-69E4-6DB8-58E5-F9A4F1DE7716}"/>
          </ac:cxnSpMkLst>
        </pc:cxnChg>
        <pc:cxnChg chg="add del mod">
          <ac:chgData name="Annemarija Apine (LV)" userId="546f5c59-3b8d-47fd-b739-a8fadc631053" providerId="ADAL" clId="{34473802-5904-426F-ADDF-0D0D1B44876C}" dt="2024-03-01T15:56:22.620" v="7040"/>
          <ac:cxnSpMkLst>
            <pc:docMk/>
            <pc:sldMk cId="3488828484" sldId="946"/>
            <ac:cxnSpMk id="71" creationId="{C8BDAE4A-C572-2DF9-9DAA-563EE5119D67}"/>
          </ac:cxnSpMkLst>
        </pc:cxnChg>
        <pc:cxnChg chg="add del mod">
          <ac:chgData name="Annemarija Apine (LV)" userId="546f5c59-3b8d-47fd-b739-a8fadc631053" providerId="ADAL" clId="{34473802-5904-426F-ADDF-0D0D1B44876C}" dt="2024-03-01T15:56:22.620" v="7040"/>
          <ac:cxnSpMkLst>
            <pc:docMk/>
            <pc:sldMk cId="3488828484" sldId="946"/>
            <ac:cxnSpMk id="72" creationId="{13BDCDEC-94D4-C8CE-8EBB-DBA633F8F5C5}"/>
          </ac:cxnSpMkLst>
        </pc:cxnChg>
        <pc:cxnChg chg="add del mod">
          <ac:chgData name="Annemarija Apine (LV)" userId="546f5c59-3b8d-47fd-b739-a8fadc631053" providerId="ADAL" clId="{34473802-5904-426F-ADDF-0D0D1B44876C}" dt="2024-03-01T15:56:22.620" v="7040"/>
          <ac:cxnSpMkLst>
            <pc:docMk/>
            <pc:sldMk cId="3488828484" sldId="946"/>
            <ac:cxnSpMk id="74" creationId="{AF4D4AC2-D795-19AF-081E-5B7D82E2B506}"/>
          </ac:cxnSpMkLst>
        </pc:cxnChg>
        <pc:cxnChg chg="add del mod">
          <ac:chgData name="Annemarija Apine (LV)" userId="546f5c59-3b8d-47fd-b739-a8fadc631053" providerId="ADAL" clId="{34473802-5904-426F-ADDF-0D0D1B44876C}" dt="2024-03-01T15:56:22.620" v="7040"/>
          <ac:cxnSpMkLst>
            <pc:docMk/>
            <pc:sldMk cId="3488828484" sldId="946"/>
            <ac:cxnSpMk id="75" creationId="{6BE299ED-784A-0E18-1E9F-1B6E22618E95}"/>
          </ac:cxnSpMkLst>
        </pc:cxnChg>
        <pc:cxnChg chg="add del mod">
          <ac:chgData name="Annemarija Apine (LV)" userId="546f5c59-3b8d-47fd-b739-a8fadc631053" providerId="ADAL" clId="{34473802-5904-426F-ADDF-0D0D1B44876C}" dt="2024-03-01T15:56:22.620" v="7040"/>
          <ac:cxnSpMkLst>
            <pc:docMk/>
            <pc:sldMk cId="3488828484" sldId="946"/>
            <ac:cxnSpMk id="77" creationId="{F2F39287-407A-51A3-9C2C-D3F1CB5F5427}"/>
          </ac:cxnSpMkLst>
        </pc:cxnChg>
        <pc:cxnChg chg="add del mod">
          <ac:chgData name="Annemarija Apine (LV)" userId="546f5c59-3b8d-47fd-b739-a8fadc631053" providerId="ADAL" clId="{34473802-5904-426F-ADDF-0D0D1B44876C}" dt="2024-03-01T15:56:22.620" v="7040"/>
          <ac:cxnSpMkLst>
            <pc:docMk/>
            <pc:sldMk cId="3488828484" sldId="946"/>
            <ac:cxnSpMk id="78" creationId="{35ADA99C-62A6-A99C-5F9C-EF0CDB362E24}"/>
          </ac:cxnSpMkLst>
        </pc:cxnChg>
        <pc:cxnChg chg="add del mod">
          <ac:chgData name="Annemarija Apine (LV)" userId="546f5c59-3b8d-47fd-b739-a8fadc631053" providerId="ADAL" clId="{34473802-5904-426F-ADDF-0D0D1B44876C}" dt="2024-03-01T15:56:22.620" v="7040"/>
          <ac:cxnSpMkLst>
            <pc:docMk/>
            <pc:sldMk cId="3488828484" sldId="946"/>
            <ac:cxnSpMk id="83" creationId="{53014058-E086-7B65-B3D2-26C9A3273218}"/>
          </ac:cxnSpMkLst>
        </pc:cxnChg>
        <pc:cxnChg chg="add mod">
          <ac:chgData name="Annemarija Apine (LV)" userId="546f5c59-3b8d-47fd-b739-a8fadc631053" providerId="ADAL" clId="{34473802-5904-426F-ADDF-0D0D1B44876C}" dt="2024-03-01T15:57:13.292" v="7049" actId="1076"/>
          <ac:cxnSpMkLst>
            <pc:docMk/>
            <pc:sldMk cId="3488828484" sldId="946"/>
            <ac:cxnSpMk id="95" creationId="{D4EEEA95-3B5D-59D7-CC7D-E49C940EDFA8}"/>
          </ac:cxnSpMkLst>
        </pc:cxn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34473802-5904-426F-ADDF-0D0D1B44876C}" dt="2024-03-10T23:51:53.023" v="10058"/>
              <pc2:cmMkLst xmlns:pc2="http://schemas.microsoft.com/office/powerpoint/2019/9/main/command">
                <pc:docMk/>
                <pc:sldMk cId="3488828484" sldId="946"/>
                <pc2:cmMk id="{AC23C74C-3720-4878-B4F8-7C07253CC342}"/>
              </pc2:cmMkLst>
            </pc226:cmChg>
            <pc226:cmChg xmlns:pc226="http://schemas.microsoft.com/office/powerpoint/2022/06/main/command" chg="add">
              <pc226:chgData name="Annemarija Apine (LV)" userId="546f5c59-3b8d-47fd-b739-a8fadc631053" providerId="ADAL" clId="{34473802-5904-426F-ADDF-0D0D1B44876C}" dt="2024-03-01T16:01:45.963" v="7275"/>
              <pc2:cmMkLst xmlns:pc2="http://schemas.microsoft.com/office/powerpoint/2019/9/main/command">
                <pc:docMk/>
                <pc:sldMk cId="3488828484" sldId="946"/>
                <pc2:cmMk id="{9B0D3FA9-9E12-42E0-8291-A58BCC6F688A}"/>
              </pc2:cmMkLst>
            </pc226:cmChg>
          </p:ext>
        </pc:extLst>
      </pc:sldChg>
      <pc:sldChg chg="modSp add mod modCm modNotesTx">
        <pc:chgData name="Annemarija Apine (LV)" userId="546f5c59-3b8d-47fd-b739-a8fadc631053" providerId="ADAL" clId="{34473802-5904-426F-ADDF-0D0D1B44876C}" dt="2024-03-04T12:37:13.968" v="8776" actId="2056"/>
        <pc:sldMkLst>
          <pc:docMk/>
          <pc:sldMk cId="3911462717" sldId="947"/>
        </pc:sldMkLst>
        <pc:spChg chg="mod">
          <ac:chgData name="Annemarija Apine (LV)" userId="546f5c59-3b8d-47fd-b739-a8fadc631053" providerId="ADAL" clId="{34473802-5904-426F-ADDF-0D0D1B44876C}" dt="2024-03-01T15:55:39.617" v="7001" actId="14100"/>
          <ac:spMkLst>
            <pc:docMk/>
            <pc:sldMk cId="3911462717" sldId="947"/>
            <ac:spMk id="50" creationId="{0130363F-7CE7-F3D0-4AB5-F295FAC2DCBC}"/>
          </ac:spMkLst>
        </pc:spChg>
        <pc:spChg chg="mod">
          <ac:chgData name="Annemarija Apine (LV)" userId="546f5c59-3b8d-47fd-b739-a8fadc631053" providerId="ADAL" clId="{34473802-5904-426F-ADDF-0D0D1B44876C}" dt="2024-03-01T15:55:36.005" v="7000" actId="14100"/>
          <ac:spMkLst>
            <pc:docMk/>
            <pc:sldMk cId="3911462717" sldId="947"/>
            <ac:spMk id="51" creationId="{AFEB1935-0849-FFDB-14A2-768E555E2F79}"/>
          </ac:spMkLst>
        </pc:spChg>
        <pc:extLst>
          <p:ext xmlns:p="http://schemas.openxmlformats.org/presentationml/2006/main" uri="{D6D511B9-2390-475A-947B-AFAB55BFBCF1}">
            <pc226:cmChg xmlns:pc226="http://schemas.microsoft.com/office/powerpoint/2022/06/main/command" chg="mod">
              <pc226:chgData name="Annemarija Apine (LV)" userId="546f5c59-3b8d-47fd-b739-a8fadc631053" providerId="ADAL" clId="{34473802-5904-426F-ADDF-0D0D1B44876C}" dt="2024-03-04T12:37:13.968" v="8776" actId="2056"/>
              <pc2:cmMkLst xmlns:pc2="http://schemas.microsoft.com/office/powerpoint/2019/9/main/command">
                <pc:docMk/>
                <pc:sldMk cId="3911462717" sldId="947"/>
                <pc2:cmMk id="{1428E94F-96AA-42F8-9E12-E7A740490D75}"/>
              </pc2:cmMkLst>
            </pc226:cmChg>
          </p:ext>
        </pc:extLst>
      </pc:sldChg>
      <pc:sldChg chg="addSp delSp modSp add mod modNotesTx">
        <pc:chgData name="Annemarija Apine (LV)" userId="546f5c59-3b8d-47fd-b739-a8fadc631053" providerId="ADAL" clId="{34473802-5904-426F-ADDF-0D0D1B44876C}" dt="2024-03-04T09:21:31.858" v="8016" actId="20577"/>
        <pc:sldMkLst>
          <pc:docMk/>
          <pc:sldMk cId="2283029669" sldId="948"/>
        </pc:sldMkLst>
        <pc:spChg chg="del">
          <ac:chgData name="Annemarija Apine (LV)" userId="546f5c59-3b8d-47fd-b739-a8fadc631053" providerId="ADAL" clId="{34473802-5904-426F-ADDF-0D0D1B44876C}" dt="2024-03-04T09:19:08.409" v="7896" actId="478"/>
          <ac:spMkLst>
            <pc:docMk/>
            <pc:sldMk cId="2283029669" sldId="948"/>
            <ac:spMk id="3" creationId="{F4CCF02E-F3C4-C376-8F56-61BD85A2E74B}"/>
          </ac:spMkLst>
        </pc:spChg>
        <pc:spChg chg="add del mod">
          <ac:chgData name="Annemarija Apine (LV)" userId="546f5c59-3b8d-47fd-b739-a8fadc631053" providerId="ADAL" clId="{34473802-5904-426F-ADDF-0D0D1B44876C}" dt="2024-03-04T09:19:11.912" v="7899" actId="478"/>
          <ac:spMkLst>
            <pc:docMk/>
            <pc:sldMk cId="2283029669" sldId="948"/>
            <ac:spMk id="8" creationId="{AFE82EF6-BF43-A2C7-937E-40653CB3DC55}"/>
          </ac:spMkLst>
        </pc:spChg>
        <pc:spChg chg="add del mod">
          <ac:chgData name="Annemarija Apine (LV)" userId="546f5c59-3b8d-47fd-b739-a8fadc631053" providerId="ADAL" clId="{34473802-5904-426F-ADDF-0D0D1B44876C}" dt="2024-03-04T09:19:10.840" v="7898"/>
          <ac:spMkLst>
            <pc:docMk/>
            <pc:sldMk cId="2283029669" sldId="948"/>
            <ac:spMk id="10" creationId="{BC2D5447-3523-800C-7AD7-0AD0247C1A54}"/>
          </ac:spMkLst>
        </pc:spChg>
        <pc:spChg chg="add mod">
          <ac:chgData name="Annemarija Apine (LV)" userId="546f5c59-3b8d-47fd-b739-a8fadc631053" providerId="ADAL" clId="{34473802-5904-426F-ADDF-0D0D1B44876C}" dt="2024-03-04T09:19:12.169" v="7900"/>
          <ac:spMkLst>
            <pc:docMk/>
            <pc:sldMk cId="2283029669" sldId="948"/>
            <ac:spMk id="16" creationId="{B71E2857-B3F3-7914-9BA0-B8B78513021C}"/>
          </ac:spMkLst>
        </pc:spChg>
        <pc:spChg chg="mod">
          <ac:chgData name="Annemarija Apine (LV)" userId="546f5c59-3b8d-47fd-b739-a8fadc631053" providerId="ADAL" clId="{34473802-5904-426F-ADDF-0D0D1B44876C}" dt="2024-03-01T15:58:55.603" v="7180" actId="14100"/>
          <ac:spMkLst>
            <pc:docMk/>
            <pc:sldMk cId="2283029669" sldId="948"/>
            <ac:spMk id="50" creationId="{0130363F-7CE7-F3D0-4AB5-F295FAC2DCBC}"/>
          </ac:spMkLst>
        </pc:spChg>
        <pc:spChg chg="mod">
          <ac:chgData name="Annemarija Apine (LV)" userId="546f5c59-3b8d-47fd-b739-a8fadc631053" providerId="ADAL" clId="{34473802-5904-426F-ADDF-0D0D1B44876C}" dt="2024-03-01T15:59:25.510" v="7209" actId="20577"/>
          <ac:spMkLst>
            <pc:docMk/>
            <pc:sldMk cId="2283029669" sldId="948"/>
            <ac:spMk id="51" creationId="{AFEB1935-0849-FFDB-14A2-768E555E2F79}"/>
          </ac:spMkLst>
        </pc:spChg>
      </pc:sldChg>
      <pc:sldChg chg="addSp modSp add mod modNotesTx">
        <pc:chgData name="Annemarija Apine (LV)" userId="546f5c59-3b8d-47fd-b739-a8fadc631053" providerId="ADAL" clId="{34473802-5904-426F-ADDF-0D0D1B44876C}" dt="2024-03-04T09:50:07.782" v="8549" actId="1076"/>
        <pc:sldMkLst>
          <pc:docMk/>
          <pc:sldMk cId="3348140347" sldId="949"/>
        </pc:sldMkLst>
        <pc:spChg chg="add mod">
          <ac:chgData name="Annemarija Apine (LV)" userId="546f5c59-3b8d-47fd-b739-a8fadc631053" providerId="ADAL" clId="{34473802-5904-426F-ADDF-0D0D1B44876C}" dt="2024-03-04T09:50:07.782" v="8549" actId="1076"/>
          <ac:spMkLst>
            <pc:docMk/>
            <pc:sldMk cId="3348140347" sldId="949"/>
            <ac:spMk id="2" creationId="{D4E26663-5B37-5DAA-CC19-B616D98179BA}"/>
          </ac:spMkLst>
        </pc:spChg>
        <pc:spChg chg="mod">
          <ac:chgData name="Annemarija Apine (LV)" userId="546f5c59-3b8d-47fd-b739-a8fadc631053" providerId="ADAL" clId="{34473802-5904-426F-ADDF-0D0D1B44876C}" dt="2024-03-01T16:15:28.950" v="7294" actId="20577"/>
          <ac:spMkLst>
            <pc:docMk/>
            <pc:sldMk cId="3348140347" sldId="949"/>
            <ac:spMk id="25" creationId="{2B261BF4-92C6-462D-AA95-793AE54DD688}"/>
          </ac:spMkLst>
        </pc:spChg>
        <pc:spChg chg="mod">
          <ac:chgData name="Annemarija Apine (LV)" userId="546f5c59-3b8d-47fd-b739-a8fadc631053" providerId="ADAL" clId="{34473802-5904-426F-ADDF-0D0D1B44876C}" dt="2024-03-01T16:02:33.087" v="7283" actId="14100"/>
          <ac:spMkLst>
            <pc:docMk/>
            <pc:sldMk cId="3348140347" sldId="949"/>
            <ac:spMk id="50" creationId="{0130363F-7CE7-F3D0-4AB5-F295FAC2DCBC}"/>
          </ac:spMkLst>
        </pc:spChg>
        <pc:spChg chg="mod">
          <ac:chgData name="Annemarija Apine (LV)" userId="546f5c59-3b8d-47fd-b739-a8fadc631053" providerId="ADAL" clId="{34473802-5904-426F-ADDF-0D0D1B44876C}" dt="2024-03-01T16:02:38.379" v="7284" actId="14100"/>
          <ac:spMkLst>
            <pc:docMk/>
            <pc:sldMk cId="3348140347" sldId="949"/>
            <ac:spMk id="51" creationId="{AFEB1935-0849-FFDB-14A2-768E555E2F79}"/>
          </ac:spMkLst>
        </pc:spChg>
      </pc:sldChg>
      <pc:sldChg chg="delSp modSp add mod ord addCm modCm modNotesTx">
        <pc:chgData name="Annemarija Apine (LV)" userId="546f5c59-3b8d-47fd-b739-a8fadc631053" providerId="ADAL" clId="{34473802-5904-426F-ADDF-0D0D1B44876C}" dt="2024-03-04T09:50:38.552" v="8555" actId="20577"/>
        <pc:sldMkLst>
          <pc:docMk/>
          <pc:sldMk cId="201777098" sldId="950"/>
        </pc:sldMkLst>
        <pc:spChg chg="mod">
          <ac:chgData name="Annemarija Apine (LV)" userId="546f5c59-3b8d-47fd-b739-a8fadc631053" providerId="ADAL" clId="{34473802-5904-426F-ADDF-0D0D1B44876C}" dt="2024-03-01T16:15:52.595" v="7316" actId="20577"/>
          <ac:spMkLst>
            <pc:docMk/>
            <pc:sldMk cId="201777098" sldId="950"/>
            <ac:spMk id="3" creationId="{F4CCF02E-F3C4-C376-8F56-61BD85A2E74B}"/>
          </ac:spMkLst>
        </pc:spChg>
        <pc:spChg chg="del">
          <ac:chgData name="Annemarija Apine (LV)" userId="546f5c59-3b8d-47fd-b739-a8fadc631053" providerId="ADAL" clId="{34473802-5904-426F-ADDF-0D0D1B44876C}" dt="2024-03-01T16:17:08.833" v="7333" actId="478"/>
          <ac:spMkLst>
            <pc:docMk/>
            <pc:sldMk cId="201777098" sldId="950"/>
            <ac:spMk id="25" creationId="{2B261BF4-92C6-462D-AA95-793AE54DD688}"/>
          </ac:spMkLst>
        </pc:spChg>
        <pc:spChg chg="del">
          <ac:chgData name="Annemarija Apine (LV)" userId="546f5c59-3b8d-47fd-b739-a8fadc631053" providerId="ADAL" clId="{34473802-5904-426F-ADDF-0D0D1B44876C}" dt="2024-03-01T16:17:08.833" v="7333" actId="478"/>
          <ac:spMkLst>
            <pc:docMk/>
            <pc:sldMk cId="201777098" sldId="950"/>
            <ac:spMk id="27" creationId="{72D802D4-B169-1594-D931-40179675E33A}"/>
          </ac:spMkLst>
        </pc:spChg>
        <pc:spChg chg="del">
          <ac:chgData name="Annemarija Apine (LV)" userId="546f5c59-3b8d-47fd-b739-a8fadc631053" providerId="ADAL" clId="{34473802-5904-426F-ADDF-0D0D1B44876C}" dt="2024-03-01T16:17:08.833" v="7333" actId="478"/>
          <ac:spMkLst>
            <pc:docMk/>
            <pc:sldMk cId="201777098" sldId="950"/>
            <ac:spMk id="44" creationId="{37325A5C-F07F-2313-782A-18E3E98D15F0}"/>
          </ac:spMkLst>
        </pc:spChg>
        <pc:spChg chg="del">
          <ac:chgData name="Annemarija Apine (LV)" userId="546f5c59-3b8d-47fd-b739-a8fadc631053" providerId="ADAL" clId="{34473802-5904-426F-ADDF-0D0D1B44876C}" dt="2024-03-01T16:17:08.833" v="7333" actId="478"/>
          <ac:spMkLst>
            <pc:docMk/>
            <pc:sldMk cId="201777098" sldId="950"/>
            <ac:spMk id="45" creationId="{5A4A472A-422C-56F4-A0F5-AE422E82D144}"/>
          </ac:spMkLst>
        </pc:spChg>
        <pc:spChg chg="del">
          <ac:chgData name="Annemarija Apine (LV)" userId="546f5c59-3b8d-47fd-b739-a8fadc631053" providerId="ADAL" clId="{34473802-5904-426F-ADDF-0D0D1B44876C}" dt="2024-03-01T16:17:08.833" v="7333" actId="478"/>
          <ac:spMkLst>
            <pc:docMk/>
            <pc:sldMk cId="201777098" sldId="950"/>
            <ac:spMk id="49" creationId="{DED3BED4-139F-CB4F-0A7B-7B90211550F4}"/>
          </ac:spMkLst>
        </pc:spChg>
        <pc:spChg chg="mod">
          <ac:chgData name="Annemarija Apine (LV)" userId="546f5c59-3b8d-47fd-b739-a8fadc631053" providerId="ADAL" clId="{34473802-5904-426F-ADDF-0D0D1B44876C}" dt="2024-03-01T16:16:05.034" v="7320" actId="14100"/>
          <ac:spMkLst>
            <pc:docMk/>
            <pc:sldMk cId="201777098" sldId="950"/>
            <ac:spMk id="94" creationId="{2945AFC3-C832-6045-1DDE-A189FFBEDD95}"/>
          </ac:spMkLst>
        </pc:spChg>
        <pc:spChg chg="mod">
          <ac:chgData name="Annemarija Apine (LV)" userId="546f5c59-3b8d-47fd-b739-a8fadc631053" providerId="ADAL" clId="{34473802-5904-426F-ADDF-0D0D1B44876C}" dt="2024-03-04T09:50:32.371" v="8554" actId="113"/>
          <ac:spMkLst>
            <pc:docMk/>
            <pc:sldMk cId="201777098" sldId="950"/>
            <ac:spMk id="105" creationId="{C73B42A3-EA68-B90F-A6C9-5F7FF93DD187}"/>
          </ac:spMkLst>
        </pc:spChg>
        <pc:extLst>
          <p:ext xmlns:p="http://schemas.openxmlformats.org/presentationml/2006/main" uri="{D6D511B9-2390-475A-947B-AFAB55BFBCF1}">
            <pc226:cmChg xmlns:pc226="http://schemas.microsoft.com/office/powerpoint/2022/06/main/command" chg="add mod">
              <pc226:chgData name="Annemarija Apine (LV)" userId="546f5c59-3b8d-47fd-b739-a8fadc631053" providerId="ADAL" clId="{34473802-5904-426F-ADDF-0D0D1B44876C}" dt="2024-03-01T16:16:54.766" v="7332" actId="20577"/>
              <pc2:cmMkLst xmlns:pc2="http://schemas.microsoft.com/office/powerpoint/2019/9/main/command">
                <pc:docMk/>
                <pc:sldMk cId="201777098" sldId="950"/>
                <pc2:cmMk id="{1A5476BB-88AF-4870-A72B-D1F544EA1421}"/>
              </pc2:cmMkLst>
            </pc226:cmChg>
            <pc226:cmChg xmlns:pc226="http://schemas.microsoft.com/office/powerpoint/2022/06/main/command" chg="mod">
              <pc226:chgData name="Annemarija Apine (LV)" userId="546f5c59-3b8d-47fd-b739-a8fadc631053" providerId="ADAL" clId="{34473802-5904-426F-ADDF-0D0D1B44876C}" dt="2024-03-01T16:17:15.848" v="7334"/>
              <pc2:cmMkLst xmlns:pc2="http://schemas.microsoft.com/office/powerpoint/2019/9/main/command">
                <pc:docMk/>
                <pc:sldMk cId="201777098" sldId="950"/>
                <pc2:cmMk id="{5E0D50F5-D5CA-4BCD-9B39-6846677F7D43}"/>
              </pc2:cmMkLst>
            </pc226:cmChg>
          </p:ext>
        </pc:extLst>
      </pc:sldChg>
      <pc:sldChg chg="addSp modSp add mod modCm modNotesTx">
        <pc:chgData name="Annemarija Apine (LV)" userId="546f5c59-3b8d-47fd-b739-a8fadc631053" providerId="ADAL" clId="{34473802-5904-426F-ADDF-0D0D1B44876C}" dt="2024-03-04T09:51:01.827" v="8564" actId="113"/>
        <pc:sldMkLst>
          <pc:docMk/>
          <pc:sldMk cId="3919877977" sldId="951"/>
        </pc:sldMkLst>
        <pc:spChg chg="add mod">
          <ac:chgData name="Annemarija Apine (LV)" userId="546f5c59-3b8d-47fd-b739-a8fadc631053" providerId="ADAL" clId="{34473802-5904-426F-ADDF-0D0D1B44876C}" dt="2024-03-01T16:17:23.684" v="7340"/>
          <ac:spMkLst>
            <pc:docMk/>
            <pc:sldMk cId="3919877977" sldId="951"/>
            <ac:spMk id="2" creationId="{CF385B03-2F15-6430-B726-C2FB4A14829D}"/>
          </ac:spMkLst>
        </pc:spChg>
        <pc:spChg chg="mod">
          <ac:chgData name="Annemarija Apine (LV)" userId="546f5c59-3b8d-47fd-b739-a8fadc631053" providerId="ADAL" clId="{34473802-5904-426F-ADDF-0D0D1B44876C}" dt="2024-03-04T09:51:01.827" v="8564" actId="113"/>
          <ac:spMkLst>
            <pc:docMk/>
            <pc:sldMk cId="3919877977" sldId="951"/>
            <ac:spMk id="5" creationId="{72E4C008-5160-4BC9-7D87-A59459C11EBD}"/>
          </ac:spMkLst>
        </pc:spChg>
        <pc:spChg chg="mod">
          <ac:chgData name="Annemarija Apine (LV)" userId="546f5c59-3b8d-47fd-b739-a8fadc631053" providerId="ADAL" clId="{34473802-5904-426F-ADDF-0D0D1B44876C}" dt="2024-03-01T16:17:51.654" v="7349" actId="14100"/>
          <ac:spMkLst>
            <pc:docMk/>
            <pc:sldMk cId="3919877977" sldId="951"/>
            <ac:spMk id="50" creationId="{0130363F-7CE7-F3D0-4AB5-F295FAC2DCBC}"/>
          </ac:spMkLst>
        </pc:spChg>
        <pc:spChg chg="mod">
          <ac:chgData name="Annemarija Apine (LV)" userId="546f5c59-3b8d-47fd-b739-a8fadc631053" providerId="ADAL" clId="{34473802-5904-426F-ADDF-0D0D1B44876C}" dt="2024-03-01T16:17:54.163" v="7350" actId="14100"/>
          <ac:spMkLst>
            <pc:docMk/>
            <pc:sldMk cId="3919877977" sldId="951"/>
            <ac:spMk id="51" creationId="{AFEB1935-0849-FFDB-14A2-768E555E2F79}"/>
          </ac:spMkLst>
        </pc:spChg>
        <pc:extLst>
          <p:ext xmlns:p="http://schemas.openxmlformats.org/presentationml/2006/main" uri="{D6D511B9-2390-475A-947B-AFAB55BFBCF1}">
            <pc226:cmChg xmlns:pc226="http://schemas.microsoft.com/office/powerpoint/2022/06/main/command" chg="mod">
              <pc226:chgData name="Annemarija Apine (LV)" userId="546f5c59-3b8d-47fd-b739-a8fadc631053" providerId="ADAL" clId="{34473802-5904-426F-ADDF-0D0D1B44876C}" dt="2024-03-04T09:36:42.809" v="8320" actId="2056"/>
              <pc2:cmMkLst xmlns:pc2="http://schemas.microsoft.com/office/powerpoint/2019/9/main/command">
                <pc:docMk/>
                <pc:sldMk cId="3919877977" sldId="951"/>
                <pc2:cmMk id="{85CB2ACB-F07F-45B5-89ED-DD3C5C9375B3}"/>
              </pc2:cmMkLst>
            </pc226:cmChg>
          </p:ext>
        </pc:extLst>
      </pc:sldChg>
      <pc:sldChg chg="addSp delSp modSp new mod addCm">
        <pc:chgData name="Annemarija Apine (LV)" userId="546f5c59-3b8d-47fd-b739-a8fadc631053" providerId="ADAL" clId="{34473802-5904-426F-ADDF-0D0D1B44876C}" dt="2024-03-04T09:51:27.825" v="8571" actId="14100"/>
        <pc:sldMkLst>
          <pc:docMk/>
          <pc:sldMk cId="1713450018" sldId="952"/>
        </pc:sldMkLst>
        <pc:spChg chg="del">
          <ac:chgData name="Annemarija Apine (LV)" userId="546f5c59-3b8d-47fd-b739-a8fadc631053" providerId="ADAL" clId="{34473802-5904-426F-ADDF-0D0D1B44876C}" dt="2024-03-01T16:18:21.237" v="7353" actId="478"/>
          <ac:spMkLst>
            <pc:docMk/>
            <pc:sldMk cId="1713450018" sldId="952"/>
            <ac:spMk id="2" creationId="{FCF9A3DF-EA6E-D8DE-2F48-826E5CA7BE0C}"/>
          </ac:spMkLst>
        </pc:spChg>
        <pc:spChg chg="del">
          <ac:chgData name="Annemarija Apine (LV)" userId="546f5c59-3b8d-47fd-b739-a8fadc631053" providerId="ADAL" clId="{34473802-5904-426F-ADDF-0D0D1B44876C}" dt="2024-03-01T16:18:21.237" v="7353" actId="478"/>
          <ac:spMkLst>
            <pc:docMk/>
            <pc:sldMk cId="1713450018" sldId="952"/>
            <ac:spMk id="3" creationId="{63001FE4-7B88-0FCA-135D-1EB226BA4538}"/>
          </ac:spMkLst>
        </pc:spChg>
        <pc:spChg chg="del">
          <ac:chgData name="Annemarija Apine (LV)" userId="546f5c59-3b8d-47fd-b739-a8fadc631053" providerId="ADAL" clId="{34473802-5904-426F-ADDF-0D0D1B44876C}" dt="2024-03-01T16:18:21.237" v="7353" actId="478"/>
          <ac:spMkLst>
            <pc:docMk/>
            <pc:sldMk cId="1713450018" sldId="952"/>
            <ac:spMk id="4" creationId="{15EEFB7D-DCE3-D590-3EF8-5D7238FFEE50}"/>
          </ac:spMkLst>
        </pc:spChg>
        <pc:spChg chg="del">
          <ac:chgData name="Annemarija Apine (LV)" userId="546f5c59-3b8d-47fd-b739-a8fadc631053" providerId="ADAL" clId="{34473802-5904-426F-ADDF-0D0D1B44876C}" dt="2024-03-01T16:18:21.237" v="7353" actId="478"/>
          <ac:spMkLst>
            <pc:docMk/>
            <pc:sldMk cId="1713450018" sldId="952"/>
            <ac:spMk id="5" creationId="{EAA3B952-A2E0-015D-E642-865CDF8BEF65}"/>
          </ac:spMkLst>
        </pc:spChg>
        <pc:spChg chg="mod">
          <ac:chgData name="Annemarija Apine (LV)" userId="546f5c59-3b8d-47fd-b739-a8fadc631053" providerId="ADAL" clId="{34473802-5904-426F-ADDF-0D0D1B44876C}" dt="2024-03-01T16:18:31.781" v="7401" actId="20577"/>
          <ac:spMkLst>
            <pc:docMk/>
            <pc:sldMk cId="1713450018" sldId="952"/>
            <ac:spMk id="6" creationId="{38CA96A2-A01D-FA94-92E8-A765979AB49D}"/>
          </ac:spMkLst>
        </pc:spChg>
        <pc:spChg chg="del">
          <ac:chgData name="Annemarija Apine (LV)" userId="546f5c59-3b8d-47fd-b739-a8fadc631053" providerId="ADAL" clId="{34473802-5904-426F-ADDF-0D0D1B44876C}" dt="2024-03-01T16:18:21.237" v="7353" actId="478"/>
          <ac:spMkLst>
            <pc:docMk/>
            <pc:sldMk cId="1713450018" sldId="952"/>
            <ac:spMk id="8" creationId="{67E59979-CBC7-089F-C2E3-3524B9425893}"/>
          </ac:spMkLst>
        </pc:spChg>
        <pc:spChg chg="del">
          <ac:chgData name="Annemarija Apine (LV)" userId="546f5c59-3b8d-47fd-b739-a8fadc631053" providerId="ADAL" clId="{34473802-5904-426F-ADDF-0D0D1B44876C}" dt="2024-03-01T16:18:21.237" v="7353" actId="478"/>
          <ac:spMkLst>
            <pc:docMk/>
            <pc:sldMk cId="1713450018" sldId="952"/>
            <ac:spMk id="9" creationId="{9E508381-A66A-401E-57B2-98ECB4E5ED7C}"/>
          </ac:spMkLst>
        </pc:spChg>
        <pc:spChg chg="add mod">
          <ac:chgData name="Annemarija Apine (LV)" userId="546f5c59-3b8d-47fd-b739-a8fadc631053" providerId="ADAL" clId="{34473802-5904-426F-ADDF-0D0D1B44876C}" dt="2024-03-04T09:51:27.825" v="8571" actId="14100"/>
          <ac:spMkLst>
            <pc:docMk/>
            <pc:sldMk cId="1713450018" sldId="952"/>
            <ac:spMk id="11" creationId="{E0158CBF-80D1-8041-5978-AE6FC3BEB22F}"/>
          </ac:spMkLst>
        </pc:spChg>
        <pc:graphicFrameChg chg="add mod modGraphic">
          <ac:chgData name="Annemarija Apine (LV)" userId="546f5c59-3b8d-47fd-b739-a8fadc631053" providerId="ADAL" clId="{34473802-5904-426F-ADDF-0D0D1B44876C}" dt="2024-03-01T16:19:55.628" v="7423" actId="14734"/>
          <ac:graphicFrameMkLst>
            <pc:docMk/>
            <pc:sldMk cId="1713450018" sldId="952"/>
            <ac:graphicFrameMk id="10" creationId="{DD430830-1913-0D22-CCB5-64EB0C593545}"/>
          </ac:graphicFrameMkLst>
        </pc:graphicFrame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1T16:18:53.838" v="7402"/>
              <pc2:cmMkLst xmlns:pc2="http://schemas.microsoft.com/office/powerpoint/2019/9/main/command">
                <pc:docMk/>
                <pc:sldMk cId="1713450018" sldId="952"/>
                <pc2:cmMk id="{8A22812F-5AB0-4E9E-AD91-0EE4F777EC6D}"/>
              </pc2:cmMkLst>
            </pc226:cmChg>
          </p:ext>
        </pc:extLst>
      </pc:sldChg>
      <pc:sldChg chg="modSp add mod ord addCm modNotesTx">
        <pc:chgData name="Annemarija Apine (LV)" userId="546f5c59-3b8d-47fd-b739-a8fadc631053" providerId="ADAL" clId="{34473802-5904-426F-ADDF-0D0D1B44876C}" dt="2024-03-04T09:51:08.299" v="8566" actId="20577"/>
        <pc:sldMkLst>
          <pc:docMk/>
          <pc:sldMk cId="2937916867" sldId="953"/>
        </pc:sldMkLst>
        <pc:spChg chg="mod">
          <ac:chgData name="Annemarija Apine (LV)" userId="546f5c59-3b8d-47fd-b739-a8fadc631053" providerId="ADAL" clId="{34473802-5904-426F-ADDF-0D0D1B44876C}" dt="2024-03-01T16:20:31.838" v="7451" actId="20577"/>
          <ac:spMkLst>
            <pc:docMk/>
            <pc:sldMk cId="2937916867" sldId="953"/>
            <ac:spMk id="2" creationId="{00000000-0000-0000-0000-000000000000}"/>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1T16:20:46.159" v="7454"/>
              <pc2:cmMkLst xmlns:pc2="http://schemas.microsoft.com/office/powerpoint/2019/9/main/command">
                <pc:docMk/>
                <pc:sldMk cId="2937916867" sldId="953"/>
                <pc2:cmMk id="{C1EC82F6-EF9F-4CA6-8F57-9EF24A3D4FCA}"/>
              </pc2:cmMkLst>
            </pc226:cmChg>
          </p:ext>
        </pc:extLst>
      </pc:sldChg>
      <pc:sldChg chg="modSp mod modNotesTx">
        <pc:chgData name="Annemarija Apine (LV)" userId="546f5c59-3b8d-47fd-b739-a8fadc631053" providerId="ADAL" clId="{34473802-5904-426F-ADDF-0D0D1B44876C}" dt="2024-03-11T14:40:56.230" v="10275" actId="20577"/>
        <pc:sldMkLst>
          <pc:docMk/>
          <pc:sldMk cId="3292995886" sldId="954"/>
        </pc:sldMkLst>
        <pc:spChg chg="mod">
          <ac:chgData name="Annemarija Apine (LV)" userId="546f5c59-3b8d-47fd-b739-a8fadc631053" providerId="ADAL" clId="{34473802-5904-426F-ADDF-0D0D1B44876C}" dt="2024-03-11T14:40:56.230" v="10275" actId="20577"/>
          <ac:spMkLst>
            <pc:docMk/>
            <pc:sldMk cId="3292995886" sldId="954"/>
            <ac:spMk id="68" creationId="{512F80CF-595E-3A80-F495-3198099BF352}"/>
          </ac:spMkLst>
        </pc:spChg>
      </pc:sldChg>
      <pc:sldChg chg="del">
        <pc:chgData name="Annemarija Apine (LV)" userId="546f5c59-3b8d-47fd-b739-a8fadc631053" providerId="ADAL" clId="{34473802-5904-426F-ADDF-0D0D1B44876C}" dt="2024-03-11T14:42:35.454" v="10341" actId="2696"/>
        <pc:sldMkLst>
          <pc:docMk/>
          <pc:sldMk cId="1412199469" sldId="955"/>
        </pc:sldMkLst>
      </pc:sldChg>
      <pc:sldChg chg="new del">
        <pc:chgData name="Annemarija Apine (LV)" userId="546f5c59-3b8d-47fd-b739-a8fadc631053" providerId="ADAL" clId="{34473802-5904-426F-ADDF-0D0D1B44876C}" dt="2024-03-10T23:47:41.939" v="9945" actId="680"/>
        <pc:sldMkLst>
          <pc:docMk/>
          <pc:sldMk cId="2740497226" sldId="967"/>
        </pc:sldMkLst>
      </pc:sldChg>
    </pc:docChg>
  </pc:docChgLst>
  <pc:docChgLst>
    <pc:chgData name="Annemarija Apine (LV)" userId="546f5c59-3b8d-47fd-b739-a8fadc631053" providerId="ADAL" clId="{1E5FAF9F-4D85-464E-B064-C298814D6547}"/>
    <pc:docChg chg="undo custSel delSld modSld replTag">
      <pc:chgData name="Annemarija Apine (LV)" userId="546f5c59-3b8d-47fd-b739-a8fadc631053" providerId="ADAL" clId="{1E5FAF9F-4D85-464E-B064-C298814D6547}" dt="2024-03-12T12:46:01.221" v="1187"/>
      <pc:docMkLst>
        <pc:docMk/>
      </pc:docMkLst>
      <pc:sldChg chg="del">
        <pc:chgData name="Annemarija Apine (LV)" userId="546f5c59-3b8d-47fd-b739-a8fadc631053" providerId="ADAL" clId="{1E5FAF9F-4D85-464E-B064-C298814D6547}" dt="2024-03-11T21:54:49.959" v="98" actId="47"/>
        <pc:sldMkLst>
          <pc:docMk/>
          <pc:sldMk cId="714588004" sldId="277"/>
        </pc:sldMkLst>
      </pc:sldChg>
      <pc:sldChg chg="del">
        <pc:chgData name="Annemarija Apine (LV)" userId="546f5c59-3b8d-47fd-b739-a8fadc631053" providerId="ADAL" clId="{1E5FAF9F-4D85-464E-B064-C298814D6547}" dt="2024-03-11T21:54:49.959" v="98" actId="47"/>
        <pc:sldMkLst>
          <pc:docMk/>
          <pc:sldMk cId="0" sldId="309"/>
        </pc:sldMkLst>
      </pc:sldChg>
      <pc:sldChg chg="del">
        <pc:chgData name="Annemarija Apine (LV)" userId="546f5c59-3b8d-47fd-b739-a8fadc631053" providerId="ADAL" clId="{1E5FAF9F-4D85-464E-B064-C298814D6547}" dt="2024-03-11T21:54:49.959" v="98" actId="47"/>
        <pc:sldMkLst>
          <pc:docMk/>
          <pc:sldMk cId="0" sldId="310"/>
        </pc:sldMkLst>
      </pc:sldChg>
      <pc:sldChg chg="del">
        <pc:chgData name="Annemarija Apine (LV)" userId="546f5c59-3b8d-47fd-b739-a8fadc631053" providerId="ADAL" clId="{1E5FAF9F-4D85-464E-B064-C298814D6547}" dt="2024-03-11T21:54:49.959" v="98" actId="47"/>
        <pc:sldMkLst>
          <pc:docMk/>
          <pc:sldMk cId="0" sldId="312"/>
        </pc:sldMkLst>
      </pc:sldChg>
      <pc:sldChg chg="del">
        <pc:chgData name="Annemarija Apine (LV)" userId="546f5c59-3b8d-47fd-b739-a8fadc631053" providerId="ADAL" clId="{1E5FAF9F-4D85-464E-B064-C298814D6547}" dt="2024-03-11T21:54:49.959" v="98" actId="47"/>
        <pc:sldMkLst>
          <pc:docMk/>
          <pc:sldMk cId="0" sldId="313"/>
        </pc:sldMkLst>
      </pc:sldChg>
      <pc:sldChg chg="del">
        <pc:chgData name="Annemarija Apine (LV)" userId="546f5c59-3b8d-47fd-b739-a8fadc631053" providerId="ADAL" clId="{1E5FAF9F-4D85-464E-B064-C298814D6547}" dt="2024-03-11T21:54:49.959" v="98" actId="47"/>
        <pc:sldMkLst>
          <pc:docMk/>
          <pc:sldMk cId="0" sldId="314"/>
        </pc:sldMkLst>
      </pc:sldChg>
      <pc:sldChg chg="addSp delSp modSp mod delCm">
        <pc:chgData name="Annemarija Apine (LV)" userId="546f5c59-3b8d-47fd-b739-a8fadc631053" providerId="ADAL" clId="{1E5FAF9F-4D85-464E-B064-C298814D6547}" dt="2024-03-11T22:24:45.807" v="621" actId="1036"/>
        <pc:sldMkLst>
          <pc:docMk/>
          <pc:sldMk cId="817197616" sldId="332"/>
        </pc:sldMkLst>
        <pc:spChg chg="add del">
          <ac:chgData name="Annemarija Apine (LV)" userId="546f5c59-3b8d-47fd-b739-a8fadc631053" providerId="ADAL" clId="{1E5FAF9F-4D85-464E-B064-C298814D6547}" dt="2024-03-11T21:41:57.276" v="2"/>
          <ac:spMkLst>
            <pc:docMk/>
            <pc:sldMk cId="817197616" sldId="332"/>
            <ac:spMk id="2" creationId="{FA0D95E7-F779-F9E4-1B21-DBF8C3EC57FC}"/>
          </ac:spMkLst>
        </pc:spChg>
        <pc:spChg chg="add mod">
          <ac:chgData name="Annemarija Apine (LV)" userId="546f5c59-3b8d-47fd-b739-a8fadc631053" providerId="ADAL" clId="{1E5FAF9F-4D85-464E-B064-C298814D6547}" dt="2024-03-11T22:24:45.807" v="621" actId="1036"/>
          <ac:spMkLst>
            <pc:docMk/>
            <pc:sldMk cId="817197616" sldId="332"/>
            <ac:spMk id="5" creationId="{C96382F6-4886-AE1D-4E3B-B7A6D20F4B2E}"/>
          </ac:spMkLst>
        </pc:spChg>
        <pc:picChg chg="add mod">
          <ac:chgData name="Annemarija Apine (LV)" userId="546f5c59-3b8d-47fd-b739-a8fadc631053" providerId="ADAL" clId="{1E5FAF9F-4D85-464E-B064-C298814D6547}" dt="2024-03-11T22:24:45.807" v="621" actId="1036"/>
          <ac:picMkLst>
            <pc:docMk/>
            <pc:sldMk cId="817197616" sldId="332"/>
            <ac:picMk id="3" creationId="{4D1170B7-6EE5-270B-66A8-10AD07C6BBCA}"/>
          </ac:picMkLst>
        </pc:picChg>
        <pc:picChg chg="add mod">
          <ac:chgData name="Annemarija Apine (LV)" userId="546f5c59-3b8d-47fd-b739-a8fadc631053" providerId="ADAL" clId="{1E5FAF9F-4D85-464E-B064-C298814D6547}" dt="2024-03-11T22:24:45.807" v="621" actId="1036"/>
          <ac:picMkLst>
            <pc:docMk/>
            <pc:sldMk cId="817197616" sldId="332"/>
            <ac:picMk id="1028" creationId="{49D69959-2997-0541-EBD2-EA679BB87816}"/>
          </ac:picMkLst>
        </pc:pic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817197616" sldId="332"/>
                <pc2:cmMk id="{2A26C7E2-A8DA-4B24-952F-5705AD58D1EA}"/>
              </pc2:cmMkLst>
            </pc226:cmChg>
          </p:ext>
        </pc:extLst>
      </pc:sldChg>
      <pc:sldChg chg="del">
        <pc:chgData name="Annemarija Apine (LV)" userId="546f5c59-3b8d-47fd-b739-a8fadc631053" providerId="ADAL" clId="{1E5FAF9F-4D85-464E-B064-C298814D6547}" dt="2024-03-11T21:54:49.959" v="98" actId="47"/>
        <pc:sldMkLst>
          <pc:docMk/>
          <pc:sldMk cId="1077060666" sldId="333"/>
        </pc:sldMkLst>
      </pc:sldChg>
      <pc:sldChg chg="del">
        <pc:chgData name="Annemarija Apine (LV)" userId="546f5c59-3b8d-47fd-b739-a8fadc631053" providerId="ADAL" clId="{1E5FAF9F-4D85-464E-B064-C298814D6547}" dt="2024-03-11T21:54:49.959" v="98" actId="47"/>
        <pc:sldMkLst>
          <pc:docMk/>
          <pc:sldMk cId="1586425510" sldId="334"/>
        </pc:sldMkLst>
      </pc:sldChg>
      <pc:sldChg chg="del">
        <pc:chgData name="Annemarija Apine (LV)" userId="546f5c59-3b8d-47fd-b739-a8fadc631053" providerId="ADAL" clId="{1E5FAF9F-4D85-464E-B064-C298814D6547}" dt="2024-03-11T21:54:49.959" v="98" actId="47"/>
        <pc:sldMkLst>
          <pc:docMk/>
          <pc:sldMk cId="3962446863" sldId="335"/>
        </pc:sldMkLst>
      </pc:sldChg>
      <pc:sldChg chg="del">
        <pc:chgData name="Annemarija Apine (LV)" userId="546f5c59-3b8d-47fd-b739-a8fadc631053" providerId="ADAL" clId="{1E5FAF9F-4D85-464E-B064-C298814D6547}" dt="2024-03-11T21:54:49.959" v="98" actId="47"/>
        <pc:sldMkLst>
          <pc:docMk/>
          <pc:sldMk cId="1176371514" sldId="336"/>
        </pc:sldMkLst>
      </pc:sldChg>
      <pc:sldChg chg="del">
        <pc:chgData name="Annemarija Apine (LV)" userId="546f5c59-3b8d-47fd-b739-a8fadc631053" providerId="ADAL" clId="{1E5FAF9F-4D85-464E-B064-C298814D6547}" dt="2024-03-11T21:54:49.959" v="98" actId="47"/>
        <pc:sldMkLst>
          <pc:docMk/>
          <pc:sldMk cId="3244661427" sldId="337"/>
        </pc:sldMkLst>
      </pc:sldChg>
      <pc:sldChg chg="del">
        <pc:chgData name="Annemarija Apine (LV)" userId="546f5c59-3b8d-47fd-b739-a8fadc631053" providerId="ADAL" clId="{1E5FAF9F-4D85-464E-B064-C298814D6547}" dt="2024-03-11T21:54:49.959" v="98" actId="47"/>
        <pc:sldMkLst>
          <pc:docMk/>
          <pc:sldMk cId="2065102976" sldId="338"/>
        </pc:sldMkLst>
      </pc:sldChg>
      <pc:sldChg chg="del">
        <pc:chgData name="Annemarija Apine (LV)" userId="546f5c59-3b8d-47fd-b739-a8fadc631053" providerId="ADAL" clId="{1E5FAF9F-4D85-464E-B064-C298814D6547}" dt="2024-03-11T21:54:49.959" v="98" actId="47"/>
        <pc:sldMkLst>
          <pc:docMk/>
          <pc:sldMk cId="1311325920" sldId="339"/>
        </pc:sldMkLst>
      </pc:sldChg>
      <pc:sldChg chg="del">
        <pc:chgData name="Annemarija Apine (LV)" userId="546f5c59-3b8d-47fd-b739-a8fadc631053" providerId="ADAL" clId="{1E5FAF9F-4D85-464E-B064-C298814D6547}" dt="2024-03-11T21:54:49.959" v="98" actId="47"/>
        <pc:sldMkLst>
          <pc:docMk/>
          <pc:sldMk cId="3750811665" sldId="340"/>
        </pc:sldMkLst>
      </pc:sldChg>
      <pc:sldChg chg="del">
        <pc:chgData name="Annemarija Apine (LV)" userId="546f5c59-3b8d-47fd-b739-a8fadc631053" providerId="ADAL" clId="{1E5FAF9F-4D85-464E-B064-C298814D6547}" dt="2024-03-11T21:54:49.959" v="98" actId="47"/>
        <pc:sldMkLst>
          <pc:docMk/>
          <pc:sldMk cId="633515575" sldId="341"/>
        </pc:sldMkLst>
      </pc:sldChg>
      <pc:sldChg chg="del">
        <pc:chgData name="Annemarija Apine (LV)" userId="546f5c59-3b8d-47fd-b739-a8fadc631053" providerId="ADAL" clId="{1E5FAF9F-4D85-464E-B064-C298814D6547}" dt="2024-03-11T21:54:49.959" v="98" actId="47"/>
        <pc:sldMkLst>
          <pc:docMk/>
          <pc:sldMk cId="0" sldId="351"/>
        </pc:sldMkLst>
      </pc:sldChg>
      <pc:sldChg chg="del">
        <pc:chgData name="Annemarija Apine (LV)" userId="546f5c59-3b8d-47fd-b739-a8fadc631053" providerId="ADAL" clId="{1E5FAF9F-4D85-464E-B064-C298814D6547}" dt="2024-03-11T21:54:49.959" v="98" actId="47"/>
        <pc:sldMkLst>
          <pc:docMk/>
          <pc:sldMk cId="0" sldId="371"/>
        </pc:sldMkLst>
      </pc:sldChg>
      <pc:sldChg chg="del">
        <pc:chgData name="Annemarija Apine (LV)" userId="546f5c59-3b8d-47fd-b739-a8fadc631053" providerId="ADAL" clId="{1E5FAF9F-4D85-464E-B064-C298814D6547}" dt="2024-03-11T21:54:49.959" v="98" actId="47"/>
        <pc:sldMkLst>
          <pc:docMk/>
          <pc:sldMk cId="0" sldId="383"/>
        </pc:sldMkLst>
      </pc:sldChg>
      <pc:sldChg chg="del">
        <pc:chgData name="Annemarija Apine (LV)" userId="546f5c59-3b8d-47fd-b739-a8fadc631053" providerId="ADAL" clId="{1E5FAF9F-4D85-464E-B064-C298814D6547}" dt="2024-03-11T21:54:49.959" v="98" actId="47"/>
        <pc:sldMkLst>
          <pc:docMk/>
          <pc:sldMk cId="0" sldId="392"/>
        </pc:sldMkLst>
      </pc:sldChg>
      <pc:sldChg chg="del">
        <pc:chgData name="Annemarija Apine (LV)" userId="546f5c59-3b8d-47fd-b739-a8fadc631053" providerId="ADAL" clId="{1E5FAF9F-4D85-464E-B064-C298814D6547}" dt="2024-03-11T21:54:49.959" v="98" actId="47"/>
        <pc:sldMkLst>
          <pc:docMk/>
          <pc:sldMk cId="0" sldId="419"/>
        </pc:sldMkLst>
      </pc:sldChg>
      <pc:sldChg chg="del">
        <pc:chgData name="Annemarija Apine (LV)" userId="546f5c59-3b8d-47fd-b739-a8fadc631053" providerId="ADAL" clId="{1E5FAF9F-4D85-464E-B064-C298814D6547}" dt="2024-03-11T21:54:49.959" v="98" actId="47"/>
        <pc:sldMkLst>
          <pc:docMk/>
          <pc:sldMk cId="0" sldId="428"/>
        </pc:sldMkLst>
      </pc:sldChg>
      <pc:sldChg chg="del">
        <pc:chgData name="Annemarija Apine (LV)" userId="546f5c59-3b8d-47fd-b739-a8fadc631053" providerId="ADAL" clId="{1E5FAF9F-4D85-464E-B064-C298814D6547}" dt="2024-03-11T21:54:49.959" v="98" actId="47"/>
        <pc:sldMkLst>
          <pc:docMk/>
          <pc:sldMk cId="0" sldId="429"/>
        </pc:sldMkLst>
      </pc:sldChg>
      <pc:sldChg chg="del">
        <pc:chgData name="Annemarija Apine (LV)" userId="546f5c59-3b8d-47fd-b739-a8fadc631053" providerId="ADAL" clId="{1E5FAF9F-4D85-464E-B064-C298814D6547}" dt="2024-03-11T21:54:49.959" v="98" actId="47"/>
        <pc:sldMkLst>
          <pc:docMk/>
          <pc:sldMk cId="0" sldId="430"/>
        </pc:sldMkLst>
      </pc:sldChg>
      <pc:sldChg chg="del">
        <pc:chgData name="Annemarija Apine (LV)" userId="546f5c59-3b8d-47fd-b739-a8fadc631053" providerId="ADAL" clId="{1E5FAF9F-4D85-464E-B064-C298814D6547}" dt="2024-03-11T21:54:49.959" v="98" actId="47"/>
        <pc:sldMkLst>
          <pc:docMk/>
          <pc:sldMk cId="0" sldId="431"/>
        </pc:sldMkLst>
      </pc:sldChg>
      <pc:sldChg chg="del">
        <pc:chgData name="Annemarija Apine (LV)" userId="546f5c59-3b8d-47fd-b739-a8fadc631053" providerId="ADAL" clId="{1E5FAF9F-4D85-464E-B064-C298814D6547}" dt="2024-03-11T21:54:49.959" v="98" actId="47"/>
        <pc:sldMkLst>
          <pc:docMk/>
          <pc:sldMk cId="0" sldId="432"/>
        </pc:sldMkLst>
      </pc:sldChg>
      <pc:sldChg chg="del">
        <pc:chgData name="Annemarija Apine (LV)" userId="546f5c59-3b8d-47fd-b739-a8fadc631053" providerId="ADAL" clId="{1E5FAF9F-4D85-464E-B064-C298814D6547}" dt="2024-03-11T21:54:49.959" v="98" actId="47"/>
        <pc:sldMkLst>
          <pc:docMk/>
          <pc:sldMk cId="0" sldId="433"/>
        </pc:sldMkLst>
      </pc:sldChg>
      <pc:sldChg chg="del">
        <pc:chgData name="Annemarija Apine (LV)" userId="546f5c59-3b8d-47fd-b739-a8fadc631053" providerId="ADAL" clId="{1E5FAF9F-4D85-464E-B064-C298814D6547}" dt="2024-03-11T21:54:49.959" v="98" actId="47"/>
        <pc:sldMkLst>
          <pc:docMk/>
          <pc:sldMk cId="0" sldId="434"/>
        </pc:sldMkLst>
      </pc:sldChg>
      <pc:sldChg chg="del">
        <pc:chgData name="Annemarija Apine (LV)" userId="546f5c59-3b8d-47fd-b739-a8fadc631053" providerId="ADAL" clId="{1E5FAF9F-4D85-464E-B064-C298814D6547}" dt="2024-03-11T21:54:49.959" v="98" actId="47"/>
        <pc:sldMkLst>
          <pc:docMk/>
          <pc:sldMk cId="0" sldId="435"/>
        </pc:sldMkLst>
      </pc:sldChg>
      <pc:sldChg chg="del">
        <pc:chgData name="Annemarija Apine (LV)" userId="546f5c59-3b8d-47fd-b739-a8fadc631053" providerId="ADAL" clId="{1E5FAF9F-4D85-464E-B064-C298814D6547}" dt="2024-03-11T21:54:49.959" v="98" actId="47"/>
        <pc:sldMkLst>
          <pc:docMk/>
          <pc:sldMk cId="0" sldId="436"/>
        </pc:sldMkLst>
      </pc:sldChg>
      <pc:sldChg chg="del">
        <pc:chgData name="Annemarija Apine (LV)" userId="546f5c59-3b8d-47fd-b739-a8fadc631053" providerId="ADAL" clId="{1E5FAF9F-4D85-464E-B064-C298814D6547}" dt="2024-03-11T21:54:49.959" v="98" actId="47"/>
        <pc:sldMkLst>
          <pc:docMk/>
          <pc:sldMk cId="0" sldId="437"/>
        </pc:sldMkLst>
      </pc:sldChg>
      <pc:sldChg chg="del">
        <pc:chgData name="Annemarija Apine (LV)" userId="546f5c59-3b8d-47fd-b739-a8fadc631053" providerId="ADAL" clId="{1E5FAF9F-4D85-464E-B064-C298814D6547}" dt="2024-03-11T21:54:49.959" v="98" actId="47"/>
        <pc:sldMkLst>
          <pc:docMk/>
          <pc:sldMk cId="0" sldId="438"/>
        </pc:sldMkLst>
      </pc:sldChg>
      <pc:sldChg chg="del">
        <pc:chgData name="Annemarija Apine (LV)" userId="546f5c59-3b8d-47fd-b739-a8fadc631053" providerId="ADAL" clId="{1E5FAF9F-4D85-464E-B064-C298814D6547}" dt="2024-03-11T21:54:49.959" v="98" actId="47"/>
        <pc:sldMkLst>
          <pc:docMk/>
          <pc:sldMk cId="323510126" sldId="439"/>
        </pc:sldMkLst>
      </pc:sldChg>
      <pc:sldChg chg="del">
        <pc:chgData name="Annemarija Apine (LV)" userId="546f5c59-3b8d-47fd-b739-a8fadc631053" providerId="ADAL" clId="{1E5FAF9F-4D85-464E-B064-C298814D6547}" dt="2024-03-11T21:54:49.959" v="98" actId="47"/>
        <pc:sldMkLst>
          <pc:docMk/>
          <pc:sldMk cId="2327326848" sldId="440"/>
        </pc:sldMkLst>
      </pc:sldChg>
      <pc:sldChg chg="del">
        <pc:chgData name="Annemarija Apine (LV)" userId="546f5c59-3b8d-47fd-b739-a8fadc631053" providerId="ADAL" clId="{1E5FAF9F-4D85-464E-B064-C298814D6547}" dt="2024-03-11T21:54:49.959" v="98" actId="47"/>
        <pc:sldMkLst>
          <pc:docMk/>
          <pc:sldMk cId="2336837453" sldId="441"/>
        </pc:sldMkLst>
      </pc:sldChg>
      <pc:sldChg chg="del">
        <pc:chgData name="Annemarija Apine (LV)" userId="546f5c59-3b8d-47fd-b739-a8fadc631053" providerId="ADAL" clId="{1E5FAF9F-4D85-464E-B064-C298814D6547}" dt="2024-03-11T21:54:49.959" v="98" actId="47"/>
        <pc:sldMkLst>
          <pc:docMk/>
          <pc:sldMk cId="4222959714" sldId="442"/>
        </pc:sldMkLst>
      </pc:sldChg>
      <pc:sldChg chg="del">
        <pc:chgData name="Annemarija Apine (LV)" userId="546f5c59-3b8d-47fd-b739-a8fadc631053" providerId="ADAL" clId="{1E5FAF9F-4D85-464E-B064-C298814D6547}" dt="2024-03-11T21:54:49.959" v="98" actId="47"/>
        <pc:sldMkLst>
          <pc:docMk/>
          <pc:sldMk cId="2958925631" sldId="443"/>
        </pc:sldMkLst>
      </pc:sldChg>
      <pc:sldChg chg="del">
        <pc:chgData name="Annemarija Apine (LV)" userId="546f5c59-3b8d-47fd-b739-a8fadc631053" providerId="ADAL" clId="{1E5FAF9F-4D85-464E-B064-C298814D6547}" dt="2024-03-11T21:54:49.959" v="98" actId="47"/>
        <pc:sldMkLst>
          <pc:docMk/>
          <pc:sldMk cId="2811521555" sldId="444"/>
        </pc:sldMkLst>
      </pc:sldChg>
      <pc:sldChg chg="del">
        <pc:chgData name="Annemarija Apine (LV)" userId="546f5c59-3b8d-47fd-b739-a8fadc631053" providerId="ADAL" clId="{1E5FAF9F-4D85-464E-B064-C298814D6547}" dt="2024-03-11T21:54:49.959" v="98" actId="47"/>
        <pc:sldMkLst>
          <pc:docMk/>
          <pc:sldMk cId="4258080952" sldId="445"/>
        </pc:sldMkLst>
      </pc:sldChg>
      <pc:sldChg chg="del">
        <pc:chgData name="Annemarija Apine (LV)" userId="546f5c59-3b8d-47fd-b739-a8fadc631053" providerId="ADAL" clId="{1E5FAF9F-4D85-464E-B064-C298814D6547}" dt="2024-03-11T21:54:49.959" v="98" actId="47"/>
        <pc:sldMkLst>
          <pc:docMk/>
          <pc:sldMk cId="3526594792" sldId="446"/>
        </pc:sldMkLst>
      </pc:sldChg>
      <pc:sldChg chg="del">
        <pc:chgData name="Annemarija Apine (LV)" userId="546f5c59-3b8d-47fd-b739-a8fadc631053" providerId="ADAL" clId="{1E5FAF9F-4D85-464E-B064-C298814D6547}" dt="2024-03-11T21:54:49.959" v="98" actId="47"/>
        <pc:sldMkLst>
          <pc:docMk/>
          <pc:sldMk cId="3932852703" sldId="447"/>
        </pc:sldMkLst>
      </pc:sldChg>
      <pc:sldChg chg="del">
        <pc:chgData name="Annemarija Apine (LV)" userId="546f5c59-3b8d-47fd-b739-a8fadc631053" providerId="ADAL" clId="{1E5FAF9F-4D85-464E-B064-C298814D6547}" dt="2024-03-11T21:54:49.959" v="98" actId="47"/>
        <pc:sldMkLst>
          <pc:docMk/>
          <pc:sldMk cId="1683172751" sldId="448"/>
        </pc:sldMkLst>
      </pc:sldChg>
      <pc:sldChg chg="del">
        <pc:chgData name="Annemarija Apine (LV)" userId="546f5c59-3b8d-47fd-b739-a8fadc631053" providerId="ADAL" clId="{1E5FAF9F-4D85-464E-B064-C298814D6547}" dt="2024-03-11T21:54:49.959" v="98" actId="47"/>
        <pc:sldMkLst>
          <pc:docMk/>
          <pc:sldMk cId="1995840059" sldId="449"/>
        </pc:sldMkLst>
      </pc:sldChg>
      <pc:sldChg chg="modSp mod">
        <pc:chgData name="Annemarija Apine (LV)" userId="546f5c59-3b8d-47fd-b739-a8fadc631053" providerId="ADAL" clId="{1E5FAF9F-4D85-464E-B064-C298814D6547}" dt="2024-03-12T12:02:03.298" v="1122" actId="790"/>
        <pc:sldMkLst>
          <pc:docMk/>
          <pc:sldMk cId="399328488" sldId="450"/>
        </pc:sldMkLst>
        <pc:spChg chg="mod">
          <ac:chgData name="Annemarija Apine (LV)" userId="546f5c59-3b8d-47fd-b739-a8fadc631053" providerId="ADAL" clId="{1E5FAF9F-4D85-464E-B064-C298814D6547}" dt="2024-03-12T12:02:03.298" v="1122" actId="790"/>
          <ac:spMkLst>
            <pc:docMk/>
            <pc:sldMk cId="399328488" sldId="450"/>
            <ac:spMk id="2" creationId="{06CA5123-FA6E-5376-B3D9-BDF5B08EA25B}"/>
          </ac:spMkLst>
        </pc:spChg>
        <pc:spChg chg="mod">
          <ac:chgData name="Annemarija Apine (LV)" userId="546f5c59-3b8d-47fd-b739-a8fadc631053" providerId="ADAL" clId="{1E5FAF9F-4D85-464E-B064-C298814D6547}" dt="2024-03-12T12:02:03.298" v="1122" actId="790"/>
          <ac:spMkLst>
            <pc:docMk/>
            <pc:sldMk cId="399328488" sldId="450"/>
            <ac:spMk id="3" creationId="{AAFE076C-9B8C-9BB3-8680-7E4B60DEC21C}"/>
          </ac:spMkLst>
        </pc:spChg>
        <pc:spChg chg="mod">
          <ac:chgData name="Annemarija Apine (LV)" userId="546f5c59-3b8d-47fd-b739-a8fadc631053" providerId="ADAL" clId="{1E5FAF9F-4D85-464E-B064-C298814D6547}" dt="2024-03-12T12:02:03.298" v="1122" actId="790"/>
          <ac:spMkLst>
            <pc:docMk/>
            <pc:sldMk cId="399328488" sldId="450"/>
            <ac:spMk id="4" creationId="{51A056F4-4CF2-BBE9-52F6-908FF9154948}"/>
          </ac:spMkLst>
        </pc:spChg>
        <pc:spChg chg="mod">
          <ac:chgData name="Annemarija Apine (LV)" userId="546f5c59-3b8d-47fd-b739-a8fadc631053" providerId="ADAL" clId="{1E5FAF9F-4D85-464E-B064-C298814D6547}" dt="2024-03-12T12:02:03.298" v="1122" actId="790"/>
          <ac:spMkLst>
            <pc:docMk/>
            <pc:sldMk cId="399328488" sldId="450"/>
            <ac:spMk id="12" creationId="{437AFA95-4629-E445-8011-A1331848A9C1}"/>
          </ac:spMkLst>
        </pc:spChg>
        <pc:spChg chg="mod">
          <ac:chgData name="Annemarija Apine (LV)" userId="546f5c59-3b8d-47fd-b739-a8fadc631053" providerId="ADAL" clId="{1E5FAF9F-4D85-464E-B064-C298814D6547}" dt="2024-03-12T12:02:03.298" v="1122" actId="790"/>
          <ac:spMkLst>
            <pc:docMk/>
            <pc:sldMk cId="399328488" sldId="450"/>
            <ac:spMk id="13" creationId="{07F853EE-4954-F93E-0658-251452786CF6}"/>
          </ac:spMkLst>
        </pc:spChg>
        <pc:spChg chg="mod">
          <ac:chgData name="Annemarija Apine (LV)" userId="546f5c59-3b8d-47fd-b739-a8fadc631053" providerId="ADAL" clId="{1E5FAF9F-4D85-464E-B064-C298814D6547}" dt="2024-03-12T12:02:03.298" v="1122" actId="790"/>
          <ac:spMkLst>
            <pc:docMk/>
            <pc:sldMk cId="399328488" sldId="450"/>
            <ac:spMk id="14" creationId="{47611A2B-87DE-E012-FBEB-CD8C3F27162D}"/>
          </ac:spMkLst>
        </pc:spChg>
        <pc:spChg chg="mod">
          <ac:chgData name="Annemarija Apine (LV)" userId="546f5c59-3b8d-47fd-b739-a8fadc631053" providerId="ADAL" clId="{1E5FAF9F-4D85-464E-B064-C298814D6547}" dt="2024-03-12T12:02:03.298" v="1122" actId="790"/>
          <ac:spMkLst>
            <pc:docMk/>
            <pc:sldMk cId="399328488" sldId="450"/>
            <ac:spMk id="15" creationId="{F075C420-0F8B-D5BA-BC4C-BE0D5D4A9645}"/>
          </ac:spMkLst>
        </pc:spChg>
        <pc:spChg chg="mod">
          <ac:chgData name="Annemarija Apine (LV)" userId="546f5c59-3b8d-47fd-b739-a8fadc631053" providerId="ADAL" clId="{1E5FAF9F-4D85-464E-B064-C298814D6547}" dt="2024-03-12T12:02:03.298" v="1122" actId="790"/>
          <ac:spMkLst>
            <pc:docMk/>
            <pc:sldMk cId="399328488" sldId="450"/>
            <ac:spMk id="16" creationId="{E8603D44-7F97-0FEA-D908-A5DDE8A41CC8}"/>
          </ac:spMkLst>
        </pc:spChg>
        <pc:spChg chg="mod">
          <ac:chgData name="Annemarija Apine (LV)" userId="546f5c59-3b8d-47fd-b739-a8fadc631053" providerId="ADAL" clId="{1E5FAF9F-4D85-464E-B064-C298814D6547}" dt="2024-03-12T12:02:03.298" v="1122" actId="790"/>
          <ac:spMkLst>
            <pc:docMk/>
            <pc:sldMk cId="399328488" sldId="450"/>
            <ac:spMk id="17" creationId="{F94A9033-6BFC-B403-C388-86F98F207B0B}"/>
          </ac:spMkLst>
        </pc:spChg>
        <pc:spChg chg="mod">
          <ac:chgData name="Annemarija Apine (LV)" userId="546f5c59-3b8d-47fd-b739-a8fadc631053" providerId="ADAL" clId="{1E5FAF9F-4D85-464E-B064-C298814D6547}" dt="2024-03-12T12:02:03.298" v="1122" actId="790"/>
          <ac:spMkLst>
            <pc:docMk/>
            <pc:sldMk cId="399328488" sldId="450"/>
            <ac:spMk id="43" creationId="{E8E63795-2ECA-7132-F643-55B4A59C7A85}"/>
          </ac:spMkLst>
        </pc:spChg>
        <pc:spChg chg="mod">
          <ac:chgData name="Annemarija Apine (LV)" userId="546f5c59-3b8d-47fd-b739-a8fadc631053" providerId="ADAL" clId="{1E5FAF9F-4D85-464E-B064-C298814D6547}" dt="2024-03-12T12:02:03.298" v="1122" actId="790"/>
          <ac:spMkLst>
            <pc:docMk/>
            <pc:sldMk cId="399328488" sldId="450"/>
            <ac:spMk id="64" creationId="{F5198B29-4548-5C2A-0DEF-90C53FD5EF11}"/>
          </ac:spMkLst>
        </pc:spChg>
        <pc:spChg chg="mod">
          <ac:chgData name="Annemarija Apine (LV)" userId="546f5c59-3b8d-47fd-b739-a8fadc631053" providerId="ADAL" clId="{1E5FAF9F-4D85-464E-B064-C298814D6547}" dt="2024-03-12T12:02:03.298" v="1122" actId="790"/>
          <ac:spMkLst>
            <pc:docMk/>
            <pc:sldMk cId="399328488" sldId="450"/>
            <ac:spMk id="65" creationId="{7F6756C5-2CE3-DBCB-913A-8EAD5564B5E9}"/>
          </ac:spMkLst>
        </pc:spChg>
        <pc:spChg chg="mod">
          <ac:chgData name="Annemarija Apine (LV)" userId="546f5c59-3b8d-47fd-b739-a8fadc631053" providerId="ADAL" clId="{1E5FAF9F-4D85-464E-B064-C298814D6547}" dt="2024-03-12T12:02:03.298" v="1122" actId="790"/>
          <ac:spMkLst>
            <pc:docMk/>
            <pc:sldMk cId="399328488" sldId="450"/>
            <ac:spMk id="66" creationId="{71E65A8B-1A0E-7189-CB1E-7B85B0FCDF92}"/>
          </ac:spMkLst>
        </pc:spChg>
        <pc:spChg chg="mod">
          <ac:chgData name="Annemarija Apine (LV)" userId="546f5c59-3b8d-47fd-b739-a8fadc631053" providerId="ADAL" clId="{1E5FAF9F-4D85-464E-B064-C298814D6547}" dt="2024-03-12T12:02:03.298" v="1122" actId="790"/>
          <ac:spMkLst>
            <pc:docMk/>
            <pc:sldMk cId="399328488" sldId="450"/>
            <ac:spMk id="67" creationId="{C7BD28FD-69AC-2308-FAFB-928853CF7082}"/>
          </ac:spMkLst>
        </pc:spChg>
        <pc:spChg chg="mod">
          <ac:chgData name="Annemarija Apine (LV)" userId="546f5c59-3b8d-47fd-b739-a8fadc631053" providerId="ADAL" clId="{1E5FAF9F-4D85-464E-B064-C298814D6547}" dt="2024-03-12T12:02:03.298" v="1122" actId="790"/>
          <ac:spMkLst>
            <pc:docMk/>
            <pc:sldMk cId="399328488" sldId="450"/>
            <ac:spMk id="68" creationId="{F3C0F73D-96F5-2632-9996-CB5D4313F69F}"/>
          </ac:spMkLst>
        </pc:spChg>
        <pc:spChg chg="mod">
          <ac:chgData name="Annemarija Apine (LV)" userId="546f5c59-3b8d-47fd-b739-a8fadc631053" providerId="ADAL" clId="{1E5FAF9F-4D85-464E-B064-C298814D6547}" dt="2024-03-12T12:02:03.298" v="1122" actId="790"/>
          <ac:spMkLst>
            <pc:docMk/>
            <pc:sldMk cId="399328488" sldId="450"/>
            <ac:spMk id="70" creationId="{F5955A8F-5764-221D-4746-8286D1ED814F}"/>
          </ac:spMkLst>
        </pc:spChg>
        <pc:spChg chg="mod">
          <ac:chgData name="Annemarija Apine (LV)" userId="546f5c59-3b8d-47fd-b739-a8fadc631053" providerId="ADAL" clId="{1E5FAF9F-4D85-464E-B064-C298814D6547}" dt="2024-03-12T12:02:03.298" v="1122" actId="790"/>
          <ac:spMkLst>
            <pc:docMk/>
            <pc:sldMk cId="399328488" sldId="450"/>
            <ac:spMk id="71" creationId="{89B91E98-FEBB-72AD-374C-0CAE052B6574}"/>
          </ac:spMkLst>
        </pc:spChg>
        <pc:spChg chg="mod">
          <ac:chgData name="Annemarija Apine (LV)" userId="546f5c59-3b8d-47fd-b739-a8fadc631053" providerId="ADAL" clId="{1E5FAF9F-4D85-464E-B064-C298814D6547}" dt="2024-03-12T12:02:03.298" v="1122" actId="790"/>
          <ac:spMkLst>
            <pc:docMk/>
            <pc:sldMk cId="399328488" sldId="450"/>
            <ac:spMk id="73" creationId="{7B6212B5-AEF3-09C7-BF95-F185ECA402E0}"/>
          </ac:spMkLst>
        </pc:spChg>
        <pc:spChg chg="mod">
          <ac:chgData name="Annemarija Apine (LV)" userId="546f5c59-3b8d-47fd-b739-a8fadc631053" providerId="ADAL" clId="{1E5FAF9F-4D85-464E-B064-C298814D6547}" dt="2024-03-12T12:02:03.298" v="1122" actId="790"/>
          <ac:spMkLst>
            <pc:docMk/>
            <pc:sldMk cId="399328488" sldId="450"/>
            <ac:spMk id="74" creationId="{0B2A879E-1978-42B5-0487-C00DB0806B7F}"/>
          </ac:spMkLst>
        </pc:spChg>
        <pc:spChg chg="mod">
          <ac:chgData name="Annemarija Apine (LV)" userId="546f5c59-3b8d-47fd-b739-a8fadc631053" providerId="ADAL" clId="{1E5FAF9F-4D85-464E-B064-C298814D6547}" dt="2024-03-12T12:02:03.298" v="1122" actId="790"/>
          <ac:spMkLst>
            <pc:docMk/>
            <pc:sldMk cId="399328488" sldId="450"/>
            <ac:spMk id="75" creationId="{99BB8356-A0C8-58E3-691C-EFB85DCB4F5C}"/>
          </ac:spMkLst>
        </pc:spChg>
        <pc:spChg chg="mod">
          <ac:chgData name="Annemarija Apine (LV)" userId="546f5c59-3b8d-47fd-b739-a8fadc631053" providerId="ADAL" clId="{1E5FAF9F-4D85-464E-B064-C298814D6547}" dt="2024-03-12T12:02:03.298" v="1122" actId="790"/>
          <ac:spMkLst>
            <pc:docMk/>
            <pc:sldMk cId="399328488" sldId="450"/>
            <ac:spMk id="76" creationId="{54E37425-B29E-D086-F8C5-72CECA15201B}"/>
          </ac:spMkLst>
        </pc:spChg>
        <pc:spChg chg="mod">
          <ac:chgData name="Annemarija Apine (LV)" userId="546f5c59-3b8d-47fd-b739-a8fadc631053" providerId="ADAL" clId="{1E5FAF9F-4D85-464E-B064-C298814D6547}" dt="2024-03-12T12:02:03.298" v="1122" actId="790"/>
          <ac:spMkLst>
            <pc:docMk/>
            <pc:sldMk cId="399328488" sldId="450"/>
            <ac:spMk id="77" creationId="{C04E4FD5-21F3-B258-F123-DBF326A6E4A3}"/>
          </ac:spMkLst>
        </pc:spChg>
        <pc:spChg chg="mod">
          <ac:chgData name="Annemarija Apine (LV)" userId="546f5c59-3b8d-47fd-b739-a8fadc631053" providerId="ADAL" clId="{1E5FAF9F-4D85-464E-B064-C298814D6547}" dt="2024-03-12T12:02:03.298" v="1122" actId="790"/>
          <ac:spMkLst>
            <pc:docMk/>
            <pc:sldMk cId="399328488" sldId="450"/>
            <ac:spMk id="78" creationId="{C38BDBA8-C60E-3B32-804B-9C21599C1EB3}"/>
          </ac:spMkLst>
        </pc:spChg>
        <pc:spChg chg="mod">
          <ac:chgData name="Annemarija Apine (LV)" userId="546f5c59-3b8d-47fd-b739-a8fadc631053" providerId="ADAL" clId="{1E5FAF9F-4D85-464E-B064-C298814D6547}" dt="2024-03-12T12:02:03.298" v="1122" actId="790"/>
          <ac:spMkLst>
            <pc:docMk/>
            <pc:sldMk cId="399328488" sldId="450"/>
            <ac:spMk id="79" creationId="{B8D8F72C-74AE-8317-14F4-B64632432806}"/>
          </ac:spMkLst>
        </pc:spChg>
        <pc:spChg chg="mod">
          <ac:chgData name="Annemarija Apine (LV)" userId="546f5c59-3b8d-47fd-b739-a8fadc631053" providerId="ADAL" clId="{1E5FAF9F-4D85-464E-B064-C298814D6547}" dt="2024-03-12T12:02:03.298" v="1122" actId="790"/>
          <ac:spMkLst>
            <pc:docMk/>
            <pc:sldMk cId="399328488" sldId="450"/>
            <ac:spMk id="80" creationId="{E4966998-2A81-4222-FAB6-08407DCDE413}"/>
          </ac:spMkLst>
        </pc:spChg>
        <pc:spChg chg="mod">
          <ac:chgData name="Annemarija Apine (LV)" userId="546f5c59-3b8d-47fd-b739-a8fadc631053" providerId="ADAL" clId="{1E5FAF9F-4D85-464E-B064-C298814D6547}" dt="2024-03-12T12:02:03.298" v="1122" actId="790"/>
          <ac:spMkLst>
            <pc:docMk/>
            <pc:sldMk cId="399328488" sldId="450"/>
            <ac:spMk id="81" creationId="{C27D324E-78CF-5109-A4A8-3FB8E8A86526}"/>
          </ac:spMkLst>
        </pc:spChg>
        <pc:spChg chg="mod">
          <ac:chgData name="Annemarija Apine (LV)" userId="546f5c59-3b8d-47fd-b739-a8fadc631053" providerId="ADAL" clId="{1E5FAF9F-4D85-464E-B064-C298814D6547}" dt="2024-03-12T12:02:03.298" v="1122" actId="790"/>
          <ac:spMkLst>
            <pc:docMk/>
            <pc:sldMk cId="399328488" sldId="450"/>
            <ac:spMk id="82" creationId="{1FA250DF-AA7A-C867-726E-0599271CD262}"/>
          </ac:spMkLst>
        </pc:spChg>
        <pc:spChg chg="mod">
          <ac:chgData name="Annemarija Apine (LV)" userId="546f5c59-3b8d-47fd-b739-a8fadc631053" providerId="ADAL" clId="{1E5FAF9F-4D85-464E-B064-C298814D6547}" dt="2024-03-12T12:02:03.298" v="1122" actId="790"/>
          <ac:spMkLst>
            <pc:docMk/>
            <pc:sldMk cId="399328488" sldId="450"/>
            <ac:spMk id="83" creationId="{7EAE60EC-5F19-C235-B8C9-161E7B875E14}"/>
          </ac:spMkLst>
        </pc:spChg>
        <pc:spChg chg="mod">
          <ac:chgData name="Annemarija Apine (LV)" userId="546f5c59-3b8d-47fd-b739-a8fadc631053" providerId="ADAL" clId="{1E5FAF9F-4D85-464E-B064-C298814D6547}" dt="2024-03-12T12:02:03.298" v="1122" actId="790"/>
          <ac:spMkLst>
            <pc:docMk/>
            <pc:sldMk cId="399328488" sldId="450"/>
            <ac:spMk id="84" creationId="{0DE1B29D-4A8B-427A-55FD-CBD5DE51C8B7}"/>
          </ac:spMkLst>
        </pc:spChg>
        <pc:spChg chg="mod">
          <ac:chgData name="Annemarija Apine (LV)" userId="546f5c59-3b8d-47fd-b739-a8fadc631053" providerId="ADAL" clId="{1E5FAF9F-4D85-464E-B064-C298814D6547}" dt="2024-03-12T12:02:03.298" v="1122" actId="790"/>
          <ac:spMkLst>
            <pc:docMk/>
            <pc:sldMk cId="399328488" sldId="450"/>
            <ac:spMk id="85" creationId="{CC31E929-99A2-84E9-A833-965C75326A58}"/>
          </ac:spMkLst>
        </pc:spChg>
        <pc:spChg chg="mod">
          <ac:chgData name="Annemarija Apine (LV)" userId="546f5c59-3b8d-47fd-b739-a8fadc631053" providerId="ADAL" clId="{1E5FAF9F-4D85-464E-B064-C298814D6547}" dt="2024-03-12T12:02:03.298" v="1122" actId="790"/>
          <ac:spMkLst>
            <pc:docMk/>
            <pc:sldMk cId="399328488" sldId="450"/>
            <ac:spMk id="86" creationId="{15545845-7745-1ECB-BF84-9C7592183F7A}"/>
          </ac:spMkLst>
        </pc:spChg>
        <pc:spChg chg="mod">
          <ac:chgData name="Annemarija Apine (LV)" userId="546f5c59-3b8d-47fd-b739-a8fadc631053" providerId="ADAL" clId="{1E5FAF9F-4D85-464E-B064-C298814D6547}" dt="2024-03-12T12:02:03.298" v="1122" actId="790"/>
          <ac:spMkLst>
            <pc:docMk/>
            <pc:sldMk cId="399328488" sldId="450"/>
            <ac:spMk id="87" creationId="{FDFD5712-4ACE-BB16-5B8D-25F96EC1BC2B}"/>
          </ac:spMkLst>
        </pc:spChg>
        <pc:spChg chg="mod">
          <ac:chgData name="Annemarija Apine (LV)" userId="546f5c59-3b8d-47fd-b739-a8fadc631053" providerId="ADAL" clId="{1E5FAF9F-4D85-464E-B064-C298814D6547}" dt="2024-03-12T12:02:03.298" v="1122" actId="790"/>
          <ac:spMkLst>
            <pc:docMk/>
            <pc:sldMk cId="399328488" sldId="450"/>
            <ac:spMk id="88" creationId="{DD248765-9838-3FD8-E6D3-1C7FFEEF9D7D}"/>
          </ac:spMkLst>
        </pc:spChg>
        <pc:spChg chg="mod">
          <ac:chgData name="Annemarija Apine (LV)" userId="546f5c59-3b8d-47fd-b739-a8fadc631053" providerId="ADAL" clId="{1E5FAF9F-4D85-464E-B064-C298814D6547}" dt="2024-03-12T12:02:03.298" v="1122" actId="790"/>
          <ac:spMkLst>
            <pc:docMk/>
            <pc:sldMk cId="399328488" sldId="450"/>
            <ac:spMk id="89" creationId="{B8B03AD2-01F2-EE79-5FD2-B6C5C3225B69}"/>
          </ac:spMkLst>
        </pc:spChg>
        <pc:spChg chg="mod">
          <ac:chgData name="Annemarija Apine (LV)" userId="546f5c59-3b8d-47fd-b739-a8fadc631053" providerId="ADAL" clId="{1E5FAF9F-4D85-464E-B064-C298814D6547}" dt="2024-03-12T12:02:03.298" v="1122" actId="790"/>
          <ac:spMkLst>
            <pc:docMk/>
            <pc:sldMk cId="399328488" sldId="450"/>
            <ac:spMk id="92" creationId="{9A291FD0-DB23-DD5D-0DB3-0069513F81E0}"/>
          </ac:spMkLst>
        </pc:spChg>
        <pc:spChg chg="mod">
          <ac:chgData name="Annemarija Apine (LV)" userId="546f5c59-3b8d-47fd-b739-a8fadc631053" providerId="ADAL" clId="{1E5FAF9F-4D85-464E-B064-C298814D6547}" dt="2024-03-12T12:02:03.298" v="1122" actId="790"/>
          <ac:spMkLst>
            <pc:docMk/>
            <pc:sldMk cId="399328488" sldId="450"/>
            <ac:spMk id="93" creationId="{5D366C9B-225E-CEA0-72EB-D85F0DA52B9E}"/>
          </ac:spMkLst>
        </pc:spChg>
        <pc:spChg chg="mod">
          <ac:chgData name="Annemarija Apine (LV)" userId="546f5c59-3b8d-47fd-b739-a8fadc631053" providerId="ADAL" clId="{1E5FAF9F-4D85-464E-B064-C298814D6547}" dt="2024-03-12T12:02:03.298" v="1122" actId="790"/>
          <ac:spMkLst>
            <pc:docMk/>
            <pc:sldMk cId="399328488" sldId="450"/>
            <ac:spMk id="94" creationId="{ECEF0416-3FCC-3A4B-65C3-F9459EDEFA45}"/>
          </ac:spMkLst>
        </pc:spChg>
      </pc:sldChg>
      <pc:sldChg chg="delSp modSp mod">
        <pc:chgData name="Annemarija Apine (LV)" userId="546f5c59-3b8d-47fd-b739-a8fadc631053" providerId="ADAL" clId="{1E5FAF9F-4D85-464E-B064-C298814D6547}" dt="2024-03-12T12:01:27.772" v="1117" actId="790"/>
        <pc:sldMkLst>
          <pc:docMk/>
          <pc:sldMk cId="192098022" sldId="769"/>
        </pc:sldMkLst>
        <pc:spChg chg="mod">
          <ac:chgData name="Annemarija Apine (LV)" userId="546f5c59-3b8d-47fd-b739-a8fadc631053" providerId="ADAL" clId="{1E5FAF9F-4D85-464E-B064-C298814D6547}" dt="2024-03-12T12:01:27.772" v="1117" actId="790"/>
          <ac:spMkLst>
            <pc:docMk/>
            <pc:sldMk cId="192098022" sldId="769"/>
            <ac:spMk id="2" creationId="{44641C4F-F07F-7C71-88DD-EEFC9A9A1906}"/>
          </ac:spMkLst>
        </pc:spChg>
        <pc:spChg chg="del">
          <ac:chgData name="Annemarija Apine (LV)" userId="546f5c59-3b8d-47fd-b739-a8fadc631053" providerId="ADAL" clId="{1E5FAF9F-4D85-464E-B064-C298814D6547}" dt="2024-03-11T21:44:57.142" v="40" actId="478"/>
          <ac:spMkLst>
            <pc:docMk/>
            <pc:sldMk cId="192098022" sldId="769"/>
            <ac:spMk id="5" creationId="{88400727-FB91-F4FE-5805-13D74D98FADF}"/>
          </ac:spMkLst>
        </pc:spChg>
        <pc:spChg chg="mod">
          <ac:chgData name="Annemarija Apine (LV)" userId="546f5c59-3b8d-47fd-b739-a8fadc631053" providerId="ADAL" clId="{1E5FAF9F-4D85-464E-B064-C298814D6547}" dt="2024-03-12T12:01:27.772" v="1117" actId="790"/>
          <ac:spMkLst>
            <pc:docMk/>
            <pc:sldMk cId="192098022" sldId="769"/>
            <ac:spMk id="6" creationId="{2CB3F9F5-858C-1D21-4D13-EAEDABE2E74A}"/>
          </ac:spMkLst>
        </pc:spChg>
        <pc:spChg chg="mod">
          <ac:chgData name="Annemarija Apine (LV)" userId="546f5c59-3b8d-47fd-b739-a8fadc631053" providerId="ADAL" clId="{1E5FAF9F-4D85-464E-B064-C298814D6547}" dt="2024-03-12T12:01:27.772" v="1117" actId="790"/>
          <ac:spMkLst>
            <pc:docMk/>
            <pc:sldMk cId="192098022" sldId="769"/>
            <ac:spMk id="8" creationId="{B6BFA0E2-7135-FFE5-3283-2EDC43146D38}"/>
          </ac:spMkLst>
        </pc:spChg>
        <pc:spChg chg="mod">
          <ac:chgData name="Annemarija Apine (LV)" userId="546f5c59-3b8d-47fd-b739-a8fadc631053" providerId="ADAL" clId="{1E5FAF9F-4D85-464E-B064-C298814D6547}" dt="2024-03-12T12:01:27.772" v="1117" actId="790"/>
          <ac:spMkLst>
            <pc:docMk/>
            <pc:sldMk cId="192098022" sldId="769"/>
            <ac:spMk id="18" creationId="{31F5B033-E36B-F124-637C-AF0345D3C1E2}"/>
          </ac:spMkLst>
        </pc:spChg>
        <pc:spChg chg="mod">
          <ac:chgData name="Annemarija Apine (LV)" userId="546f5c59-3b8d-47fd-b739-a8fadc631053" providerId="ADAL" clId="{1E5FAF9F-4D85-464E-B064-C298814D6547}" dt="2024-03-12T12:01:27.772" v="1117" actId="790"/>
          <ac:spMkLst>
            <pc:docMk/>
            <pc:sldMk cId="192098022" sldId="769"/>
            <ac:spMk id="25" creationId="{014F40D3-F5E9-404A-8FA7-2C2BFB358B3B}"/>
          </ac:spMkLst>
        </pc:spChg>
        <pc:spChg chg="mod">
          <ac:chgData name="Annemarija Apine (LV)" userId="546f5c59-3b8d-47fd-b739-a8fadc631053" providerId="ADAL" clId="{1E5FAF9F-4D85-464E-B064-C298814D6547}" dt="2024-03-12T12:01:27.772" v="1117" actId="790"/>
          <ac:spMkLst>
            <pc:docMk/>
            <pc:sldMk cId="192098022" sldId="769"/>
            <ac:spMk id="29" creationId="{44B6CEDA-C06E-D816-412F-DE090CE2BE7B}"/>
          </ac:spMkLst>
        </pc:spChg>
      </pc:sldChg>
      <pc:sldChg chg="del">
        <pc:chgData name="Annemarija Apine (LV)" userId="546f5c59-3b8d-47fd-b739-a8fadc631053" providerId="ADAL" clId="{1E5FAF9F-4D85-464E-B064-C298814D6547}" dt="2024-03-11T21:54:49.959" v="98" actId="47"/>
        <pc:sldMkLst>
          <pc:docMk/>
          <pc:sldMk cId="4246915437" sldId="898"/>
        </pc:sldMkLst>
      </pc:sldChg>
      <pc:sldChg chg="delCm">
        <pc:chgData name="Annemarija Apine (LV)" userId="546f5c59-3b8d-47fd-b739-a8fadc631053" providerId="ADAL" clId="{1E5FAF9F-4D85-464E-B064-C298814D6547}" dt="2024-03-11T22:22:28.149" v="547"/>
        <pc:sldMkLst>
          <pc:docMk/>
          <pc:sldMk cId="2067837237" sldId="899"/>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067837237" sldId="899"/>
                <pc2:cmMk id="{CE1513BC-B112-49D4-AE42-231DAE7C0B41}"/>
              </pc2:cmMkLst>
            </pc226:cmChg>
          </p:ext>
        </pc:extLst>
      </pc:sldChg>
      <pc:sldChg chg="modSp mod">
        <pc:chgData name="Annemarija Apine (LV)" userId="546f5c59-3b8d-47fd-b739-a8fadc631053" providerId="ADAL" clId="{1E5FAF9F-4D85-464E-B064-C298814D6547}" dt="2024-03-12T12:02:37.420" v="1126" actId="790"/>
        <pc:sldMkLst>
          <pc:docMk/>
          <pc:sldMk cId="1735191326" sldId="900"/>
        </pc:sldMkLst>
        <pc:spChg chg="mod">
          <ac:chgData name="Annemarija Apine (LV)" userId="546f5c59-3b8d-47fd-b739-a8fadc631053" providerId="ADAL" clId="{1E5FAF9F-4D85-464E-B064-C298814D6547}" dt="2024-03-12T12:02:37.420" v="1126" actId="790"/>
          <ac:spMkLst>
            <pc:docMk/>
            <pc:sldMk cId="1735191326" sldId="900"/>
            <ac:spMk id="2" creationId="{C697EF02-3183-316C-47B1-AAA43503E885}"/>
          </ac:spMkLst>
        </pc:spChg>
        <pc:spChg chg="mod">
          <ac:chgData name="Annemarija Apine (LV)" userId="546f5c59-3b8d-47fd-b739-a8fadc631053" providerId="ADAL" clId="{1E5FAF9F-4D85-464E-B064-C298814D6547}" dt="2024-03-12T12:02:37.420" v="1126" actId="790"/>
          <ac:spMkLst>
            <pc:docMk/>
            <pc:sldMk cId="1735191326" sldId="900"/>
            <ac:spMk id="3" creationId="{02A7C9EB-E60F-E4DD-7BE8-A36BF399BA1F}"/>
          </ac:spMkLst>
        </pc:spChg>
        <pc:spChg chg="mod">
          <ac:chgData name="Annemarija Apine (LV)" userId="546f5c59-3b8d-47fd-b739-a8fadc631053" providerId="ADAL" clId="{1E5FAF9F-4D85-464E-B064-C298814D6547}" dt="2024-03-12T12:02:37.420" v="1126" actId="790"/>
          <ac:spMkLst>
            <pc:docMk/>
            <pc:sldMk cId="1735191326" sldId="900"/>
            <ac:spMk id="4" creationId="{D7358D30-8A69-1769-6574-925287413D76}"/>
          </ac:spMkLst>
        </pc:spChg>
        <pc:spChg chg="mod">
          <ac:chgData name="Annemarija Apine (LV)" userId="546f5c59-3b8d-47fd-b739-a8fadc631053" providerId="ADAL" clId="{1E5FAF9F-4D85-464E-B064-C298814D6547}" dt="2024-03-12T12:02:37.420" v="1126" actId="790"/>
          <ac:spMkLst>
            <pc:docMk/>
            <pc:sldMk cId="1735191326" sldId="900"/>
            <ac:spMk id="5" creationId="{775EC90E-5DCE-2B24-A5AB-0F9245BDD3E7}"/>
          </ac:spMkLst>
        </pc:spChg>
        <pc:spChg chg="mod">
          <ac:chgData name="Annemarija Apine (LV)" userId="546f5c59-3b8d-47fd-b739-a8fadc631053" providerId="ADAL" clId="{1E5FAF9F-4D85-464E-B064-C298814D6547}" dt="2024-03-12T12:02:37.420" v="1126" actId="790"/>
          <ac:spMkLst>
            <pc:docMk/>
            <pc:sldMk cId="1735191326" sldId="900"/>
            <ac:spMk id="7" creationId="{FD2B3D1E-AD95-A74D-FB6E-3BEB3BE67A20}"/>
          </ac:spMkLst>
        </pc:spChg>
        <pc:spChg chg="mod">
          <ac:chgData name="Annemarija Apine (LV)" userId="546f5c59-3b8d-47fd-b739-a8fadc631053" providerId="ADAL" clId="{1E5FAF9F-4D85-464E-B064-C298814D6547}" dt="2024-03-12T12:02:37.420" v="1126" actId="790"/>
          <ac:spMkLst>
            <pc:docMk/>
            <pc:sldMk cId="1735191326" sldId="900"/>
            <ac:spMk id="8" creationId="{0D78293A-C74F-1335-8212-2305127ACD61}"/>
          </ac:spMkLst>
        </pc:spChg>
        <pc:spChg chg="mod">
          <ac:chgData name="Annemarija Apine (LV)" userId="546f5c59-3b8d-47fd-b739-a8fadc631053" providerId="ADAL" clId="{1E5FAF9F-4D85-464E-B064-C298814D6547}" dt="2024-03-12T12:02:37.420" v="1126" actId="790"/>
          <ac:spMkLst>
            <pc:docMk/>
            <pc:sldMk cId="1735191326" sldId="900"/>
            <ac:spMk id="10" creationId="{D2FB12B5-A789-9937-D320-F306F221F4BF}"/>
          </ac:spMkLst>
        </pc:spChg>
        <pc:spChg chg="mod">
          <ac:chgData name="Annemarija Apine (LV)" userId="546f5c59-3b8d-47fd-b739-a8fadc631053" providerId="ADAL" clId="{1E5FAF9F-4D85-464E-B064-C298814D6547}" dt="2024-03-12T12:02:37.420" v="1126" actId="790"/>
          <ac:spMkLst>
            <pc:docMk/>
            <pc:sldMk cId="1735191326" sldId="900"/>
            <ac:spMk id="11" creationId="{00EA6F79-EF7C-9A4F-4131-6CCE0536F341}"/>
          </ac:spMkLst>
        </pc:spChg>
        <pc:spChg chg="mod">
          <ac:chgData name="Annemarija Apine (LV)" userId="546f5c59-3b8d-47fd-b739-a8fadc631053" providerId="ADAL" clId="{1E5FAF9F-4D85-464E-B064-C298814D6547}" dt="2024-03-12T12:02:37.420" v="1126" actId="790"/>
          <ac:spMkLst>
            <pc:docMk/>
            <pc:sldMk cId="1735191326" sldId="900"/>
            <ac:spMk id="12" creationId="{A51AE326-133D-5E97-22A0-4425C676544E}"/>
          </ac:spMkLst>
        </pc:spChg>
        <pc:spChg chg="mod">
          <ac:chgData name="Annemarija Apine (LV)" userId="546f5c59-3b8d-47fd-b739-a8fadc631053" providerId="ADAL" clId="{1E5FAF9F-4D85-464E-B064-C298814D6547}" dt="2024-03-12T12:02:37.420" v="1126" actId="790"/>
          <ac:spMkLst>
            <pc:docMk/>
            <pc:sldMk cId="1735191326" sldId="900"/>
            <ac:spMk id="13" creationId="{EF408812-6A8C-BBBB-2400-49E5D3E443FB}"/>
          </ac:spMkLst>
        </pc:spChg>
        <pc:spChg chg="mod">
          <ac:chgData name="Annemarija Apine (LV)" userId="546f5c59-3b8d-47fd-b739-a8fadc631053" providerId="ADAL" clId="{1E5FAF9F-4D85-464E-B064-C298814D6547}" dt="2024-03-12T12:02:37.420" v="1126" actId="790"/>
          <ac:spMkLst>
            <pc:docMk/>
            <pc:sldMk cId="1735191326" sldId="900"/>
            <ac:spMk id="16" creationId="{BA798A18-B6C9-5AD5-0309-542D9063F7F3}"/>
          </ac:spMkLst>
        </pc:spChg>
        <pc:spChg chg="mod">
          <ac:chgData name="Annemarija Apine (LV)" userId="546f5c59-3b8d-47fd-b739-a8fadc631053" providerId="ADAL" clId="{1E5FAF9F-4D85-464E-B064-C298814D6547}" dt="2024-03-12T12:02:37.420" v="1126" actId="790"/>
          <ac:spMkLst>
            <pc:docMk/>
            <pc:sldMk cId="1735191326" sldId="900"/>
            <ac:spMk id="17" creationId="{8151CA2C-8981-B68D-64B7-28A4A90DA327}"/>
          </ac:spMkLst>
        </pc:spChg>
        <pc:spChg chg="mod">
          <ac:chgData name="Annemarija Apine (LV)" userId="546f5c59-3b8d-47fd-b739-a8fadc631053" providerId="ADAL" clId="{1E5FAF9F-4D85-464E-B064-C298814D6547}" dt="2024-03-12T12:02:37.420" v="1126" actId="790"/>
          <ac:spMkLst>
            <pc:docMk/>
            <pc:sldMk cId="1735191326" sldId="900"/>
            <ac:spMk id="26" creationId="{65EC1BE1-13D8-345C-448E-BFA1A08ADD25}"/>
          </ac:spMkLst>
        </pc:spChg>
        <pc:spChg chg="mod">
          <ac:chgData name="Annemarija Apine (LV)" userId="546f5c59-3b8d-47fd-b739-a8fadc631053" providerId="ADAL" clId="{1E5FAF9F-4D85-464E-B064-C298814D6547}" dt="2024-03-12T12:02:37.420" v="1126" actId="790"/>
          <ac:spMkLst>
            <pc:docMk/>
            <pc:sldMk cId="1735191326" sldId="900"/>
            <ac:spMk id="30" creationId="{0E5402E0-269A-92B5-BC8D-30D2207F23A4}"/>
          </ac:spMkLst>
        </pc:spChg>
        <pc:spChg chg="mod">
          <ac:chgData name="Annemarija Apine (LV)" userId="546f5c59-3b8d-47fd-b739-a8fadc631053" providerId="ADAL" clId="{1E5FAF9F-4D85-464E-B064-C298814D6547}" dt="2024-03-12T12:02:37.420" v="1126" actId="790"/>
          <ac:spMkLst>
            <pc:docMk/>
            <pc:sldMk cId="1735191326" sldId="900"/>
            <ac:spMk id="38" creationId="{B3BF45B1-878A-6384-B57A-0E2DDAE87F72}"/>
          </ac:spMkLst>
        </pc:spChg>
        <pc:spChg chg="mod">
          <ac:chgData name="Annemarija Apine (LV)" userId="546f5c59-3b8d-47fd-b739-a8fadc631053" providerId="ADAL" clId="{1E5FAF9F-4D85-464E-B064-C298814D6547}" dt="2024-03-12T12:02:37.420" v="1126" actId="790"/>
          <ac:spMkLst>
            <pc:docMk/>
            <pc:sldMk cId="1735191326" sldId="900"/>
            <ac:spMk id="39" creationId="{6FBC0546-09C1-004A-40CC-EF2125A3E636}"/>
          </ac:spMkLst>
        </pc:spChg>
        <pc:spChg chg="mod">
          <ac:chgData name="Annemarija Apine (LV)" userId="546f5c59-3b8d-47fd-b739-a8fadc631053" providerId="ADAL" clId="{1E5FAF9F-4D85-464E-B064-C298814D6547}" dt="2024-03-12T12:02:37.420" v="1126" actId="790"/>
          <ac:spMkLst>
            <pc:docMk/>
            <pc:sldMk cId="1735191326" sldId="900"/>
            <ac:spMk id="40" creationId="{57B73D69-1346-AB3E-2B83-74CE4618BD54}"/>
          </ac:spMkLst>
        </pc:spChg>
        <pc:spChg chg="mod">
          <ac:chgData name="Annemarija Apine (LV)" userId="546f5c59-3b8d-47fd-b739-a8fadc631053" providerId="ADAL" clId="{1E5FAF9F-4D85-464E-B064-C298814D6547}" dt="2024-03-12T12:02:37.420" v="1126" actId="790"/>
          <ac:spMkLst>
            <pc:docMk/>
            <pc:sldMk cId="1735191326" sldId="900"/>
            <ac:spMk id="43" creationId="{B7165ACE-6816-8C1A-0E1A-FCA6963F41F4}"/>
          </ac:spMkLst>
        </pc:spChg>
        <pc:spChg chg="mod">
          <ac:chgData name="Annemarija Apine (LV)" userId="546f5c59-3b8d-47fd-b739-a8fadc631053" providerId="ADAL" clId="{1E5FAF9F-4D85-464E-B064-C298814D6547}" dt="2024-03-12T12:02:37.420" v="1126" actId="790"/>
          <ac:spMkLst>
            <pc:docMk/>
            <pc:sldMk cId="1735191326" sldId="900"/>
            <ac:spMk id="44" creationId="{7B06B257-212B-0CF9-9F65-466A796A3B21}"/>
          </ac:spMkLst>
        </pc:spChg>
        <pc:spChg chg="mod">
          <ac:chgData name="Annemarija Apine (LV)" userId="546f5c59-3b8d-47fd-b739-a8fadc631053" providerId="ADAL" clId="{1E5FAF9F-4D85-464E-B064-C298814D6547}" dt="2024-03-12T12:02:37.420" v="1126" actId="790"/>
          <ac:spMkLst>
            <pc:docMk/>
            <pc:sldMk cId="1735191326" sldId="900"/>
            <ac:spMk id="45" creationId="{D55CC03F-D983-B21C-EA37-379DE9F97A03}"/>
          </ac:spMkLst>
        </pc:spChg>
        <pc:spChg chg="mod">
          <ac:chgData name="Annemarija Apine (LV)" userId="546f5c59-3b8d-47fd-b739-a8fadc631053" providerId="ADAL" clId="{1E5FAF9F-4D85-464E-B064-C298814D6547}" dt="2024-03-12T12:02:37.420" v="1126" actId="790"/>
          <ac:spMkLst>
            <pc:docMk/>
            <pc:sldMk cId="1735191326" sldId="900"/>
            <ac:spMk id="47" creationId="{2DD24A6F-2555-7D50-6B9E-19589A959683}"/>
          </ac:spMkLst>
        </pc:spChg>
        <pc:spChg chg="mod">
          <ac:chgData name="Annemarija Apine (LV)" userId="546f5c59-3b8d-47fd-b739-a8fadc631053" providerId="ADAL" clId="{1E5FAF9F-4D85-464E-B064-C298814D6547}" dt="2024-03-12T12:02:37.420" v="1126" actId="790"/>
          <ac:spMkLst>
            <pc:docMk/>
            <pc:sldMk cId="1735191326" sldId="900"/>
            <ac:spMk id="48" creationId="{CAAFFC2F-2EFD-CD7C-DEEE-DBA02C9CB423}"/>
          </ac:spMkLst>
        </pc:spChg>
        <pc:spChg chg="mod">
          <ac:chgData name="Annemarija Apine (LV)" userId="546f5c59-3b8d-47fd-b739-a8fadc631053" providerId="ADAL" clId="{1E5FAF9F-4D85-464E-B064-C298814D6547}" dt="2024-03-12T12:02:37.420" v="1126" actId="790"/>
          <ac:spMkLst>
            <pc:docMk/>
            <pc:sldMk cId="1735191326" sldId="900"/>
            <ac:spMk id="49" creationId="{53548C78-2935-71B8-851B-769FCB896034}"/>
          </ac:spMkLst>
        </pc:spChg>
        <pc:spChg chg="mod">
          <ac:chgData name="Annemarija Apine (LV)" userId="546f5c59-3b8d-47fd-b739-a8fadc631053" providerId="ADAL" clId="{1E5FAF9F-4D85-464E-B064-C298814D6547}" dt="2024-03-12T12:02:37.420" v="1126" actId="790"/>
          <ac:spMkLst>
            <pc:docMk/>
            <pc:sldMk cId="1735191326" sldId="900"/>
            <ac:spMk id="55" creationId="{D19AF0DB-E5A6-2252-087C-6AA7A679E44D}"/>
          </ac:spMkLst>
        </pc:spChg>
        <pc:spChg chg="mod">
          <ac:chgData name="Annemarija Apine (LV)" userId="546f5c59-3b8d-47fd-b739-a8fadc631053" providerId="ADAL" clId="{1E5FAF9F-4D85-464E-B064-C298814D6547}" dt="2024-03-12T12:02:37.420" v="1126" actId="790"/>
          <ac:spMkLst>
            <pc:docMk/>
            <pc:sldMk cId="1735191326" sldId="900"/>
            <ac:spMk id="56" creationId="{3A969FC1-A5DF-7F7A-364B-B4B37D4AA186}"/>
          </ac:spMkLst>
        </pc:spChg>
        <pc:spChg chg="mod">
          <ac:chgData name="Annemarija Apine (LV)" userId="546f5c59-3b8d-47fd-b739-a8fadc631053" providerId="ADAL" clId="{1E5FAF9F-4D85-464E-B064-C298814D6547}" dt="2024-03-12T12:02:37.420" v="1126" actId="790"/>
          <ac:spMkLst>
            <pc:docMk/>
            <pc:sldMk cId="1735191326" sldId="900"/>
            <ac:spMk id="57" creationId="{6E357888-D229-2881-630B-92EDB810D202}"/>
          </ac:spMkLst>
        </pc:spChg>
        <pc:spChg chg="mod">
          <ac:chgData name="Annemarija Apine (LV)" userId="546f5c59-3b8d-47fd-b739-a8fadc631053" providerId="ADAL" clId="{1E5FAF9F-4D85-464E-B064-C298814D6547}" dt="2024-03-12T12:02:37.420" v="1126" actId="790"/>
          <ac:spMkLst>
            <pc:docMk/>
            <pc:sldMk cId="1735191326" sldId="900"/>
            <ac:spMk id="58" creationId="{73A5DA40-EC68-C1DD-E470-027AE8CCAA6A}"/>
          </ac:spMkLst>
        </pc:spChg>
        <pc:spChg chg="mod">
          <ac:chgData name="Annemarija Apine (LV)" userId="546f5c59-3b8d-47fd-b739-a8fadc631053" providerId="ADAL" clId="{1E5FAF9F-4D85-464E-B064-C298814D6547}" dt="2024-03-12T12:02:37.420" v="1126" actId="790"/>
          <ac:spMkLst>
            <pc:docMk/>
            <pc:sldMk cId="1735191326" sldId="900"/>
            <ac:spMk id="59" creationId="{69BA0589-D566-AAB4-31E4-35DD4F0EA8AD}"/>
          </ac:spMkLst>
        </pc:spChg>
        <pc:spChg chg="mod">
          <ac:chgData name="Annemarija Apine (LV)" userId="546f5c59-3b8d-47fd-b739-a8fadc631053" providerId="ADAL" clId="{1E5FAF9F-4D85-464E-B064-C298814D6547}" dt="2024-03-12T12:02:37.420" v="1126" actId="790"/>
          <ac:spMkLst>
            <pc:docMk/>
            <pc:sldMk cId="1735191326" sldId="900"/>
            <ac:spMk id="60" creationId="{CB6722E8-D1A5-E761-7A03-E5BE22B6FF50}"/>
          </ac:spMkLst>
        </pc:spChg>
        <pc:spChg chg="mod">
          <ac:chgData name="Annemarija Apine (LV)" userId="546f5c59-3b8d-47fd-b739-a8fadc631053" providerId="ADAL" clId="{1E5FAF9F-4D85-464E-B064-C298814D6547}" dt="2024-03-12T12:02:37.420" v="1126" actId="790"/>
          <ac:spMkLst>
            <pc:docMk/>
            <pc:sldMk cId="1735191326" sldId="900"/>
            <ac:spMk id="61" creationId="{B96B44FD-B302-C466-E087-68303F31E913}"/>
          </ac:spMkLst>
        </pc:spChg>
        <pc:spChg chg="mod">
          <ac:chgData name="Annemarija Apine (LV)" userId="546f5c59-3b8d-47fd-b739-a8fadc631053" providerId="ADAL" clId="{1E5FAF9F-4D85-464E-B064-C298814D6547}" dt="2024-03-12T12:02:37.420" v="1126" actId="790"/>
          <ac:spMkLst>
            <pc:docMk/>
            <pc:sldMk cId="1735191326" sldId="900"/>
            <ac:spMk id="62" creationId="{AAF63E4B-E49D-0898-F096-917EC5BB8784}"/>
          </ac:spMkLst>
        </pc:spChg>
        <pc:spChg chg="mod">
          <ac:chgData name="Annemarija Apine (LV)" userId="546f5c59-3b8d-47fd-b739-a8fadc631053" providerId="ADAL" clId="{1E5FAF9F-4D85-464E-B064-C298814D6547}" dt="2024-03-12T12:02:37.420" v="1126" actId="790"/>
          <ac:spMkLst>
            <pc:docMk/>
            <pc:sldMk cId="1735191326" sldId="900"/>
            <ac:spMk id="63" creationId="{C107C544-9363-E16D-C21A-14EB3086FD5E}"/>
          </ac:spMkLst>
        </pc:spChg>
        <pc:spChg chg="mod">
          <ac:chgData name="Annemarija Apine (LV)" userId="546f5c59-3b8d-47fd-b739-a8fadc631053" providerId="ADAL" clId="{1E5FAF9F-4D85-464E-B064-C298814D6547}" dt="2024-03-12T12:02:37.420" v="1126" actId="790"/>
          <ac:spMkLst>
            <pc:docMk/>
            <pc:sldMk cId="1735191326" sldId="900"/>
            <ac:spMk id="64" creationId="{BAC6FD31-C415-55AA-743A-8F036F3BF365}"/>
          </ac:spMkLst>
        </pc:spChg>
        <pc:spChg chg="mod">
          <ac:chgData name="Annemarija Apine (LV)" userId="546f5c59-3b8d-47fd-b739-a8fadc631053" providerId="ADAL" clId="{1E5FAF9F-4D85-464E-B064-C298814D6547}" dt="2024-03-12T12:02:37.420" v="1126" actId="790"/>
          <ac:spMkLst>
            <pc:docMk/>
            <pc:sldMk cId="1735191326" sldId="900"/>
            <ac:spMk id="65" creationId="{DFB0571C-3F32-08BC-2216-A09604DF1E6C}"/>
          </ac:spMkLst>
        </pc:spChg>
        <pc:spChg chg="mod">
          <ac:chgData name="Annemarija Apine (LV)" userId="546f5c59-3b8d-47fd-b739-a8fadc631053" providerId="ADAL" clId="{1E5FAF9F-4D85-464E-B064-C298814D6547}" dt="2024-03-12T12:02:37.420" v="1126" actId="790"/>
          <ac:spMkLst>
            <pc:docMk/>
            <pc:sldMk cId="1735191326" sldId="900"/>
            <ac:spMk id="69" creationId="{326E79A8-DB05-0E8C-C83A-BE4E3C60AB93}"/>
          </ac:spMkLst>
        </pc:spChg>
        <pc:spChg chg="mod">
          <ac:chgData name="Annemarija Apine (LV)" userId="546f5c59-3b8d-47fd-b739-a8fadc631053" providerId="ADAL" clId="{1E5FAF9F-4D85-464E-B064-C298814D6547}" dt="2024-03-12T12:02:37.420" v="1126" actId="790"/>
          <ac:spMkLst>
            <pc:docMk/>
            <pc:sldMk cId="1735191326" sldId="900"/>
            <ac:spMk id="70" creationId="{CF682008-4016-07AA-D26B-E95268052C66}"/>
          </ac:spMkLst>
        </pc:spChg>
        <pc:spChg chg="mod">
          <ac:chgData name="Annemarija Apine (LV)" userId="546f5c59-3b8d-47fd-b739-a8fadc631053" providerId="ADAL" clId="{1E5FAF9F-4D85-464E-B064-C298814D6547}" dt="2024-03-12T12:02:37.420" v="1126" actId="790"/>
          <ac:spMkLst>
            <pc:docMk/>
            <pc:sldMk cId="1735191326" sldId="900"/>
            <ac:spMk id="71" creationId="{7DAB69D4-9C93-DE4E-6744-B5556D9203A5}"/>
          </ac:spMkLst>
        </pc:spChg>
        <pc:spChg chg="mod">
          <ac:chgData name="Annemarija Apine (LV)" userId="546f5c59-3b8d-47fd-b739-a8fadc631053" providerId="ADAL" clId="{1E5FAF9F-4D85-464E-B064-C298814D6547}" dt="2024-03-12T12:02:37.420" v="1126" actId="790"/>
          <ac:spMkLst>
            <pc:docMk/>
            <pc:sldMk cId="1735191326" sldId="900"/>
            <ac:spMk id="77" creationId="{C5B0266C-673F-07DD-2F60-FC169E43A4DF}"/>
          </ac:spMkLst>
        </pc:spChg>
        <pc:spChg chg="mod">
          <ac:chgData name="Annemarija Apine (LV)" userId="546f5c59-3b8d-47fd-b739-a8fadc631053" providerId="ADAL" clId="{1E5FAF9F-4D85-464E-B064-C298814D6547}" dt="2024-03-12T12:02:37.420" v="1126" actId="790"/>
          <ac:spMkLst>
            <pc:docMk/>
            <pc:sldMk cId="1735191326" sldId="900"/>
            <ac:spMk id="78" creationId="{DFE62713-DB24-82F8-B530-DB2B5AE42760}"/>
          </ac:spMkLst>
        </pc:spChg>
        <pc:spChg chg="mod">
          <ac:chgData name="Annemarija Apine (LV)" userId="546f5c59-3b8d-47fd-b739-a8fadc631053" providerId="ADAL" clId="{1E5FAF9F-4D85-464E-B064-C298814D6547}" dt="2024-03-12T12:02:37.420" v="1126" actId="790"/>
          <ac:spMkLst>
            <pc:docMk/>
            <pc:sldMk cId="1735191326" sldId="900"/>
            <ac:spMk id="79" creationId="{832CB56B-9DC0-1F1E-3972-5DDA898A7AB2}"/>
          </ac:spMkLst>
        </pc:spChg>
        <pc:spChg chg="mod">
          <ac:chgData name="Annemarija Apine (LV)" userId="546f5c59-3b8d-47fd-b739-a8fadc631053" providerId="ADAL" clId="{1E5FAF9F-4D85-464E-B064-C298814D6547}" dt="2024-03-12T12:02:37.420" v="1126" actId="790"/>
          <ac:spMkLst>
            <pc:docMk/>
            <pc:sldMk cId="1735191326" sldId="900"/>
            <ac:spMk id="81" creationId="{DDCA628C-F107-F2EE-29A3-F9E29FA8073D}"/>
          </ac:spMkLst>
        </pc:spChg>
        <pc:spChg chg="mod">
          <ac:chgData name="Annemarija Apine (LV)" userId="546f5c59-3b8d-47fd-b739-a8fadc631053" providerId="ADAL" clId="{1E5FAF9F-4D85-464E-B064-C298814D6547}" dt="2024-03-12T12:02:37.420" v="1126" actId="790"/>
          <ac:spMkLst>
            <pc:docMk/>
            <pc:sldMk cId="1735191326" sldId="900"/>
            <ac:spMk id="83" creationId="{0E6A2134-BA4E-F1D6-4C61-74C950656B53}"/>
          </ac:spMkLst>
        </pc:spChg>
        <pc:spChg chg="mod">
          <ac:chgData name="Annemarija Apine (LV)" userId="546f5c59-3b8d-47fd-b739-a8fadc631053" providerId="ADAL" clId="{1E5FAF9F-4D85-464E-B064-C298814D6547}" dt="2024-03-12T12:02:37.420" v="1126" actId="790"/>
          <ac:spMkLst>
            <pc:docMk/>
            <pc:sldMk cId="1735191326" sldId="900"/>
            <ac:spMk id="84" creationId="{E32EE091-D3C1-06E6-9082-073AD5CF7765}"/>
          </ac:spMkLst>
        </pc:spChg>
        <pc:spChg chg="mod">
          <ac:chgData name="Annemarija Apine (LV)" userId="546f5c59-3b8d-47fd-b739-a8fadc631053" providerId="ADAL" clId="{1E5FAF9F-4D85-464E-B064-C298814D6547}" dt="2024-03-12T12:02:37.420" v="1126" actId="790"/>
          <ac:spMkLst>
            <pc:docMk/>
            <pc:sldMk cId="1735191326" sldId="900"/>
            <ac:spMk id="85" creationId="{9A2306D2-77A7-80C7-F244-EA7DEC804D5E}"/>
          </ac:spMkLst>
        </pc:spChg>
        <pc:spChg chg="mod">
          <ac:chgData name="Annemarija Apine (LV)" userId="546f5c59-3b8d-47fd-b739-a8fadc631053" providerId="ADAL" clId="{1E5FAF9F-4D85-464E-B064-C298814D6547}" dt="2024-03-12T12:02:37.420" v="1126" actId="790"/>
          <ac:spMkLst>
            <pc:docMk/>
            <pc:sldMk cId="1735191326" sldId="900"/>
            <ac:spMk id="86" creationId="{BBC2D154-4911-B47F-9B45-8A1CC3B13EFD}"/>
          </ac:spMkLst>
        </pc:spChg>
        <pc:spChg chg="mod">
          <ac:chgData name="Annemarija Apine (LV)" userId="546f5c59-3b8d-47fd-b739-a8fadc631053" providerId="ADAL" clId="{1E5FAF9F-4D85-464E-B064-C298814D6547}" dt="2024-03-12T12:02:37.420" v="1126" actId="790"/>
          <ac:spMkLst>
            <pc:docMk/>
            <pc:sldMk cId="1735191326" sldId="900"/>
            <ac:spMk id="87" creationId="{DFB5AA23-26C2-FB44-26CD-6286CF29ECC9}"/>
          </ac:spMkLst>
        </pc:spChg>
        <pc:spChg chg="mod">
          <ac:chgData name="Annemarija Apine (LV)" userId="546f5c59-3b8d-47fd-b739-a8fadc631053" providerId="ADAL" clId="{1E5FAF9F-4D85-464E-B064-C298814D6547}" dt="2024-03-12T12:02:37.420" v="1126" actId="790"/>
          <ac:spMkLst>
            <pc:docMk/>
            <pc:sldMk cId="1735191326" sldId="900"/>
            <ac:spMk id="89" creationId="{5BDDF6DF-E697-00B7-6FDF-654A81CBB5E7}"/>
          </ac:spMkLst>
        </pc:spChg>
        <pc:spChg chg="mod">
          <ac:chgData name="Annemarija Apine (LV)" userId="546f5c59-3b8d-47fd-b739-a8fadc631053" providerId="ADAL" clId="{1E5FAF9F-4D85-464E-B064-C298814D6547}" dt="2024-03-12T12:02:37.420" v="1126" actId="790"/>
          <ac:spMkLst>
            <pc:docMk/>
            <pc:sldMk cId="1735191326" sldId="900"/>
            <ac:spMk id="90" creationId="{4C849506-7AF9-F820-5CF0-7D6E33F03113}"/>
          </ac:spMkLst>
        </pc:spChg>
        <pc:spChg chg="mod">
          <ac:chgData name="Annemarija Apine (LV)" userId="546f5c59-3b8d-47fd-b739-a8fadc631053" providerId="ADAL" clId="{1E5FAF9F-4D85-464E-B064-C298814D6547}" dt="2024-03-12T12:02:37.420" v="1126" actId="790"/>
          <ac:spMkLst>
            <pc:docMk/>
            <pc:sldMk cId="1735191326" sldId="900"/>
            <ac:spMk id="91" creationId="{D5FD63F2-1B6A-7954-A06D-677EB870039A}"/>
          </ac:spMkLst>
        </pc:spChg>
        <pc:spChg chg="mod">
          <ac:chgData name="Annemarija Apine (LV)" userId="546f5c59-3b8d-47fd-b739-a8fadc631053" providerId="ADAL" clId="{1E5FAF9F-4D85-464E-B064-C298814D6547}" dt="2024-03-12T12:02:37.420" v="1126" actId="790"/>
          <ac:spMkLst>
            <pc:docMk/>
            <pc:sldMk cId="1735191326" sldId="900"/>
            <ac:spMk id="92" creationId="{F8FFD178-37DE-9024-CC8B-32143627DB53}"/>
          </ac:spMkLst>
        </pc:spChg>
        <pc:spChg chg="mod">
          <ac:chgData name="Annemarija Apine (LV)" userId="546f5c59-3b8d-47fd-b739-a8fadc631053" providerId="ADAL" clId="{1E5FAF9F-4D85-464E-B064-C298814D6547}" dt="2024-03-12T12:02:37.420" v="1126" actId="790"/>
          <ac:spMkLst>
            <pc:docMk/>
            <pc:sldMk cId="1735191326" sldId="900"/>
            <ac:spMk id="93" creationId="{D8F4B1B1-E4D3-8F38-0B75-A345F1876D56}"/>
          </ac:spMkLst>
        </pc:spChg>
        <pc:spChg chg="mod">
          <ac:chgData name="Annemarija Apine (LV)" userId="546f5c59-3b8d-47fd-b739-a8fadc631053" providerId="ADAL" clId="{1E5FAF9F-4D85-464E-B064-C298814D6547}" dt="2024-03-12T12:02:37.420" v="1126" actId="790"/>
          <ac:spMkLst>
            <pc:docMk/>
            <pc:sldMk cId="1735191326" sldId="900"/>
            <ac:spMk id="95" creationId="{0BF8B685-24EB-F6B7-6D96-1C3A29FAAB97}"/>
          </ac:spMkLst>
        </pc:spChg>
        <pc:spChg chg="mod">
          <ac:chgData name="Annemarija Apine (LV)" userId="546f5c59-3b8d-47fd-b739-a8fadc631053" providerId="ADAL" clId="{1E5FAF9F-4D85-464E-B064-C298814D6547}" dt="2024-03-12T12:02:37.420" v="1126" actId="790"/>
          <ac:spMkLst>
            <pc:docMk/>
            <pc:sldMk cId="1735191326" sldId="900"/>
            <ac:spMk id="96" creationId="{EE7AEC1C-C5B3-E723-B9E4-E1B584899F72}"/>
          </ac:spMkLst>
        </pc:spChg>
        <pc:spChg chg="mod">
          <ac:chgData name="Annemarija Apine (LV)" userId="546f5c59-3b8d-47fd-b739-a8fadc631053" providerId="ADAL" clId="{1E5FAF9F-4D85-464E-B064-C298814D6547}" dt="2024-03-12T12:02:37.420" v="1126" actId="790"/>
          <ac:spMkLst>
            <pc:docMk/>
            <pc:sldMk cId="1735191326" sldId="900"/>
            <ac:spMk id="97" creationId="{01F7ABBA-99EA-9BF1-9BB6-0E00A4C88043}"/>
          </ac:spMkLst>
        </pc:spChg>
        <pc:spChg chg="mod">
          <ac:chgData name="Annemarija Apine (LV)" userId="546f5c59-3b8d-47fd-b739-a8fadc631053" providerId="ADAL" clId="{1E5FAF9F-4D85-464E-B064-C298814D6547}" dt="2024-03-12T12:02:37.420" v="1126" actId="790"/>
          <ac:spMkLst>
            <pc:docMk/>
            <pc:sldMk cId="1735191326" sldId="900"/>
            <ac:spMk id="98" creationId="{67E0A6C9-5F93-35C3-BA83-3265A17A644E}"/>
          </ac:spMkLst>
        </pc:spChg>
        <pc:spChg chg="mod">
          <ac:chgData name="Annemarija Apine (LV)" userId="546f5c59-3b8d-47fd-b739-a8fadc631053" providerId="ADAL" clId="{1E5FAF9F-4D85-464E-B064-C298814D6547}" dt="2024-03-12T12:02:37.420" v="1126" actId="790"/>
          <ac:spMkLst>
            <pc:docMk/>
            <pc:sldMk cId="1735191326" sldId="900"/>
            <ac:spMk id="99" creationId="{4D545500-2FFA-ECE0-FA08-582982308EB9}"/>
          </ac:spMkLst>
        </pc:spChg>
        <pc:spChg chg="mod">
          <ac:chgData name="Annemarija Apine (LV)" userId="546f5c59-3b8d-47fd-b739-a8fadc631053" providerId="ADAL" clId="{1E5FAF9F-4D85-464E-B064-C298814D6547}" dt="2024-03-12T12:02:37.420" v="1126" actId="790"/>
          <ac:spMkLst>
            <pc:docMk/>
            <pc:sldMk cId="1735191326" sldId="900"/>
            <ac:spMk id="100" creationId="{2132EE1A-86EE-0738-ED0F-28A9295E2885}"/>
          </ac:spMkLst>
        </pc:spChg>
        <pc:spChg chg="mod">
          <ac:chgData name="Annemarija Apine (LV)" userId="546f5c59-3b8d-47fd-b739-a8fadc631053" providerId="ADAL" clId="{1E5FAF9F-4D85-464E-B064-C298814D6547}" dt="2024-03-12T12:02:37.420" v="1126" actId="790"/>
          <ac:spMkLst>
            <pc:docMk/>
            <pc:sldMk cId="1735191326" sldId="900"/>
            <ac:spMk id="101" creationId="{CFB7CC00-E26B-7DBA-041D-09E2981F93CA}"/>
          </ac:spMkLst>
        </pc:spChg>
        <pc:spChg chg="mod">
          <ac:chgData name="Annemarija Apine (LV)" userId="546f5c59-3b8d-47fd-b739-a8fadc631053" providerId="ADAL" clId="{1E5FAF9F-4D85-464E-B064-C298814D6547}" dt="2024-03-12T12:02:37.420" v="1126" actId="790"/>
          <ac:spMkLst>
            <pc:docMk/>
            <pc:sldMk cId="1735191326" sldId="900"/>
            <ac:spMk id="102" creationId="{15EC7B77-49D7-6AD2-FB2D-8180FD60E8B6}"/>
          </ac:spMkLst>
        </pc:spChg>
        <pc:spChg chg="mod">
          <ac:chgData name="Annemarija Apine (LV)" userId="546f5c59-3b8d-47fd-b739-a8fadc631053" providerId="ADAL" clId="{1E5FAF9F-4D85-464E-B064-C298814D6547}" dt="2024-03-12T12:02:37.420" v="1126" actId="790"/>
          <ac:spMkLst>
            <pc:docMk/>
            <pc:sldMk cId="1735191326" sldId="900"/>
            <ac:spMk id="103" creationId="{93B3CE46-1839-A491-018E-5C5D47EA5C53}"/>
          </ac:spMkLst>
        </pc:spChg>
        <pc:spChg chg="mod">
          <ac:chgData name="Annemarija Apine (LV)" userId="546f5c59-3b8d-47fd-b739-a8fadc631053" providerId="ADAL" clId="{1E5FAF9F-4D85-464E-B064-C298814D6547}" dt="2024-03-12T12:02:37.420" v="1126" actId="790"/>
          <ac:spMkLst>
            <pc:docMk/>
            <pc:sldMk cId="1735191326" sldId="900"/>
            <ac:spMk id="104" creationId="{F2DFFD91-F045-017F-AB94-50397BBD2076}"/>
          </ac:spMkLst>
        </pc:spChg>
        <pc:spChg chg="mod">
          <ac:chgData name="Annemarija Apine (LV)" userId="546f5c59-3b8d-47fd-b739-a8fadc631053" providerId="ADAL" clId="{1E5FAF9F-4D85-464E-B064-C298814D6547}" dt="2024-03-12T12:02:37.420" v="1126" actId="790"/>
          <ac:spMkLst>
            <pc:docMk/>
            <pc:sldMk cId="1735191326" sldId="900"/>
            <ac:spMk id="105" creationId="{952EFDB1-B39C-9CFF-195D-FFA30B863AED}"/>
          </ac:spMkLst>
        </pc:spChg>
        <pc:spChg chg="mod">
          <ac:chgData name="Annemarija Apine (LV)" userId="546f5c59-3b8d-47fd-b739-a8fadc631053" providerId="ADAL" clId="{1E5FAF9F-4D85-464E-B064-C298814D6547}" dt="2024-03-12T12:02:37.420" v="1126" actId="790"/>
          <ac:spMkLst>
            <pc:docMk/>
            <pc:sldMk cId="1735191326" sldId="900"/>
            <ac:spMk id="106" creationId="{2BF2D093-2A49-877E-57FB-C64EFE51EDD9}"/>
          </ac:spMkLst>
        </pc:spChg>
        <pc:spChg chg="mod">
          <ac:chgData name="Annemarija Apine (LV)" userId="546f5c59-3b8d-47fd-b739-a8fadc631053" providerId="ADAL" clId="{1E5FAF9F-4D85-464E-B064-C298814D6547}" dt="2024-03-12T12:02:37.420" v="1126" actId="790"/>
          <ac:spMkLst>
            <pc:docMk/>
            <pc:sldMk cId="1735191326" sldId="900"/>
            <ac:spMk id="107" creationId="{D821A797-6F35-403F-F3BD-1B2C96A9BB9E}"/>
          </ac:spMkLst>
        </pc:spChg>
        <pc:spChg chg="mod">
          <ac:chgData name="Annemarija Apine (LV)" userId="546f5c59-3b8d-47fd-b739-a8fadc631053" providerId="ADAL" clId="{1E5FAF9F-4D85-464E-B064-C298814D6547}" dt="2024-03-12T12:02:37.420" v="1126" actId="790"/>
          <ac:spMkLst>
            <pc:docMk/>
            <pc:sldMk cId="1735191326" sldId="900"/>
            <ac:spMk id="108" creationId="{90D09C20-B8D2-405F-DC35-7461DFF6F67B}"/>
          </ac:spMkLst>
        </pc:spChg>
        <pc:spChg chg="mod">
          <ac:chgData name="Annemarija Apine (LV)" userId="546f5c59-3b8d-47fd-b739-a8fadc631053" providerId="ADAL" clId="{1E5FAF9F-4D85-464E-B064-C298814D6547}" dt="2024-03-12T12:02:37.420" v="1126" actId="790"/>
          <ac:spMkLst>
            <pc:docMk/>
            <pc:sldMk cId="1735191326" sldId="900"/>
            <ac:spMk id="109" creationId="{420CBE9D-90E6-55AB-2247-F721592065BB}"/>
          </ac:spMkLst>
        </pc:spChg>
        <pc:spChg chg="mod">
          <ac:chgData name="Annemarija Apine (LV)" userId="546f5c59-3b8d-47fd-b739-a8fadc631053" providerId="ADAL" clId="{1E5FAF9F-4D85-464E-B064-C298814D6547}" dt="2024-03-12T12:02:37.420" v="1126" actId="790"/>
          <ac:spMkLst>
            <pc:docMk/>
            <pc:sldMk cId="1735191326" sldId="900"/>
            <ac:spMk id="110" creationId="{2FADEC4E-0BF5-23E5-656D-FB6FA5CA766B}"/>
          </ac:spMkLst>
        </pc:spChg>
        <pc:spChg chg="mod">
          <ac:chgData name="Annemarija Apine (LV)" userId="546f5c59-3b8d-47fd-b739-a8fadc631053" providerId="ADAL" clId="{1E5FAF9F-4D85-464E-B064-C298814D6547}" dt="2024-03-12T12:02:37.420" v="1126" actId="790"/>
          <ac:spMkLst>
            <pc:docMk/>
            <pc:sldMk cId="1735191326" sldId="900"/>
            <ac:spMk id="112" creationId="{1BE88429-4F3F-636B-DB20-E431D496B9EB}"/>
          </ac:spMkLst>
        </pc:spChg>
        <pc:spChg chg="mod">
          <ac:chgData name="Annemarija Apine (LV)" userId="546f5c59-3b8d-47fd-b739-a8fadc631053" providerId="ADAL" clId="{1E5FAF9F-4D85-464E-B064-C298814D6547}" dt="2024-03-12T12:02:37.420" v="1126" actId="790"/>
          <ac:spMkLst>
            <pc:docMk/>
            <pc:sldMk cId="1735191326" sldId="900"/>
            <ac:spMk id="113" creationId="{D285C823-677E-8121-1429-CCB32B027A8B}"/>
          </ac:spMkLst>
        </pc:spChg>
      </pc:sldChg>
      <pc:sldChg chg="modSp mod">
        <pc:chgData name="Annemarija Apine (LV)" userId="546f5c59-3b8d-47fd-b739-a8fadc631053" providerId="ADAL" clId="{1E5FAF9F-4D85-464E-B064-C298814D6547}" dt="2024-03-12T12:02:50.682" v="1128" actId="790"/>
        <pc:sldMkLst>
          <pc:docMk/>
          <pc:sldMk cId="3011875620" sldId="903"/>
        </pc:sldMkLst>
        <pc:spChg chg="mod">
          <ac:chgData name="Annemarija Apine (LV)" userId="546f5c59-3b8d-47fd-b739-a8fadc631053" providerId="ADAL" clId="{1E5FAF9F-4D85-464E-B064-C298814D6547}" dt="2024-03-12T12:02:50.682" v="1128" actId="790"/>
          <ac:spMkLst>
            <pc:docMk/>
            <pc:sldMk cId="3011875620" sldId="903"/>
            <ac:spMk id="2" creationId="{EDFBCEAB-7D4A-91D0-E036-AAFACC3ABE8D}"/>
          </ac:spMkLst>
        </pc:spChg>
        <pc:spChg chg="mod">
          <ac:chgData name="Annemarija Apine (LV)" userId="546f5c59-3b8d-47fd-b739-a8fadc631053" providerId="ADAL" clId="{1E5FAF9F-4D85-464E-B064-C298814D6547}" dt="2024-03-12T12:02:50.682" v="1128" actId="790"/>
          <ac:spMkLst>
            <pc:docMk/>
            <pc:sldMk cId="3011875620" sldId="903"/>
            <ac:spMk id="3" creationId="{33BB98B8-6827-4CCD-E4FE-A55C4C067AB3}"/>
          </ac:spMkLst>
        </pc:spChg>
        <pc:spChg chg="mod">
          <ac:chgData name="Annemarija Apine (LV)" userId="546f5c59-3b8d-47fd-b739-a8fadc631053" providerId="ADAL" clId="{1E5FAF9F-4D85-464E-B064-C298814D6547}" dt="2024-03-12T12:02:50.682" v="1128" actId="790"/>
          <ac:spMkLst>
            <pc:docMk/>
            <pc:sldMk cId="3011875620" sldId="903"/>
            <ac:spMk id="4" creationId="{A6320228-D809-6F87-2500-99BCB217E23A}"/>
          </ac:spMkLst>
        </pc:spChg>
        <pc:spChg chg="mod">
          <ac:chgData name="Annemarija Apine (LV)" userId="546f5c59-3b8d-47fd-b739-a8fadc631053" providerId="ADAL" clId="{1E5FAF9F-4D85-464E-B064-C298814D6547}" dt="2024-03-12T12:02:50.682" v="1128" actId="790"/>
          <ac:spMkLst>
            <pc:docMk/>
            <pc:sldMk cId="3011875620" sldId="903"/>
            <ac:spMk id="6" creationId="{50E2AB2D-754A-C4F6-9350-624ECA322D05}"/>
          </ac:spMkLst>
        </pc:spChg>
        <pc:spChg chg="mod">
          <ac:chgData name="Annemarija Apine (LV)" userId="546f5c59-3b8d-47fd-b739-a8fadc631053" providerId="ADAL" clId="{1E5FAF9F-4D85-464E-B064-C298814D6547}" dt="2024-03-12T12:02:50.682" v="1128" actId="790"/>
          <ac:spMkLst>
            <pc:docMk/>
            <pc:sldMk cId="3011875620" sldId="903"/>
            <ac:spMk id="7" creationId="{ABE8EE39-C466-6083-2B14-0237C935C96B}"/>
          </ac:spMkLst>
        </pc:spChg>
        <pc:spChg chg="mod">
          <ac:chgData name="Annemarija Apine (LV)" userId="546f5c59-3b8d-47fd-b739-a8fadc631053" providerId="ADAL" clId="{1E5FAF9F-4D85-464E-B064-C298814D6547}" dt="2024-03-12T12:02:50.682" v="1128" actId="790"/>
          <ac:spMkLst>
            <pc:docMk/>
            <pc:sldMk cId="3011875620" sldId="903"/>
            <ac:spMk id="8" creationId="{D3075EA9-222C-FBAB-0F0E-D4775F00C87E}"/>
          </ac:spMkLst>
        </pc:spChg>
        <pc:spChg chg="mod">
          <ac:chgData name="Annemarija Apine (LV)" userId="546f5c59-3b8d-47fd-b739-a8fadc631053" providerId="ADAL" clId="{1E5FAF9F-4D85-464E-B064-C298814D6547}" dt="2024-03-12T12:02:50.682" v="1128" actId="790"/>
          <ac:spMkLst>
            <pc:docMk/>
            <pc:sldMk cId="3011875620" sldId="903"/>
            <ac:spMk id="9" creationId="{08B6A8B7-7C80-74FA-BFD5-B86DDE664F74}"/>
          </ac:spMkLst>
        </pc:spChg>
        <pc:spChg chg="mod">
          <ac:chgData name="Annemarija Apine (LV)" userId="546f5c59-3b8d-47fd-b739-a8fadc631053" providerId="ADAL" clId="{1E5FAF9F-4D85-464E-B064-C298814D6547}" dt="2024-03-12T12:02:50.682" v="1128" actId="790"/>
          <ac:spMkLst>
            <pc:docMk/>
            <pc:sldMk cId="3011875620" sldId="903"/>
            <ac:spMk id="10" creationId="{B337C822-0ACB-7395-4E9F-FE78A0258C7B}"/>
          </ac:spMkLst>
        </pc:spChg>
        <pc:spChg chg="mod">
          <ac:chgData name="Annemarija Apine (LV)" userId="546f5c59-3b8d-47fd-b739-a8fadc631053" providerId="ADAL" clId="{1E5FAF9F-4D85-464E-B064-C298814D6547}" dt="2024-03-12T12:02:50.682" v="1128" actId="790"/>
          <ac:spMkLst>
            <pc:docMk/>
            <pc:sldMk cId="3011875620" sldId="903"/>
            <ac:spMk id="11" creationId="{BEFB8D44-5692-BC7D-1631-1623E5005441}"/>
          </ac:spMkLst>
        </pc:spChg>
        <pc:spChg chg="mod">
          <ac:chgData name="Annemarija Apine (LV)" userId="546f5c59-3b8d-47fd-b739-a8fadc631053" providerId="ADAL" clId="{1E5FAF9F-4D85-464E-B064-C298814D6547}" dt="2024-03-12T12:02:50.682" v="1128" actId="790"/>
          <ac:spMkLst>
            <pc:docMk/>
            <pc:sldMk cId="3011875620" sldId="903"/>
            <ac:spMk id="12" creationId="{6158C656-5A8A-CAA9-181E-CE47FCED7365}"/>
          </ac:spMkLst>
        </pc:spChg>
        <pc:spChg chg="mod">
          <ac:chgData name="Annemarija Apine (LV)" userId="546f5c59-3b8d-47fd-b739-a8fadc631053" providerId="ADAL" clId="{1E5FAF9F-4D85-464E-B064-C298814D6547}" dt="2024-03-12T12:02:50.682" v="1128" actId="790"/>
          <ac:spMkLst>
            <pc:docMk/>
            <pc:sldMk cId="3011875620" sldId="903"/>
            <ac:spMk id="13" creationId="{EA43A31C-009C-105F-54A6-6DAA8B434B33}"/>
          </ac:spMkLst>
        </pc:spChg>
        <pc:spChg chg="mod">
          <ac:chgData name="Annemarija Apine (LV)" userId="546f5c59-3b8d-47fd-b739-a8fadc631053" providerId="ADAL" clId="{1E5FAF9F-4D85-464E-B064-C298814D6547}" dt="2024-03-12T12:02:50.682" v="1128" actId="790"/>
          <ac:spMkLst>
            <pc:docMk/>
            <pc:sldMk cId="3011875620" sldId="903"/>
            <ac:spMk id="14" creationId="{775AF9B8-6610-4857-987C-CC045B2E5B62}"/>
          </ac:spMkLst>
        </pc:spChg>
        <pc:spChg chg="mod">
          <ac:chgData name="Annemarija Apine (LV)" userId="546f5c59-3b8d-47fd-b739-a8fadc631053" providerId="ADAL" clId="{1E5FAF9F-4D85-464E-B064-C298814D6547}" dt="2024-03-12T12:02:50.682" v="1128" actId="790"/>
          <ac:spMkLst>
            <pc:docMk/>
            <pc:sldMk cId="3011875620" sldId="903"/>
            <ac:spMk id="16" creationId="{0518EBCE-7BE2-71F8-4BE1-780E7CD0E6D2}"/>
          </ac:spMkLst>
        </pc:spChg>
        <pc:spChg chg="mod">
          <ac:chgData name="Annemarija Apine (LV)" userId="546f5c59-3b8d-47fd-b739-a8fadc631053" providerId="ADAL" clId="{1E5FAF9F-4D85-464E-B064-C298814D6547}" dt="2024-03-12T12:02:50.682" v="1128" actId="790"/>
          <ac:spMkLst>
            <pc:docMk/>
            <pc:sldMk cId="3011875620" sldId="903"/>
            <ac:spMk id="17" creationId="{EBD10C6D-EAD1-B7A2-7CCD-5108133E2B63}"/>
          </ac:spMkLst>
        </pc:spChg>
        <pc:spChg chg="mod">
          <ac:chgData name="Annemarija Apine (LV)" userId="546f5c59-3b8d-47fd-b739-a8fadc631053" providerId="ADAL" clId="{1E5FAF9F-4D85-464E-B064-C298814D6547}" dt="2024-03-12T12:02:50.682" v="1128" actId="790"/>
          <ac:spMkLst>
            <pc:docMk/>
            <pc:sldMk cId="3011875620" sldId="903"/>
            <ac:spMk id="24" creationId="{DA042BFC-9321-AE2A-D685-F5B36EFD0C0A}"/>
          </ac:spMkLst>
        </pc:spChg>
        <pc:spChg chg="mod">
          <ac:chgData name="Annemarija Apine (LV)" userId="546f5c59-3b8d-47fd-b739-a8fadc631053" providerId="ADAL" clId="{1E5FAF9F-4D85-464E-B064-C298814D6547}" dt="2024-03-12T12:02:50.682" v="1128" actId="790"/>
          <ac:spMkLst>
            <pc:docMk/>
            <pc:sldMk cId="3011875620" sldId="903"/>
            <ac:spMk id="25" creationId="{F4EF9CAC-BCB4-3861-ABEC-9E1F2B71AD96}"/>
          </ac:spMkLst>
        </pc:spChg>
        <pc:spChg chg="mod">
          <ac:chgData name="Annemarija Apine (LV)" userId="546f5c59-3b8d-47fd-b739-a8fadc631053" providerId="ADAL" clId="{1E5FAF9F-4D85-464E-B064-C298814D6547}" dt="2024-03-12T12:02:50.682" v="1128" actId="790"/>
          <ac:spMkLst>
            <pc:docMk/>
            <pc:sldMk cId="3011875620" sldId="903"/>
            <ac:spMk id="33" creationId="{91B5CAE0-F039-3450-C576-47A650EA1505}"/>
          </ac:spMkLst>
        </pc:spChg>
        <pc:spChg chg="mod">
          <ac:chgData name="Annemarija Apine (LV)" userId="546f5c59-3b8d-47fd-b739-a8fadc631053" providerId="ADAL" clId="{1E5FAF9F-4D85-464E-B064-C298814D6547}" dt="2024-03-12T12:02:50.682" v="1128" actId="790"/>
          <ac:spMkLst>
            <pc:docMk/>
            <pc:sldMk cId="3011875620" sldId="903"/>
            <ac:spMk id="34" creationId="{48C56B3B-5C0E-89A6-1595-B0C15560EB71}"/>
          </ac:spMkLst>
        </pc:spChg>
        <pc:spChg chg="mod">
          <ac:chgData name="Annemarija Apine (LV)" userId="546f5c59-3b8d-47fd-b739-a8fadc631053" providerId="ADAL" clId="{1E5FAF9F-4D85-464E-B064-C298814D6547}" dt="2024-03-12T12:02:50.682" v="1128" actId="790"/>
          <ac:spMkLst>
            <pc:docMk/>
            <pc:sldMk cId="3011875620" sldId="903"/>
            <ac:spMk id="35" creationId="{B766C826-6D08-3C51-A63F-286C166B5215}"/>
          </ac:spMkLst>
        </pc:spChg>
        <pc:spChg chg="mod">
          <ac:chgData name="Annemarija Apine (LV)" userId="546f5c59-3b8d-47fd-b739-a8fadc631053" providerId="ADAL" clId="{1E5FAF9F-4D85-464E-B064-C298814D6547}" dt="2024-03-12T12:02:50.682" v="1128" actId="790"/>
          <ac:spMkLst>
            <pc:docMk/>
            <pc:sldMk cId="3011875620" sldId="903"/>
            <ac:spMk id="38" creationId="{ADCF57E4-22C5-26F3-DA4D-7482BC480F36}"/>
          </ac:spMkLst>
        </pc:spChg>
        <pc:spChg chg="mod">
          <ac:chgData name="Annemarija Apine (LV)" userId="546f5c59-3b8d-47fd-b739-a8fadc631053" providerId="ADAL" clId="{1E5FAF9F-4D85-464E-B064-C298814D6547}" dt="2024-03-12T12:02:50.682" v="1128" actId="790"/>
          <ac:spMkLst>
            <pc:docMk/>
            <pc:sldMk cId="3011875620" sldId="903"/>
            <ac:spMk id="39" creationId="{3B3A753D-2643-22D3-98E8-407917D7B655}"/>
          </ac:spMkLst>
        </pc:spChg>
        <pc:spChg chg="mod">
          <ac:chgData name="Annemarija Apine (LV)" userId="546f5c59-3b8d-47fd-b739-a8fadc631053" providerId="ADAL" clId="{1E5FAF9F-4D85-464E-B064-C298814D6547}" dt="2024-03-12T12:02:50.682" v="1128" actId="790"/>
          <ac:spMkLst>
            <pc:docMk/>
            <pc:sldMk cId="3011875620" sldId="903"/>
            <ac:spMk id="42" creationId="{68F2028E-9AD9-74A4-45F4-1624B4155640}"/>
          </ac:spMkLst>
        </pc:spChg>
        <pc:spChg chg="mod">
          <ac:chgData name="Annemarija Apine (LV)" userId="546f5c59-3b8d-47fd-b739-a8fadc631053" providerId="ADAL" clId="{1E5FAF9F-4D85-464E-B064-C298814D6547}" dt="2024-03-12T12:02:50.682" v="1128" actId="790"/>
          <ac:spMkLst>
            <pc:docMk/>
            <pc:sldMk cId="3011875620" sldId="903"/>
            <ac:spMk id="43" creationId="{2B9AE07F-5163-AD73-9B73-F4ADAAB4CB84}"/>
          </ac:spMkLst>
        </pc:spChg>
        <pc:spChg chg="mod">
          <ac:chgData name="Annemarija Apine (LV)" userId="546f5c59-3b8d-47fd-b739-a8fadc631053" providerId="ADAL" clId="{1E5FAF9F-4D85-464E-B064-C298814D6547}" dt="2024-03-12T12:02:50.682" v="1128" actId="790"/>
          <ac:spMkLst>
            <pc:docMk/>
            <pc:sldMk cId="3011875620" sldId="903"/>
            <ac:spMk id="44" creationId="{9EC2ECCE-24AA-0CA5-D23D-11487EDED9A5}"/>
          </ac:spMkLst>
        </pc:spChg>
        <pc:spChg chg="mod">
          <ac:chgData name="Annemarija Apine (LV)" userId="546f5c59-3b8d-47fd-b739-a8fadc631053" providerId="ADAL" clId="{1E5FAF9F-4D85-464E-B064-C298814D6547}" dt="2024-03-12T12:02:50.682" v="1128" actId="790"/>
          <ac:spMkLst>
            <pc:docMk/>
            <pc:sldMk cId="3011875620" sldId="903"/>
            <ac:spMk id="48" creationId="{F2E39767-EDB9-484C-0B35-744F3795A6CD}"/>
          </ac:spMkLst>
        </pc:spChg>
        <pc:spChg chg="mod">
          <ac:chgData name="Annemarija Apine (LV)" userId="546f5c59-3b8d-47fd-b739-a8fadc631053" providerId="ADAL" clId="{1E5FAF9F-4D85-464E-B064-C298814D6547}" dt="2024-03-12T12:02:50.682" v="1128" actId="790"/>
          <ac:spMkLst>
            <pc:docMk/>
            <pc:sldMk cId="3011875620" sldId="903"/>
            <ac:spMk id="49" creationId="{572A06AC-8F3F-01E9-3219-527A4685D974}"/>
          </ac:spMkLst>
        </pc:spChg>
        <pc:spChg chg="mod">
          <ac:chgData name="Annemarija Apine (LV)" userId="546f5c59-3b8d-47fd-b739-a8fadc631053" providerId="ADAL" clId="{1E5FAF9F-4D85-464E-B064-C298814D6547}" dt="2024-03-12T12:02:50.682" v="1128" actId="790"/>
          <ac:spMkLst>
            <pc:docMk/>
            <pc:sldMk cId="3011875620" sldId="903"/>
            <ac:spMk id="50" creationId="{1F82D50F-0C5B-CC51-D43A-64D75E4976AB}"/>
          </ac:spMkLst>
        </pc:spChg>
        <pc:spChg chg="mod">
          <ac:chgData name="Annemarija Apine (LV)" userId="546f5c59-3b8d-47fd-b739-a8fadc631053" providerId="ADAL" clId="{1E5FAF9F-4D85-464E-B064-C298814D6547}" dt="2024-03-12T12:02:50.682" v="1128" actId="790"/>
          <ac:spMkLst>
            <pc:docMk/>
            <pc:sldMk cId="3011875620" sldId="903"/>
            <ac:spMk id="51" creationId="{2398A36F-FA9A-0524-9E8D-120752F63E34}"/>
          </ac:spMkLst>
        </pc:spChg>
        <pc:spChg chg="mod">
          <ac:chgData name="Annemarija Apine (LV)" userId="546f5c59-3b8d-47fd-b739-a8fadc631053" providerId="ADAL" clId="{1E5FAF9F-4D85-464E-B064-C298814D6547}" dt="2024-03-12T12:02:50.682" v="1128" actId="790"/>
          <ac:spMkLst>
            <pc:docMk/>
            <pc:sldMk cId="3011875620" sldId="903"/>
            <ac:spMk id="53" creationId="{24412FE5-C3CD-76F7-0B4A-2EB3610E5AE0}"/>
          </ac:spMkLst>
        </pc:spChg>
        <pc:spChg chg="mod">
          <ac:chgData name="Annemarija Apine (LV)" userId="546f5c59-3b8d-47fd-b739-a8fadc631053" providerId="ADAL" clId="{1E5FAF9F-4D85-464E-B064-C298814D6547}" dt="2024-03-12T12:02:50.682" v="1128" actId="790"/>
          <ac:spMkLst>
            <pc:docMk/>
            <pc:sldMk cId="3011875620" sldId="903"/>
            <ac:spMk id="54" creationId="{2241AB89-0344-6E51-6FB0-574A73D5D9B3}"/>
          </ac:spMkLst>
        </pc:spChg>
        <pc:spChg chg="mod">
          <ac:chgData name="Annemarija Apine (LV)" userId="546f5c59-3b8d-47fd-b739-a8fadc631053" providerId="ADAL" clId="{1E5FAF9F-4D85-464E-B064-C298814D6547}" dt="2024-03-12T12:02:50.682" v="1128" actId="790"/>
          <ac:spMkLst>
            <pc:docMk/>
            <pc:sldMk cId="3011875620" sldId="903"/>
            <ac:spMk id="55" creationId="{BDA037DD-5019-C486-399C-83EA9F08CA88}"/>
          </ac:spMkLst>
        </pc:spChg>
        <pc:spChg chg="mod">
          <ac:chgData name="Annemarija Apine (LV)" userId="546f5c59-3b8d-47fd-b739-a8fadc631053" providerId="ADAL" clId="{1E5FAF9F-4D85-464E-B064-C298814D6547}" dt="2024-03-12T12:02:50.682" v="1128" actId="790"/>
          <ac:spMkLst>
            <pc:docMk/>
            <pc:sldMk cId="3011875620" sldId="903"/>
            <ac:spMk id="56" creationId="{29893079-D834-8AAA-98B1-C83D3CAC24F2}"/>
          </ac:spMkLst>
        </pc:spChg>
      </pc:sldChg>
      <pc:sldChg chg="modSp mod modNotesTx">
        <pc:chgData name="Annemarija Apine (LV)" userId="546f5c59-3b8d-47fd-b739-a8fadc631053" providerId="ADAL" clId="{1E5FAF9F-4D85-464E-B064-C298814D6547}" dt="2024-03-12T12:03:09.585" v="1133" actId="2"/>
        <pc:sldMkLst>
          <pc:docMk/>
          <pc:sldMk cId="795685229" sldId="904"/>
        </pc:sldMkLst>
        <pc:spChg chg="mod">
          <ac:chgData name="Annemarija Apine (LV)" userId="546f5c59-3b8d-47fd-b739-a8fadc631053" providerId="ADAL" clId="{1E5FAF9F-4D85-464E-B064-C298814D6547}" dt="2024-03-12T12:03:00.605" v="1130" actId="790"/>
          <ac:spMkLst>
            <pc:docMk/>
            <pc:sldMk cId="795685229" sldId="904"/>
            <ac:spMk id="2" creationId="{EDFBCEAB-7D4A-91D0-E036-AAFACC3ABE8D}"/>
          </ac:spMkLst>
        </pc:spChg>
        <pc:spChg chg="mod">
          <ac:chgData name="Annemarija Apine (LV)" userId="546f5c59-3b8d-47fd-b739-a8fadc631053" providerId="ADAL" clId="{1E5FAF9F-4D85-464E-B064-C298814D6547}" dt="2024-03-12T12:03:00.605" v="1130" actId="790"/>
          <ac:spMkLst>
            <pc:docMk/>
            <pc:sldMk cId="795685229" sldId="904"/>
            <ac:spMk id="3" creationId="{4C152C15-BC58-532B-E67E-FFA20C37B22F}"/>
          </ac:spMkLst>
        </pc:spChg>
        <pc:spChg chg="mod">
          <ac:chgData name="Annemarija Apine (LV)" userId="546f5c59-3b8d-47fd-b739-a8fadc631053" providerId="ADAL" clId="{1E5FAF9F-4D85-464E-B064-C298814D6547}" dt="2024-03-12T12:03:00.605" v="1130" actId="790"/>
          <ac:spMkLst>
            <pc:docMk/>
            <pc:sldMk cId="795685229" sldId="904"/>
            <ac:spMk id="4" creationId="{A6320228-D809-6F87-2500-99BCB217E23A}"/>
          </ac:spMkLst>
        </pc:spChg>
        <pc:spChg chg="mod">
          <ac:chgData name="Annemarija Apine (LV)" userId="546f5c59-3b8d-47fd-b739-a8fadc631053" providerId="ADAL" clId="{1E5FAF9F-4D85-464E-B064-C298814D6547}" dt="2024-03-12T12:03:00.605" v="1130" actId="790"/>
          <ac:spMkLst>
            <pc:docMk/>
            <pc:sldMk cId="795685229" sldId="904"/>
            <ac:spMk id="5" creationId="{945044BE-2322-FDB2-86F2-2ACD1D763423}"/>
          </ac:spMkLst>
        </pc:spChg>
        <pc:spChg chg="mod">
          <ac:chgData name="Annemarija Apine (LV)" userId="546f5c59-3b8d-47fd-b739-a8fadc631053" providerId="ADAL" clId="{1E5FAF9F-4D85-464E-B064-C298814D6547}" dt="2024-03-12T12:03:00.605" v="1130" actId="790"/>
          <ac:spMkLst>
            <pc:docMk/>
            <pc:sldMk cId="795685229" sldId="904"/>
            <ac:spMk id="6" creationId="{236C7614-93A6-8AC7-7258-BAE206E1F0BE}"/>
          </ac:spMkLst>
        </pc:spChg>
        <pc:spChg chg="mod">
          <ac:chgData name="Annemarija Apine (LV)" userId="546f5c59-3b8d-47fd-b739-a8fadc631053" providerId="ADAL" clId="{1E5FAF9F-4D85-464E-B064-C298814D6547}" dt="2024-03-12T12:03:00.605" v="1130" actId="790"/>
          <ac:spMkLst>
            <pc:docMk/>
            <pc:sldMk cId="795685229" sldId="904"/>
            <ac:spMk id="8" creationId="{A09E2FC6-0F4D-227B-88CF-B52B5EE2EF82}"/>
          </ac:spMkLst>
        </pc:spChg>
        <pc:spChg chg="mod">
          <ac:chgData name="Annemarija Apine (LV)" userId="546f5c59-3b8d-47fd-b739-a8fadc631053" providerId="ADAL" clId="{1E5FAF9F-4D85-464E-B064-C298814D6547}" dt="2024-03-12T12:03:00.605" v="1130" actId="790"/>
          <ac:spMkLst>
            <pc:docMk/>
            <pc:sldMk cId="795685229" sldId="904"/>
            <ac:spMk id="9" creationId="{F340303E-8854-DFEE-889A-B1C7C7D24D61}"/>
          </ac:spMkLst>
        </pc:spChg>
        <pc:spChg chg="mod">
          <ac:chgData name="Annemarija Apine (LV)" userId="546f5c59-3b8d-47fd-b739-a8fadc631053" providerId="ADAL" clId="{1E5FAF9F-4D85-464E-B064-C298814D6547}" dt="2024-03-12T12:03:00.605" v="1130" actId="790"/>
          <ac:spMkLst>
            <pc:docMk/>
            <pc:sldMk cId="795685229" sldId="904"/>
            <ac:spMk id="10" creationId="{477AA8D4-26DB-B757-6665-E175F960AC70}"/>
          </ac:spMkLst>
        </pc:spChg>
        <pc:spChg chg="mod">
          <ac:chgData name="Annemarija Apine (LV)" userId="546f5c59-3b8d-47fd-b739-a8fadc631053" providerId="ADAL" clId="{1E5FAF9F-4D85-464E-B064-C298814D6547}" dt="2024-03-12T12:03:00.605" v="1130" actId="790"/>
          <ac:spMkLst>
            <pc:docMk/>
            <pc:sldMk cId="795685229" sldId="904"/>
            <ac:spMk id="11" creationId="{16066EFF-1B24-0CE5-A2BA-1971CDA1F298}"/>
          </ac:spMkLst>
        </pc:spChg>
        <pc:spChg chg="mod">
          <ac:chgData name="Annemarija Apine (LV)" userId="546f5c59-3b8d-47fd-b739-a8fadc631053" providerId="ADAL" clId="{1E5FAF9F-4D85-464E-B064-C298814D6547}" dt="2024-03-12T12:03:00.605" v="1130" actId="790"/>
          <ac:spMkLst>
            <pc:docMk/>
            <pc:sldMk cId="795685229" sldId="904"/>
            <ac:spMk id="12" creationId="{C88E7724-810C-24BD-753F-A290ECACBD79}"/>
          </ac:spMkLst>
        </pc:spChg>
        <pc:spChg chg="mod">
          <ac:chgData name="Annemarija Apine (LV)" userId="546f5c59-3b8d-47fd-b739-a8fadc631053" providerId="ADAL" clId="{1E5FAF9F-4D85-464E-B064-C298814D6547}" dt="2024-03-12T12:03:00.605" v="1130" actId="790"/>
          <ac:spMkLst>
            <pc:docMk/>
            <pc:sldMk cId="795685229" sldId="904"/>
            <ac:spMk id="13" creationId="{A03FA3EC-CEDD-C891-567A-102CF6DB11EF}"/>
          </ac:spMkLst>
        </pc:spChg>
        <pc:spChg chg="mod">
          <ac:chgData name="Annemarija Apine (LV)" userId="546f5c59-3b8d-47fd-b739-a8fadc631053" providerId="ADAL" clId="{1E5FAF9F-4D85-464E-B064-C298814D6547}" dt="2024-03-12T12:03:00.605" v="1130" actId="790"/>
          <ac:spMkLst>
            <pc:docMk/>
            <pc:sldMk cId="795685229" sldId="904"/>
            <ac:spMk id="22" creationId="{FD456066-D6DB-ED05-F1F7-BFB8E89B2676}"/>
          </ac:spMkLst>
        </pc:spChg>
        <pc:spChg chg="mod">
          <ac:chgData name="Annemarija Apine (LV)" userId="546f5c59-3b8d-47fd-b739-a8fadc631053" providerId="ADAL" clId="{1E5FAF9F-4D85-464E-B064-C298814D6547}" dt="2024-03-12T12:03:00.605" v="1130" actId="790"/>
          <ac:spMkLst>
            <pc:docMk/>
            <pc:sldMk cId="795685229" sldId="904"/>
            <ac:spMk id="26" creationId="{CA90F111-E668-30BE-440B-5CC38462EB08}"/>
          </ac:spMkLst>
        </pc:spChg>
        <pc:spChg chg="mod">
          <ac:chgData name="Annemarija Apine (LV)" userId="546f5c59-3b8d-47fd-b739-a8fadc631053" providerId="ADAL" clId="{1E5FAF9F-4D85-464E-B064-C298814D6547}" dt="2024-03-12T12:03:00.605" v="1130" actId="790"/>
          <ac:spMkLst>
            <pc:docMk/>
            <pc:sldMk cId="795685229" sldId="904"/>
            <ac:spMk id="27" creationId="{172E5147-E792-A60A-3E58-BBA21B93A3CD}"/>
          </ac:spMkLst>
        </pc:spChg>
        <pc:spChg chg="mod">
          <ac:chgData name="Annemarija Apine (LV)" userId="546f5c59-3b8d-47fd-b739-a8fadc631053" providerId="ADAL" clId="{1E5FAF9F-4D85-464E-B064-C298814D6547}" dt="2024-03-12T12:03:00.605" v="1130" actId="790"/>
          <ac:spMkLst>
            <pc:docMk/>
            <pc:sldMk cId="795685229" sldId="904"/>
            <ac:spMk id="28" creationId="{113D09D0-B233-D26A-50AA-AAC45C1DB393}"/>
          </ac:spMkLst>
        </pc:spChg>
        <pc:spChg chg="mod">
          <ac:chgData name="Annemarija Apine (LV)" userId="546f5c59-3b8d-47fd-b739-a8fadc631053" providerId="ADAL" clId="{1E5FAF9F-4D85-464E-B064-C298814D6547}" dt="2024-03-12T12:03:00.605" v="1130" actId="790"/>
          <ac:spMkLst>
            <pc:docMk/>
            <pc:sldMk cId="795685229" sldId="904"/>
            <ac:spMk id="29" creationId="{42AFA3F6-67B6-DCB6-69E0-4FEA827E9A7D}"/>
          </ac:spMkLst>
        </pc:spChg>
        <pc:spChg chg="mod">
          <ac:chgData name="Annemarija Apine (LV)" userId="546f5c59-3b8d-47fd-b739-a8fadc631053" providerId="ADAL" clId="{1E5FAF9F-4D85-464E-B064-C298814D6547}" dt="2024-03-12T12:03:00.605" v="1130" actId="790"/>
          <ac:spMkLst>
            <pc:docMk/>
            <pc:sldMk cId="795685229" sldId="904"/>
            <ac:spMk id="30" creationId="{062CCA3E-954F-6862-9874-A90D093D0984}"/>
          </ac:spMkLst>
        </pc:spChg>
        <pc:spChg chg="mod">
          <ac:chgData name="Annemarija Apine (LV)" userId="546f5c59-3b8d-47fd-b739-a8fadc631053" providerId="ADAL" clId="{1E5FAF9F-4D85-464E-B064-C298814D6547}" dt="2024-03-12T12:03:00.605" v="1130" actId="790"/>
          <ac:spMkLst>
            <pc:docMk/>
            <pc:sldMk cId="795685229" sldId="904"/>
            <ac:spMk id="31" creationId="{E2CC0EEE-CAB2-2559-66CC-085D68FA85B6}"/>
          </ac:spMkLst>
        </pc:spChg>
        <pc:spChg chg="mod">
          <ac:chgData name="Annemarija Apine (LV)" userId="546f5c59-3b8d-47fd-b739-a8fadc631053" providerId="ADAL" clId="{1E5FAF9F-4D85-464E-B064-C298814D6547}" dt="2024-03-12T12:03:00.605" v="1130" actId="790"/>
          <ac:spMkLst>
            <pc:docMk/>
            <pc:sldMk cId="795685229" sldId="904"/>
            <ac:spMk id="32" creationId="{6DC923B1-F81E-C41B-D732-20A592FD5A53}"/>
          </ac:spMkLst>
        </pc:spChg>
        <pc:spChg chg="mod">
          <ac:chgData name="Annemarija Apine (LV)" userId="546f5c59-3b8d-47fd-b739-a8fadc631053" providerId="ADAL" clId="{1E5FAF9F-4D85-464E-B064-C298814D6547}" dt="2024-03-12T12:03:00.605" v="1130" actId="790"/>
          <ac:spMkLst>
            <pc:docMk/>
            <pc:sldMk cId="795685229" sldId="904"/>
            <ac:spMk id="33" creationId="{DF43E668-9F50-57B8-04D1-B9499347A2DE}"/>
          </ac:spMkLst>
        </pc:spChg>
        <pc:spChg chg="mod">
          <ac:chgData name="Annemarija Apine (LV)" userId="546f5c59-3b8d-47fd-b739-a8fadc631053" providerId="ADAL" clId="{1E5FAF9F-4D85-464E-B064-C298814D6547}" dt="2024-03-12T12:03:00.605" v="1130" actId="790"/>
          <ac:spMkLst>
            <pc:docMk/>
            <pc:sldMk cId="795685229" sldId="904"/>
            <ac:spMk id="34" creationId="{66589027-9228-B89D-7E1A-9FECA5F1E1EF}"/>
          </ac:spMkLst>
        </pc:spChg>
        <pc:spChg chg="mod">
          <ac:chgData name="Annemarija Apine (LV)" userId="546f5c59-3b8d-47fd-b739-a8fadc631053" providerId="ADAL" clId="{1E5FAF9F-4D85-464E-B064-C298814D6547}" dt="2024-03-12T12:03:00.605" v="1130" actId="790"/>
          <ac:spMkLst>
            <pc:docMk/>
            <pc:sldMk cId="795685229" sldId="904"/>
            <ac:spMk id="35" creationId="{EB5B638A-E0A2-E95A-0C67-6BB415F0EFE3}"/>
          </ac:spMkLst>
        </pc:spChg>
        <pc:spChg chg="mod">
          <ac:chgData name="Annemarija Apine (LV)" userId="546f5c59-3b8d-47fd-b739-a8fadc631053" providerId="ADAL" clId="{1E5FAF9F-4D85-464E-B064-C298814D6547}" dt="2024-03-12T12:03:00.605" v="1130" actId="790"/>
          <ac:spMkLst>
            <pc:docMk/>
            <pc:sldMk cId="795685229" sldId="904"/>
            <ac:spMk id="56" creationId="{AA943CE1-3998-F2FA-5810-5F0CADCF2715}"/>
          </ac:spMkLst>
        </pc:spChg>
        <pc:spChg chg="mod">
          <ac:chgData name="Annemarija Apine (LV)" userId="546f5c59-3b8d-47fd-b739-a8fadc631053" providerId="ADAL" clId="{1E5FAF9F-4D85-464E-B064-C298814D6547}" dt="2024-03-12T12:03:00.605" v="1130" actId="790"/>
          <ac:spMkLst>
            <pc:docMk/>
            <pc:sldMk cId="795685229" sldId="904"/>
            <ac:spMk id="59" creationId="{34CAA65D-F32B-4FFB-DA56-9F4BF785AA35}"/>
          </ac:spMkLst>
        </pc:spChg>
        <pc:spChg chg="mod">
          <ac:chgData name="Annemarija Apine (LV)" userId="546f5c59-3b8d-47fd-b739-a8fadc631053" providerId="ADAL" clId="{1E5FAF9F-4D85-464E-B064-C298814D6547}" dt="2024-03-12T12:03:00.605" v="1130" actId="790"/>
          <ac:spMkLst>
            <pc:docMk/>
            <pc:sldMk cId="795685229" sldId="904"/>
            <ac:spMk id="66" creationId="{CD026E74-0314-F99D-587A-EA39147E7DB9}"/>
          </ac:spMkLst>
        </pc:spChg>
        <pc:spChg chg="mod">
          <ac:chgData name="Annemarija Apine (LV)" userId="546f5c59-3b8d-47fd-b739-a8fadc631053" providerId="ADAL" clId="{1E5FAF9F-4D85-464E-B064-C298814D6547}" dt="2024-03-12T12:03:00.605" v="1130" actId="790"/>
          <ac:spMkLst>
            <pc:docMk/>
            <pc:sldMk cId="795685229" sldId="904"/>
            <ac:spMk id="67" creationId="{A6669812-F1E7-B581-1037-FF52AE28937B}"/>
          </ac:spMkLst>
        </pc:spChg>
        <pc:spChg chg="mod">
          <ac:chgData name="Annemarija Apine (LV)" userId="546f5c59-3b8d-47fd-b739-a8fadc631053" providerId="ADAL" clId="{1E5FAF9F-4D85-464E-B064-C298814D6547}" dt="2024-03-12T12:03:00.605" v="1130" actId="790"/>
          <ac:spMkLst>
            <pc:docMk/>
            <pc:sldMk cId="795685229" sldId="904"/>
            <ac:spMk id="116" creationId="{0911658D-4F8D-7751-7C9D-2BB60E57CA06}"/>
          </ac:spMkLst>
        </pc:spChg>
        <pc:spChg chg="mod">
          <ac:chgData name="Annemarija Apine (LV)" userId="546f5c59-3b8d-47fd-b739-a8fadc631053" providerId="ADAL" clId="{1E5FAF9F-4D85-464E-B064-C298814D6547}" dt="2024-03-12T12:03:00.605" v="1130" actId="790"/>
          <ac:spMkLst>
            <pc:docMk/>
            <pc:sldMk cId="795685229" sldId="904"/>
            <ac:spMk id="117" creationId="{720C14AF-2E3B-5595-0CE1-AA89F0821800}"/>
          </ac:spMkLst>
        </pc:spChg>
        <pc:spChg chg="mod">
          <ac:chgData name="Annemarija Apine (LV)" userId="546f5c59-3b8d-47fd-b739-a8fadc631053" providerId="ADAL" clId="{1E5FAF9F-4D85-464E-B064-C298814D6547}" dt="2024-03-12T12:03:00.605" v="1130" actId="790"/>
          <ac:spMkLst>
            <pc:docMk/>
            <pc:sldMk cId="795685229" sldId="904"/>
            <ac:spMk id="118" creationId="{F150E54A-CAF6-6CD8-09D4-0805B27146CE}"/>
          </ac:spMkLst>
        </pc:spChg>
        <pc:spChg chg="mod">
          <ac:chgData name="Annemarija Apine (LV)" userId="546f5c59-3b8d-47fd-b739-a8fadc631053" providerId="ADAL" clId="{1E5FAF9F-4D85-464E-B064-C298814D6547}" dt="2024-03-12T12:03:00.605" v="1130" actId="790"/>
          <ac:spMkLst>
            <pc:docMk/>
            <pc:sldMk cId="795685229" sldId="904"/>
            <ac:spMk id="119" creationId="{5D623F10-DC12-7A6D-BEA5-43C169E2FE3B}"/>
          </ac:spMkLst>
        </pc:spChg>
        <pc:spChg chg="mod">
          <ac:chgData name="Annemarija Apine (LV)" userId="546f5c59-3b8d-47fd-b739-a8fadc631053" providerId="ADAL" clId="{1E5FAF9F-4D85-464E-B064-C298814D6547}" dt="2024-03-12T12:03:00.605" v="1130" actId="790"/>
          <ac:spMkLst>
            <pc:docMk/>
            <pc:sldMk cId="795685229" sldId="904"/>
            <ac:spMk id="120" creationId="{2C4ECBDD-D380-C0CD-F655-304F17E419DE}"/>
          </ac:spMkLst>
        </pc:spChg>
        <pc:spChg chg="mod">
          <ac:chgData name="Annemarija Apine (LV)" userId="546f5c59-3b8d-47fd-b739-a8fadc631053" providerId="ADAL" clId="{1E5FAF9F-4D85-464E-B064-C298814D6547}" dt="2024-03-12T12:03:00.605" v="1130" actId="790"/>
          <ac:spMkLst>
            <pc:docMk/>
            <pc:sldMk cId="795685229" sldId="904"/>
            <ac:spMk id="121" creationId="{A4B6CF2E-FE3D-0F3A-53AB-081EC1E80CDB}"/>
          </ac:spMkLst>
        </pc:spChg>
        <pc:spChg chg="mod">
          <ac:chgData name="Annemarija Apine (LV)" userId="546f5c59-3b8d-47fd-b739-a8fadc631053" providerId="ADAL" clId="{1E5FAF9F-4D85-464E-B064-C298814D6547}" dt="2024-03-12T12:03:06.384" v="1131" actId="2"/>
          <ac:spMkLst>
            <pc:docMk/>
            <pc:sldMk cId="795685229" sldId="904"/>
            <ac:spMk id="122" creationId="{6EC1D153-5C15-3EAE-F858-8A50316E93DD}"/>
          </ac:spMkLst>
        </pc:spChg>
        <pc:spChg chg="mod">
          <ac:chgData name="Annemarija Apine (LV)" userId="546f5c59-3b8d-47fd-b739-a8fadc631053" providerId="ADAL" clId="{1E5FAF9F-4D85-464E-B064-C298814D6547}" dt="2024-03-12T12:03:00.605" v="1130" actId="790"/>
          <ac:spMkLst>
            <pc:docMk/>
            <pc:sldMk cId="795685229" sldId="904"/>
            <ac:spMk id="123" creationId="{53FE2AD4-6665-1E07-01D8-F6C62B580128}"/>
          </ac:spMkLst>
        </pc:spChg>
        <pc:spChg chg="mod">
          <ac:chgData name="Annemarija Apine (LV)" userId="546f5c59-3b8d-47fd-b739-a8fadc631053" providerId="ADAL" clId="{1E5FAF9F-4D85-464E-B064-C298814D6547}" dt="2024-03-12T12:03:00.605" v="1130" actId="790"/>
          <ac:spMkLst>
            <pc:docMk/>
            <pc:sldMk cId="795685229" sldId="904"/>
            <ac:spMk id="124" creationId="{11BDF5B2-2755-2424-E4C1-A590DA713569}"/>
          </ac:spMkLst>
        </pc:spChg>
        <pc:spChg chg="mod">
          <ac:chgData name="Annemarija Apine (LV)" userId="546f5c59-3b8d-47fd-b739-a8fadc631053" providerId="ADAL" clId="{1E5FAF9F-4D85-464E-B064-C298814D6547}" dt="2024-03-12T12:03:07.907" v="1132" actId="2"/>
          <ac:spMkLst>
            <pc:docMk/>
            <pc:sldMk cId="795685229" sldId="904"/>
            <ac:spMk id="125" creationId="{1734212E-2EA2-B135-55B3-866F1CF570E1}"/>
          </ac:spMkLst>
        </pc:spChg>
        <pc:spChg chg="mod">
          <ac:chgData name="Annemarija Apine (LV)" userId="546f5c59-3b8d-47fd-b739-a8fadc631053" providerId="ADAL" clId="{1E5FAF9F-4D85-464E-B064-C298814D6547}" dt="2024-03-12T12:03:00.605" v="1130" actId="790"/>
          <ac:spMkLst>
            <pc:docMk/>
            <pc:sldMk cId="795685229" sldId="904"/>
            <ac:spMk id="126" creationId="{A786E605-28E8-780E-8339-3A6A775DA0C0}"/>
          </ac:spMkLst>
        </pc:spChg>
        <pc:spChg chg="mod">
          <ac:chgData name="Annemarija Apine (LV)" userId="546f5c59-3b8d-47fd-b739-a8fadc631053" providerId="ADAL" clId="{1E5FAF9F-4D85-464E-B064-C298814D6547}" dt="2024-03-12T12:03:00.605" v="1130" actId="790"/>
          <ac:spMkLst>
            <pc:docMk/>
            <pc:sldMk cId="795685229" sldId="904"/>
            <ac:spMk id="127" creationId="{1C1E571C-E6C1-D7AD-AF5E-49EF85BA448A}"/>
          </ac:spMkLst>
        </pc:spChg>
      </pc:sldChg>
      <pc:sldChg chg="modSp mod">
        <pc:chgData name="Annemarija Apine (LV)" userId="546f5c59-3b8d-47fd-b739-a8fadc631053" providerId="ADAL" clId="{1E5FAF9F-4D85-464E-B064-C298814D6547}" dt="2024-03-12T12:03:17.406" v="1135" actId="790"/>
        <pc:sldMkLst>
          <pc:docMk/>
          <pc:sldMk cId="507333055" sldId="905"/>
        </pc:sldMkLst>
        <pc:spChg chg="mod">
          <ac:chgData name="Annemarija Apine (LV)" userId="546f5c59-3b8d-47fd-b739-a8fadc631053" providerId="ADAL" clId="{1E5FAF9F-4D85-464E-B064-C298814D6547}" dt="2024-03-12T12:03:17.406" v="1135" actId="790"/>
          <ac:spMkLst>
            <pc:docMk/>
            <pc:sldMk cId="507333055" sldId="905"/>
            <ac:spMk id="2" creationId="{EDFBCEAB-7D4A-91D0-E036-AAFACC3ABE8D}"/>
          </ac:spMkLst>
        </pc:spChg>
        <pc:spChg chg="mod">
          <ac:chgData name="Annemarija Apine (LV)" userId="546f5c59-3b8d-47fd-b739-a8fadc631053" providerId="ADAL" clId="{1E5FAF9F-4D85-464E-B064-C298814D6547}" dt="2024-03-12T12:03:17.406" v="1135" actId="790"/>
          <ac:spMkLst>
            <pc:docMk/>
            <pc:sldMk cId="507333055" sldId="905"/>
            <ac:spMk id="3" creationId="{70832196-8F04-2AE8-0728-1989AF43F84D}"/>
          </ac:spMkLst>
        </pc:spChg>
        <pc:spChg chg="mod">
          <ac:chgData name="Annemarija Apine (LV)" userId="546f5c59-3b8d-47fd-b739-a8fadc631053" providerId="ADAL" clId="{1E5FAF9F-4D85-464E-B064-C298814D6547}" dt="2024-03-12T12:03:17.406" v="1135" actId="790"/>
          <ac:spMkLst>
            <pc:docMk/>
            <pc:sldMk cId="507333055" sldId="905"/>
            <ac:spMk id="4" creationId="{A6320228-D809-6F87-2500-99BCB217E23A}"/>
          </ac:spMkLst>
        </pc:spChg>
        <pc:spChg chg="mod">
          <ac:chgData name="Annemarija Apine (LV)" userId="546f5c59-3b8d-47fd-b739-a8fadc631053" providerId="ADAL" clId="{1E5FAF9F-4D85-464E-B064-C298814D6547}" dt="2024-03-12T12:03:17.406" v="1135" actId="790"/>
          <ac:spMkLst>
            <pc:docMk/>
            <pc:sldMk cId="507333055" sldId="905"/>
            <ac:spMk id="6" creationId="{7B05A1CC-7504-0F93-3BA5-4DE99C347651}"/>
          </ac:spMkLst>
        </pc:spChg>
        <pc:spChg chg="mod">
          <ac:chgData name="Annemarija Apine (LV)" userId="546f5c59-3b8d-47fd-b739-a8fadc631053" providerId="ADAL" clId="{1E5FAF9F-4D85-464E-B064-C298814D6547}" dt="2024-03-12T12:03:17.406" v="1135" actId="790"/>
          <ac:spMkLst>
            <pc:docMk/>
            <pc:sldMk cId="507333055" sldId="905"/>
            <ac:spMk id="7" creationId="{7CCBCAB2-8042-8023-3371-75FC4CDDA556}"/>
          </ac:spMkLst>
        </pc:spChg>
        <pc:spChg chg="mod">
          <ac:chgData name="Annemarija Apine (LV)" userId="546f5c59-3b8d-47fd-b739-a8fadc631053" providerId="ADAL" clId="{1E5FAF9F-4D85-464E-B064-C298814D6547}" dt="2024-03-12T12:03:17.406" v="1135" actId="790"/>
          <ac:spMkLst>
            <pc:docMk/>
            <pc:sldMk cId="507333055" sldId="905"/>
            <ac:spMk id="8" creationId="{19F7371B-DAF0-68B7-93FA-BDE4B01797F6}"/>
          </ac:spMkLst>
        </pc:spChg>
        <pc:spChg chg="mod">
          <ac:chgData name="Annemarija Apine (LV)" userId="546f5c59-3b8d-47fd-b739-a8fadc631053" providerId="ADAL" clId="{1E5FAF9F-4D85-464E-B064-C298814D6547}" dt="2024-03-12T12:03:17.406" v="1135" actId="790"/>
          <ac:spMkLst>
            <pc:docMk/>
            <pc:sldMk cId="507333055" sldId="905"/>
            <ac:spMk id="9" creationId="{86697D7D-B946-E90D-2D2C-E2BA46D91B2B}"/>
          </ac:spMkLst>
        </pc:spChg>
        <pc:spChg chg="mod">
          <ac:chgData name="Annemarija Apine (LV)" userId="546f5c59-3b8d-47fd-b739-a8fadc631053" providerId="ADAL" clId="{1E5FAF9F-4D85-464E-B064-C298814D6547}" dt="2024-03-12T12:03:17.406" v="1135" actId="790"/>
          <ac:spMkLst>
            <pc:docMk/>
            <pc:sldMk cId="507333055" sldId="905"/>
            <ac:spMk id="10" creationId="{97ED17E7-DCE0-28AB-CD9D-4B6FADB71D15}"/>
          </ac:spMkLst>
        </pc:spChg>
        <pc:spChg chg="mod">
          <ac:chgData name="Annemarija Apine (LV)" userId="546f5c59-3b8d-47fd-b739-a8fadc631053" providerId="ADAL" clId="{1E5FAF9F-4D85-464E-B064-C298814D6547}" dt="2024-03-12T12:03:17.406" v="1135" actId="790"/>
          <ac:spMkLst>
            <pc:docMk/>
            <pc:sldMk cId="507333055" sldId="905"/>
            <ac:spMk id="11" creationId="{A0930077-F578-EFD3-9AD7-72A9A79464CF}"/>
          </ac:spMkLst>
        </pc:spChg>
        <pc:spChg chg="mod">
          <ac:chgData name="Annemarija Apine (LV)" userId="546f5c59-3b8d-47fd-b739-a8fadc631053" providerId="ADAL" clId="{1E5FAF9F-4D85-464E-B064-C298814D6547}" dt="2024-03-12T12:03:17.406" v="1135" actId="790"/>
          <ac:spMkLst>
            <pc:docMk/>
            <pc:sldMk cId="507333055" sldId="905"/>
            <ac:spMk id="21" creationId="{38BB8091-1076-C602-6CED-C2AE6678F5A9}"/>
          </ac:spMkLst>
        </pc:spChg>
        <pc:spChg chg="mod">
          <ac:chgData name="Annemarija Apine (LV)" userId="546f5c59-3b8d-47fd-b739-a8fadc631053" providerId="ADAL" clId="{1E5FAF9F-4D85-464E-B064-C298814D6547}" dt="2024-03-12T12:03:17.406" v="1135" actId="790"/>
          <ac:spMkLst>
            <pc:docMk/>
            <pc:sldMk cId="507333055" sldId="905"/>
            <ac:spMk id="22" creationId="{14F35E1A-2C93-B6CB-918D-868C9B06B0A7}"/>
          </ac:spMkLst>
        </pc:spChg>
        <pc:spChg chg="mod">
          <ac:chgData name="Annemarija Apine (LV)" userId="546f5c59-3b8d-47fd-b739-a8fadc631053" providerId="ADAL" clId="{1E5FAF9F-4D85-464E-B064-C298814D6547}" dt="2024-03-12T12:03:17.406" v="1135" actId="790"/>
          <ac:spMkLst>
            <pc:docMk/>
            <pc:sldMk cId="507333055" sldId="905"/>
            <ac:spMk id="23" creationId="{F97CB2C5-7142-8223-7214-B1FDFDA9926A}"/>
          </ac:spMkLst>
        </pc:spChg>
        <pc:spChg chg="mod">
          <ac:chgData name="Annemarija Apine (LV)" userId="546f5c59-3b8d-47fd-b739-a8fadc631053" providerId="ADAL" clId="{1E5FAF9F-4D85-464E-B064-C298814D6547}" dt="2024-03-12T12:03:17.406" v="1135" actId="790"/>
          <ac:spMkLst>
            <pc:docMk/>
            <pc:sldMk cId="507333055" sldId="905"/>
            <ac:spMk id="24" creationId="{F0AA07AA-4D21-8CE3-744C-AD9A127C8D02}"/>
          </ac:spMkLst>
        </pc:spChg>
        <pc:spChg chg="mod">
          <ac:chgData name="Annemarija Apine (LV)" userId="546f5c59-3b8d-47fd-b739-a8fadc631053" providerId="ADAL" clId="{1E5FAF9F-4D85-464E-B064-C298814D6547}" dt="2024-03-12T12:03:17.406" v="1135" actId="790"/>
          <ac:spMkLst>
            <pc:docMk/>
            <pc:sldMk cId="507333055" sldId="905"/>
            <ac:spMk id="25" creationId="{1CA1B5B0-7F3C-4506-0CFC-FC71900DAEB0}"/>
          </ac:spMkLst>
        </pc:spChg>
        <pc:spChg chg="mod">
          <ac:chgData name="Annemarija Apine (LV)" userId="546f5c59-3b8d-47fd-b739-a8fadc631053" providerId="ADAL" clId="{1E5FAF9F-4D85-464E-B064-C298814D6547}" dt="2024-03-12T12:03:17.406" v="1135" actId="790"/>
          <ac:spMkLst>
            <pc:docMk/>
            <pc:sldMk cId="507333055" sldId="905"/>
            <ac:spMk id="26" creationId="{CAFFDCE5-3051-49DF-AF83-5287E01B7716}"/>
          </ac:spMkLst>
        </pc:spChg>
        <pc:spChg chg="mod">
          <ac:chgData name="Annemarija Apine (LV)" userId="546f5c59-3b8d-47fd-b739-a8fadc631053" providerId="ADAL" clId="{1E5FAF9F-4D85-464E-B064-C298814D6547}" dt="2024-03-12T12:03:17.406" v="1135" actId="790"/>
          <ac:spMkLst>
            <pc:docMk/>
            <pc:sldMk cId="507333055" sldId="905"/>
            <ac:spMk id="27" creationId="{D6EA5D0F-11EF-2398-660B-39FF89189180}"/>
          </ac:spMkLst>
        </pc:spChg>
        <pc:spChg chg="mod">
          <ac:chgData name="Annemarija Apine (LV)" userId="546f5c59-3b8d-47fd-b739-a8fadc631053" providerId="ADAL" clId="{1E5FAF9F-4D85-464E-B064-C298814D6547}" dt="2024-03-12T12:03:17.406" v="1135" actId="790"/>
          <ac:spMkLst>
            <pc:docMk/>
            <pc:sldMk cId="507333055" sldId="905"/>
            <ac:spMk id="28" creationId="{29F2449E-4ED8-5ADE-AE30-9E9AB83EF649}"/>
          </ac:spMkLst>
        </pc:spChg>
        <pc:spChg chg="mod">
          <ac:chgData name="Annemarija Apine (LV)" userId="546f5c59-3b8d-47fd-b739-a8fadc631053" providerId="ADAL" clId="{1E5FAF9F-4D85-464E-B064-C298814D6547}" dt="2024-03-12T12:03:17.406" v="1135" actId="790"/>
          <ac:spMkLst>
            <pc:docMk/>
            <pc:sldMk cId="507333055" sldId="905"/>
            <ac:spMk id="29" creationId="{00134262-F6E7-5D0D-46C6-48E2647244CF}"/>
          </ac:spMkLst>
        </pc:spChg>
        <pc:spChg chg="mod">
          <ac:chgData name="Annemarija Apine (LV)" userId="546f5c59-3b8d-47fd-b739-a8fadc631053" providerId="ADAL" clId="{1E5FAF9F-4D85-464E-B064-C298814D6547}" dt="2024-03-12T12:03:17.406" v="1135" actId="790"/>
          <ac:spMkLst>
            <pc:docMk/>
            <pc:sldMk cId="507333055" sldId="905"/>
            <ac:spMk id="30" creationId="{9EFCB31E-34D9-1914-7367-57FB33E6D927}"/>
          </ac:spMkLst>
        </pc:spChg>
        <pc:spChg chg="mod">
          <ac:chgData name="Annemarija Apine (LV)" userId="546f5c59-3b8d-47fd-b739-a8fadc631053" providerId="ADAL" clId="{1E5FAF9F-4D85-464E-B064-C298814D6547}" dt="2024-03-12T12:03:17.406" v="1135" actId="790"/>
          <ac:spMkLst>
            <pc:docMk/>
            <pc:sldMk cId="507333055" sldId="905"/>
            <ac:spMk id="31" creationId="{B24CF0FE-B844-4682-3534-6E167E9F0FFA}"/>
          </ac:spMkLst>
        </pc:spChg>
        <pc:spChg chg="mod">
          <ac:chgData name="Annemarija Apine (LV)" userId="546f5c59-3b8d-47fd-b739-a8fadc631053" providerId="ADAL" clId="{1E5FAF9F-4D85-464E-B064-C298814D6547}" dt="2024-03-12T12:03:17.406" v="1135" actId="790"/>
          <ac:spMkLst>
            <pc:docMk/>
            <pc:sldMk cId="507333055" sldId="905"/>
            <ac:spMk id="32" creationId="{34992742-13EE-A536-FAEC-18532BDD82A6}"/>
          </ac:spMkLst>
        </pc:spChg>
        <pc:spChg chg="mod">
          <ac:chgData name="Annemarija Apine (LV)" userId="546f5c59-3b8d-47fd-b739-a8fadc631053" providerId="ADAL" clId="{1E5FAF9F-4D85-464E-B064-C298814D6547}" dt="2024-03-12T12:03:17.406" v="1135" actId="790"/>
          <ac:spMkLst>
            <pc:docMk/>
            <pc:sldMk cId="507333055" sldId="905"/>
            <ac:spMk id="33" creationId="{6614B880-DCB4-A5EA-0F50-19A1C810C41E}"/>
          </ac:spMkLst>
        </pc:spChg>
        <pc:spChg chg="mod">
          <ac:chgData name="Annemarija Apine (LV)" userId="546f5c59-3b8d-47fd-b739-a8fadc631053" providerId="ADAL" clId="{1E5FAF9F-4D85-464E-B064-C298814D6547}" dt="2024-03-12T12:03:17.406" v="1135" actId="790"/>
          <ac:spMkLst>
            <pc:docMk/>
            <pc:sldMk cId="507333055" sldId="905"/>
            <ac:spMk id="34" creationId="{92BD7321-AEC3-477C-EB5F-005F7DC540AF}"/>
          </ac:spMkLst>
        </pc:spChg>
        <pc:spChg chg="mod">
          <ac:chgData name="Annemarija Apine (LV)" userId="546f5c59-3b8d-47fd-b739-a8fadc631053" providerId="ADAL" clId="{1E5FAF9F-4D85-464E-B064-C298814D6547}" dt="2024-03-12T12:03:17.406" v="1135" actId="790"/>
          <ac:spMkLst>
            <pc:docMk/>
            <pc:sldMk cId="507333055" sldId="905"/>
            <ac:spMk id="49" creationId="{2C40FD44-D961-01E3-E566-FEE845800AF9}"/>
          </ac:spMkLst>
        </pc:spChg>
      </pc:sldChg>
      <pc:sldChg chg="modSp mod delCm modNotesTx">
        <pc:chgData name="Annemarija Apine (LV)" userId="546f5c59-3b8d-47fd-b739-a8fadc631053" providerId="ADAL" clId="{1E5FAF9F-4D85-464E-B064-C298814D6547}" dt="2024-03-12T12:03:35.680" v="1139" actId="2"/>
        <pc:sldMkLst>
          <pc:docMk/>
          <pc:sldMk cId="2300626159" sldId="908"/>
        </pc:sldMkLst>
        <pc:spChg chg="mod">
          <ac:chgData name="Annemarija Apine (LV)" userId="546f5c59-3b8d-47fd-b739-a8fadc631053" providerId="ADAL" clId="{1E5FAF9F-4D85-464E-B064-C298814D6547}" dt="2024-03-12T12:03:29.108" v="1137" actId="790"/>
          <ac:spMkLst>
            <pc:docMk/>
            <pc:sldMk cId="2300626159" sldId="908"/>
            <ac:spMk id="2" creationId="{B3B9B40C-89D0-00A8-E1FD-6C775139BEFB}"/>
          </ac:spMkLst>
        </pc:spChg>
        <pc:spChg chg="mod">
          <ac:chgData name="Annemarija Apine (LV)" userId="546f5c59-3b8d-47fd-b739-a8fadc631053" providerId="ADAL" clId="{1E5FAF9F-4D85-464E-B064-C298814D6547}" dt="2024-03-12T12:03:29.108" v="1137" actId="790"/>
          <ac:spMkLst>
            <pc:docMk/>
            <pc:sldMk cId="2300626159" sldId="908"/>
            <ac:spMk id="3" creationId="{18D846C5-0FE1-0722-5504-7D4D452EA64C}"/>
          </ac:spMkLst>
        </pc:spChg>
        <pc:spChg chg="mod">
          <ac:chgData name="Annemarija Apine (LV)" userId="546f5c59-3b8d-47fd-b739-a8fadc631053" providerId="ADAL" clId="{1E5FAF9F-4D85-464E-B064-C298814D6547}" dt="2024-03-12T12:03:29.108" v="1137" actId="790"/>
          <ac:spMkLst>
            <pc:docMk/>
            <pc:sldMk cId="2300626159" sldId="908"/>
            <ac:spMk id="4" creationId="{1D0816AF-800B-D4B3-9F92-EA9CA8F47531}"/>
          </ac:spMkLst>
        </pc:spChg>
        <pc:spChg chg="mod">
          <ac:chgData name="Annemarija Apine (LV)" userId="546f5c59-3b8d-47fd-b739-a8fadc631053" providerId="ADAL" clId="{1E5FAF9F-4D85-464E-B064-C298814D6547}" dt="2024-03-12T12:03:29.108" v="1137" actId="790"/>
          <ac:spMkLst>
            <pc:docMk/>
            <pc:sldMk cId="2300626159" sldId="908"/>
            <ac:spMk id="5" creationId="{9B9A4561-429C-6EAE-F170-E90F8BD220FB}"/>
          </ac:spMkLst>
        </pc:spChg>
        <pc:spChg chg="mod">
          <ac:chgData name="Annemarija Apine (LV)" userId="546f5c59-3b8d-47fd-b739-a8fadc631053" providerId="ADAL" clId="{1E5FAF9F-4D85-464E-B064-C298814D6547}" dt="2024-03-12T12:03:29.108" v="1137" actId="790"/>
          <ac:spMkLst>
            <pc:docMk/>
            <pc:sldMk cId="2300626159" sldId="908"/>
            <ac:spMk id="8" creationId="{2CA7E931-5A39-E16F-287D-26D8CB80F058}"/>
          </ac:spMkLst>
        </pc:spChg>
        <pc:spChg chg="mod">
          <ac:chgData name="Annemarija Apine (LV)" userId="546f5c59-3b8d-47fd-b739-a8fadc631053" providerId="ADAL" clId="{1E5FAF9F-4D85-464E-B064-C298814D6547}" dt="2024-03-12T12:03:29.108" v="1137" actId="790"/>
          <ac:spMkLst>
            <pc:docMk/>
            <pc:sldMk cId="2300626159" sldId="908"/>
            <ac:spMk id="9" creationId="{A2B233A5-ED06-3246-BD46-B7B39150B709}"/>
          </ac:spMkLst>
        </pc:spChg>
        <pc:spChg chg="mod">
          <ac:chgData name="Annemarija Apine (LV)" userId="546f5c59-3b8d-47fd-b739-a8fadc631053" providerId="ADAL" clId="{1E5FAF9F-4D85-464E-B064-C298814D6547}" dt="2024-03-12T12:03:29.108" v="1137" actId="790"/>
          <ac:spMkLst>
            <pc:docMk/>
            <pc:sldMk cId="2300626159" sldId="908"/>
            <ac:spMk id="10" creationId="{C3DFDFF4-18D2-A047-B0B2-4C063F2C571A}"/>
          </ac:spMkLst>
        </pc:spChg>
        <pc:spChg chg="mod">
          <ac:chgData name="Annemarija Apine (LV)" userId="546f5c59-3b8d-47fd-b739-a8fadc631053" providerId="ADAL" clId="{1E5FAF9F-4D85-464E-B064-C298814D6547}" dt="2024-03-12T12:03:29.108" v="1137" actId="790"/>
          <ac:spMkLst>
            <pc:docMk/>
            <pc:sldMk cId="2300626159" sldId="908"/>
            <ac:spMk id="11" creationId="{ABB70BD2-60C1-064D-95BB-38DE736A1572}"/>
          </ac:spMkLst>
        </pc:spChg>
        <pc:spChg chg="mod">
          <ac:chgData name="Annemarija Apine (LV)" userId="546f5c59-3b8d-47fd-b739-a8fadc631053" providerId="ADAL" clId="{1E5FAF9F-4D85-464E-B064-C298814D6547}" dt="2024-03-12T12:03:29.108" v="1137" actId="790"/>
          <ac:spMkLst>
            <pc:docMk/>
            <pc:sldMk cId="2300626159" sldId="908"/>
            <ac:spMk id="12" creationId="{90E04B7C-9E41-4641-A5D6-FF34530482E0}"/>
          </ac:spMkLst>
        </pc:spChg>
        <pc:spChg chg="mod">
          <ac:chgData name="Annemarija Apine (LV)" userId="546f5c59-3b8d-47fd-b739-a8fadc631053" providerId="ADAL" clId="{1E5FAF9F-4D85-464E-B064-C298814D6547}" dt="2024-03-12T12:03:29.108" v="1137" actId="790"/>
          <ac:spMkLst>
            <pc:docMk/>
            <pc:sldMk cId="2300626159" sldId="908"/>
            <ac:spMk id="13" creationId="{FFA0AA22-B08B-7F4A-B365-587EEE2D842D}"/>
          </ac:spMkLst>
        </pc:spChg>
        <pc:spChg chg="mod">
          <ac:chgData name="Annemarija Apine (LV)" userId="546f5c59-3b8d-47fd-b739-a8fadc631053" providerId="ADAL" clId="{1E5FAF9F-4D85-464E-B064-C298814D6547}" dt="2024-03-12T12:03:29.108" v="1137" actId="790"/>
          <ac:spMkLst>
            <pc:docMk/>
            <pc:sldMk cId="2300626159" sldId="908"/>
            <ac:spMk id="15" creationId="{817192BF-33DA-6E42-944F-7B2F09E52C43}"/>
          </ac:spMkLst>
        </pc:spChg>
        <pc:spChg chg="mod">
          <ac:chgData name="Annemarija Apine (LV)" userId="546f5c59-3b8d-47fd-b739-a8fadc631053" providerId="ADAL" clId="{1E5FAF9F-4D85-464E-B064-C298814D6547}" dt="2024-03-12T12:03:29.108" v="1137" actId="790"/>
          <ac:spMkLst>
            <pc:docMk/>
            <pc:sldMk cId="2300626159" sldId="908"/>
            <ac:spMk id="16" creationId="{2AA0056B-1B3F-9647-9399-DD6B5207FA3B}"/>
          </ac:spMkLst>
        </pc:spChg>
        <pc:spChg chg="mod">
          <ac:chgData name="Annemarija Apine (LV)" userId="546f5c59-3b8d-47fd-b739-a8fadc631053" providerId="ADAL" clId="{1E5FAF9F-4D85-464E-B064-C298814D6547}" dt="2024-03-12T12:03:29.108" v="1137" actId="790"/>
          <ac:spMkLst>
            <pc:docMk/>
            <pc:sldMk cId="2300626159" sldId="908"/>
            <ac:spMk id="17" creationId="{C1683A97-5B75-9940-AD67-614A9DFD6627}"/>
          </ac:spMkLst>
        </pc:spChg>
        <pc:spChg chg="mod">
          <ac:chgData name="Annemarija Apine (LV)" userId="546f5c59-3b8d-47fd-b739-a8fadc631053" providerId="ADAL" clId="{1E5FAF9F-4D85-464E-B064-C298814D6547}" dt="2024-03-12T12:03:29.108" v="1137" actId="790"/>
          <ac:spMkLst>
            <pc:docMk/>
            <pc:sldMk cId="2300626159" sldId="908"/>
            <ac:spMk id="18" creationId="{E4C5F8F0-E4BD-274A-8190-28583D21E512}"/>
          </ac:spMkLst>
        </pc:spChg>
        <pc:spChg chg="mod">
          <ac:chgData name="Annemarija Apine (LV)" userId="546f5c59-3b8d-47fd-b739-a8fadc631053" providerId="ADAL" clId="{1E5FAF9F-4D85-464E-B064-C298814D6547}" dt="2024-03-12T12:03:29.108" v="1137" actId="790"/>
          <ac:spMkLst>
            <pc:docMk/>
            <pc:sldMk cId="2300626159" sldId="908"/>
            <ac:spMk id="19" creationId="{DE96E661-5736-8C3F-255F-9D2374B7F0FB}"/>
          </ac:spMkLst>
        </pc:spChg>
        <pc:spChg chg="mod">
          <ac:chgData name="Annemarija Apine (LV)" userId="546f5c59-3b8d-47fd-b739-a8fadc631053" providerId="ADAL" clId="{1E5FAF9F-4D85-464E-B064-C298814D6547}" dt="2024-03-12T12:03:29.108" v="1137" actId="790"/>
          <ac:spMkLst>
            <pc:docMk/>
            <pc:sldMk cId="2300626159" sldId="908"/>
            <ac:spMk id="20" creationId="{36C24187-730C-71DC-948E-6236097A3FCE}"/>
          </ac:spMkLst>
        </pc:spChg>
        <pc:spChg chg="mod">
          <ac:chgData name="Annemarija Apine (LV)" userId="546f5c59-3b8d-47fd-b739-a8fadc631053" providerId="ADAL" clId="{1E5FAF9F-4D85-464E-B064-C298814D6547}" dt="2024-03-12T12:03:29.108" v="1137" actId="790"/>
          <ac:spMkLst>
            <pc:docMk/>
            <pc:sldMk cId="2300626159" sldId="908"/>
            <ac:spMk id="21" creationId="{9DDA2F8A-B421-783A-8697-99B26276333A}"/>
          </ac:spMkLst>
        </pc:spChg>
        <pc:spChg chg="mod">
          <ac:chgData name="Annemarija Apine (LV)" userId="546f5c59-3b8d-47fd-b739-a8fadc631053" providerId="ADAL" clId="{1E5FAF9F-4D85-464E-B064-C298814D6547}" dt="2024-03-12T12:03:29.108" v="1137" actId="790"/>
          <ac:spMkLst>
            <pc:docMk/>
            <pc:sldMk cId="2300626159" sldId="908"/>
            <ac:spMk id="22" creationId="{8E63E40A-7AB1-B534-4B2C-02E4311BEF4F}"/>
          </ac:spMkLst>
        </pc:spChg>
        <pc:spChg chg="mod">
          <ac:chgData name="Annemarija Apine (LV)" userId="546f5c59-3b8d-47fd-b739-a8fadc631053" providerId="ADAL" clId="{1E5FAF9F-4D85-464E-B064-C298814D6547}" dt="2024-03-12T12:03:29.108" v="1137" actId="790"/>
          <ac:spMkLst>
            <pc:docMk/>
            <pc:sldMk cId="2300626159" sldId="908"/>
            <ac:spMk id="23" creationId="{1DFA226E-CAF3-2D42-AC96-11A51BD07541}"/>
          </ac:spMkLst>
        </pc:spChg>
        <pc:spChg chg="mod">
          <ac:chgData name="Annemarija Apine (LV)" userId="546f5c59-3b8d-47fd-b739-a8fadc631053" providerId="ADAL" clId="{1E5FAF9F-4D85-464E-B064-C298814D6547}" dt="2024-03-12T12:03:29.108" v="1137" actId="790"/>
          <ac:spMkLst>
            <pc:docMk/>
            <pc:sldMk cId="2300626159" sldId="908"/>
            <ac:spMk id="24" creationId="{10B15265-346F-0349-AF94-74C872CA65DD}"/>
          </ac:spMkLst>
        </pc:spChg>
        <pc:spChg chg="mod">
          <ac:chgData name="Annemarija Apine (LV)" userId="546f5c59-3b8d-47fd-b739-a8fadc631053" providerId="ADAL" clId="{1E5FAF9F-4D85-464E-B064-C298814D6547}" dt="2024-03-12T12:03:29.108" v="1137" actId="790"/>
          <ac:spMkLst>
            <pc:docMk/>
            <pc:sldMk cId="2300626159" sldId="908"/>
            <ac:spMk id="25" creationId="{73F30B4C-A440-674A-9472-8F1EB39DA9F2}"/>
          </ac:spMkLst>
        </pc:spChg>
        <pc:spChg chg="mod">
          <ac:chgData name="Annemarija Apine (LV)" userId="546f5c59-3b8d-47fd-b739-a8fadc631053" providerId="ADAL" clId="{1E5FAF9F-4D85-464E-B064-C298814D6547}" dt="2024-03-12T12:03:29.108" v="1137" actId="790"/>
          <ac:spMkLst>
            <pc:docMk/>
            <pc:sldMk cId="2300626159" sldId="908"/>
            <ac:spMk id="26" creationId="{8B070493-BB90-AA4F-AE2F-427F4E058BD7}"/>
          </ac:spMkLst>
        </pc:spChg>
        <pc:spChg chg="mod">
          <ac:chgData name="Annemarija Apine (LV)" userId="546f5c59-3b8d-47fd-b739-a8fadc631053" providerId="ADAL" clId="{1E5FAF9F-4D85-464E-B064-C298814D6547}" dt="2024-03-12T12:03:29.108" v="1137" actId="790"/>
          <ac:spMkLst>
            <pc:docMk/>
            <pc:sldMk cId="2300626159" sldId="908"/>
            <ac:spMk id="28" creationId="{D47F3DC6-4280-EA23-4A05-CF43D4483198}"/>
          </ac:spMkLst>
        </pc:spChg>
        <pc:spChg chg="mod">
          <ac:chgData name="Annemarija Apine (LV)" userId="546f5c59-3b8d-47fd-b739-a8fadc631053" providerId="ADAL" clId="{1E5FAF9F-4D85-464E-B064-C298814D6547}" dt="2024-03-12T12:03:29.108" v="1137" actId="790"/>
          <ac:spMkLst>
            <pc:docMk/>
            <pc:sldMk cId="2300626159" sldId="908"/>
            <ac:spMk id="29" creationId="{43CABCC0-76A5-0C3F-920C-D7B1C1522A25}"/>
          </ac:spMkLst>
        </pc:spChg>
        <pc:spChg chg="mod">
          <ac:chgData name="Annemarija Apine (LV)" userId="546f5c59-3b8d-47fd-b739-a8fadc631053" providerId="ADAL" clId="{1E5FAF9F-4D85-464E-B064-C298814D6547}" dt="2024-03-12T12:03:29.108" v="1137" actId="790"/>
          <ac:spMkLst>
            <pc:docMk/>
            <pc:sldMk cId="2300626159" sldId="908"/>
            <ac:spMk id="80" creationId="{33F3258F-AFEA-7716-88A9-DEF866DBB873}"/>
          </ac:spMkLst>
        </pc:spChg>
        <pc:spChg chg="mod">
          <ac:chgData name="Annemarija Apine (LV)" userId="546f5c59-3b8d-47fd-b739-a8fadc631053" providerId="ADAL" clId="{1E5FAF9F-4D85-464E-B064-C298814D6547}" dt="2024-03-12T12:03:29.108" v="1137" actId="790"/>
          <ac:spMkLst>
            <pc:docMk/>
            <pc:sldMk cId="2300626159" sldId="908"/>
            <ac:spMk id="81" creationId="{03A635FF-A78F-8735-A808-281BDB5E3F81}"/>
          </ac:spMkLst>
        </pc:spChg>
        <pc:spChg chg="mod">
          <ac:chgData name="Annemarija Apine (LV)" userId="546f5c59-3b8d-47fd-b739-a8fadc631053" providerId="ADAL" clId="{1E5FAF9F-4D85-464E-B064-C298814D6547}" dt="2024-03-12T12:03:29.108" v="1137" actId="790"/>
          <ac:spMkLst>
            <pc:docMk/>
            <pc:sldMk cId="2300626159" sldId="908"/>
            <ac:spMk id="82" creationId="{65B4A675-6657-816B-877E-77046FB90EDE}"/>
          </ac:spMkLst>
        </pc:spChg>
        <pc:spChg chg="mod">
          <ac:chgData name="Annemarija Apine (LV)" userId="546f5c59-3b8d-47fd-b739-a8fadc631053" providerId="ADAL" clId="{1E5FAF9F-4D85-464E-B064-C298814D6547}" dt="2024-03-12T12:03:29.108" v="1137" actId="790"/>
          <ac:spMkLst>
            <pc:docMk/>
            <pc:sldMk cId="2300626159" sldId="908"/>
            <ac:spMk id="83" creationId="{54F0AA69-8303-66A6-6FF1-F4A9B799A601}"/>
          </ac:spMkLst>
        </pc:spChg>
        <pc:spChg chg="mod">
          <ac:chgData name="Annemarija Apine (LV)" userId="546f5c59-3b8d-47fd-b739-a8fadc631053" providerId="ADAL" clId="{1E5FAF9F-4D85-464E-B064-C298814D6547}" dt="2024-03-12T12:03:29.108" v="1137" actId="790"/>
          <ac:spMkLst>
            <pc:docMk/>
            <pc:sldMk cId="2300626159" sldId="908"/>
            <ac:spMk id="86" creationId="{FAE45AAF-2F8E-201A-3A04-5A013ADD89B9}"/>
          </ac:spMkLst>
        </pc:s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300626159" sldId="908"/>
                <pc2:cmMk id="{9EB49911-F31C-40DF-85BF-E42ABCAEF3DF}"/>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300626159" sldId="908"/>
                <pc2:cmMk id="{FC7E61B3-0B67-4E2A-96C5-34AA02841D10}"/>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300626159" sldId="908"/>
                <pc2:cmMk id="{EB40C0CD-5758-4469-A4F4-96B6F7B1BF19}"/>
              </pc2:cmMkLst>
            </pc226:cmChg>
            <pc226:cmChg xmlns:pc226="http://schemas.microsoft.com/office/powerpoint/2022/06/main/command" chg="del">
              <pc226:chgData name="Annemarija Apine (LV)" userId="546f5c59-3b8d-47fd-b739-a8fadc631053" providerId="ADAL" clId="{1E5FAF9F-4D85-464E-B064-C298814D6547}" dt="2024-03-12T11:11:27.827" v="633"/>
              <pc2:cmMkLst xmlns:pc2="http://schemas.microsoft.com/office/powerpoint/2019/9/main/command">
                <pc:docMk/>
                <pc:sldMk cId="2300626159" sldId="908"/>
                <pc2:cmMk id="{244EB0D3-63C7-4555-A81F-CBB2872954E1}"/>
              </pc2:cmMkLst>
            </pc226:cmChg>
          </p:ext>
        </pc:extLst>
      </pc:sldChg>
      <pc:sldChg chg="modSp mod delCm">
        <pc:chgData name="Annemarija Apine (LV)" userId="546f5c59-3b8d-47fd-b739-a8fadc631053" providerId="ADAL" clId="{1E5FAF9F-4D85-464E-B064-C298814D6547}" dt="2024-03-12T11:51:45.414" v="1096" actId="947"/>
        <pc:sldMkLst>
          <pc:docMk/>
          <pc:sldMk cId="3429470186" sldId="914"/>
        </pc:sldMkLst>
        <pc:spChg chg="mod">
          <ac:chgData name="Annemarija Apine (LV)" userId="546f5c59-3b8d-47fd-b739-a8fadc631053" providerId="ADAL" clId="{1E5FAF9F-4D85-464E-B064-C298814D6547}" dt="2024-03-12T11:51:45.414" v="1096" actId="947"/>
          <ac:spMkLst>
            <pc:docMk/>
            <pc:sldMk cId="3429470186" sldId="914"/>
            <ac:spMk id="16" creationId="{25A25F16-3DF9-5BEF-8F70-42FAB50A6BCE}"/>
          </ac:spMkLst>
        </pc:s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2T11:51:30.156" v="1093"/>
              <pc2:cmMkLst xmlns:pc2="http://schemas.microsoft.com/office/powerpoint/2019/9/main/command">
                <pc:docMk/>
                <pc:sldMk cId="3429470186" sldId="914"/>
                <pc2:cmMk id="{0C7C53F7-5476-45C0-9A4C-87C4695D0797}"/>
              </pc2:cmMkLst>
            </pc226:cmChg>
          </p:ext>
        </pc:extLst>
      </pc:sldChg>
      <pc:sldChg chg="delCm modNotesTx">
        <pc:chgData name="Annemarija Apine (LV)" userId="546f5c59-3b8d-47fd-b739-a8fadc631053" providerId="ADAL" clId="{1E5FAF9F-4D85-464E-B064-C298814D6547}" dt="2024-03-11T22:22:28.149" v="547"/>
        <pc:sldMkLst>
          <pc:docMk/>
          <pc:sldMk cId="1981412866" sldId="915"/>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1981412866" sldId="915"/>
                <pc2:cmMk id="{0A2FB834-DE41-4211-88A4-807F40A0D977}"/>
              </pc2:cmMkLst>
            </pc226:cmChg>
          </p:ext>
        </pc:extLst>
      </pc:sldChg>
      <pc:sldChg chg="modSp mod delCm modNotesTx">
        <pc:chgData name="Annemarija Apine (LV)" userId="546f5c59-3b8d-47fd-b739-a8fadc631053" providerId="ADAL" clId="{1E5FAF9F-4D85-464E-B064-C298814D6547}" dt="2024-03-12T12:03:46.853" v="1142" actId="790"/>
        <pc:sldMkLst>
          <pc:docMk/>
          <pc:sldMk cId="64855802" sldId="916"/>
        </pc:sldMkLst>
        <pc:spChg chg="mod">
          <ac:chgData name="Annemarija Apine (LV)" userId="546f5c59-3b8d-47fd-b739-a8fadc631053" providerId="ADAL" clId="{1E5FAF9F-4D85-464E-B064-C298814D6547}" dt="2024-03-12T12:03:46.853" v="1142" actId="790"/>
          <ac:spMkLst>
            <pc:docMk/>
            <pc:sldMk cId="64855802" sldId="916"/>
            <ac:spMk id="3" creationId="{F4CCF02E-F3C4-C376-8F56-61BD85A2E74B}"/>
          </ac:spMkLst>
        </pc:spChg>
        <pc:spChg chg="mod">
          <ac:chgData name="Annemarija Apine (LV)" userId="546f5c59-3b8d-47fd-b739-a8fadc631053" providerId="ADAL" clId="{1E5FAF9F-4D85-464E-B064-C298814D6547}" dt="2024-03-12T12:03:46.853" v="1142" actId="790"/>
          <ac:spMkLst>
            <pc:docMk/>
            <pc:sldMk cId="64855802" sldId="916"/>
            <ac:spMk id="4" creationId="{872966CD-924A-B939-E655-A6BAF817DCBF}"/>
          </ac:spMkLst>
        </pc:spChg>
        <pc:spChg chg="mod">
          <ac:chgData name="Annemarija Apine (LV)" userId="546f5c59-3b8d-47fd-b739-a8fadc631053" providerId="ADAL" clId="{1E5FAF9F-4D85-464E-B064-C298814D6547}" dt="2024-03-12T12:03:46.853" v="1142" actId="790"/>
          <ac:spMkLst>
            <pc:docMk/>
            <pc:sldMk cId="64855802" sldId="916"/>
            <ac:spMk id="5" creationId="{65B20DBA-A0B6-DD32-19D6-76C7062D9658}"/>
          </ac:spMkLst>
        </pc:spChg>
        <pc:spChg chg="mod">
          <ac:chgData name="Annemarija Apine (LV)" userId="546f5c59-3b8d-47fd-b739-a8fadc631053" providerId="ADAL" clId="{1E5FAF9F-4D85-464E-B064-C298814D6547}" dt="2024-03-12T12:03:46.853" v="1142" actId="790"/>
          <ac:spMkLst>
            <pc:docMk/>
            <pc:sldMk cId="64855802" sldId="916"/>
            <ac:spMk id="6" creationId="{A0E793E7-427C-3E34-E013-FCACBB48F56B}"/>
          </ac:spMkLst>
        </pc:spChg>
        <pc:spChg chg="mod">
          <ac:chgData name="Annemarija Apine (LV)" userId="546f5c59-3b8d-47fd-b739-a8fadc631053" providerId="ADAL" clId="{1E5FAF9F-4D85-464E-B064-C298814D6547}" dt="2024-03-12T12:03:46.853" v="1142" actId="790"/>
          <ac:spMkLst>
            <pc:docMk/>
            <pc:sldMk cId="64855802" sldId="916"/>
            <ac:spMk id="7" creationId="{E886C7A7-47C5-E0CB-C923-882EDC64C19E}"/>
          </ac:spMkLst>
        </pc:spChg>
        <pc:spChg chg="mod">
          <ac:chgData name="Annemarija Apine (LV)" userId="546f5c59-3b8d-47fd-b739-a8fadc631053" providerId="ADAL" clId="{1E5FAF9F-4D85-464E-B064-C298814D6547}" dt="2024-03-12T12:03:46.853" v="1142" actId="790"/>
          <ac:spMkLst>
            <pc:docMk/>
            <pc:sldMk cId="64855802" sldId="916"/>
            <ac:spMk id="8" creationId="{24E79FE6-0994-3470-48D1-FB7ACEF10549}"/>
          </ac:spMkLst>
        </pc:spChg>
        <pc:spChg chg="mod">
          <ac:chgData name="Annemarija Apine (LV)" userId="546f5c59-3b8d-47fd-b739-a8fadc631053" providerId="ADAL" clId="{1E5FAF9F-4D85-464E-B064-C298814D6547}" dt="2024-03-12T12:03:46.853" v="1142" actId="790"/>
          <ac:spMkLst>
            <pc:docMk/>
            <pc:sldMk cId="64855802" sldId="916"/>
            <ac:spMk id="9" creationId="{20E2F488-128A-A03C-4DDA-0BA6FB1A457F}"/>
          </ac:spMkLst>
        </pc:spChg>
        <pc:spChg chg="mod">
          <ac:chgData name="Annemarija Apine (LV)" userId="546f5c59-3b8d-47fd-b739-a8fadc631053" providerId="ADAL" clId="{1E5FAF9F-4D85-464E-B064-C298814D6547}" dt="2024-03-12T12:03:46.853" v="1142" actId="790"/>
          <ac:spMkLst>
            <pc:docMk/>
            <pc:sldMk cId="64855802" sldId="916"/>
            <ac:spMk id="11" creationId="{836441A3-6385-8323-B08A-0073B0FB5CA5}"/>
          </ac:spMkLst>
        </pc:spChg>
        <pc:spChg chg="mod">
          <ac:chgData name="Annemarija Apine (LV)" userId="546f5c59-3b8d-47fd-b739-a8fadc631053" providerId="ADAL" clId="{1E5FAF9F-4D85-464E-B064-C298814D6547}" dt="2024-03-12T12:03:46.853" v="1142" actId="790"/>
          <ac:spMkLst>
            <pc:docMk/>
            <pc:sldMk cId="64855802" sldId="916"/>
            <ac:spMk id="13" creationId="{BDBF5004-C333-4FCF-D7DD-775EDB7F58B0}"/>
          </ac:spMkLst>
        </pc:spChg>
        <pc:spChg chg="mod">
          <ac:chgData name="Annemarija Apine (LV)" userId="546f5c59-3b8d-47fd-b739-a8fadc631053" providerId="ADAL" clId="{1E5FAF9F-4D85-464E-B064-C298814D6547}" dt="2024-03-12T12:03:46.853" v="1142" actId="790"/>
          <ac:spMkLst>
            <pc:docMk/>
            <pc:sldMk cId="64855802" sldId="916"/>
            <ac:spMk id="14" creationId="{B17E22AC-3FD7-B294-7CD8-82EAC265809C}"/>
          </ac:spMkLst>
        </pc:spChg>
        <pc:spChg chg="mod">
          <ac:chgData name="Annemarija Apine (LV)" userId="546f5c59-3b8d-47fd-b739-a8fadc631053" providerId="ADAL" clId="{1E5FAF9F-4D85-464E-B064-C298814D6547}" dt="2024-03-12T12:03:46.853" v="1142" actId="790"/>
          <ac:spMkLst>
            <pc:docMk/>
            <pc:sldMk cId="64855802" sldId="916"/>
            <ac:spMk id="15" creationId="{D49BE480-993F-A60E-DE5C-66CDA3B9CB2B}"/>
          </ac:spMkLst>
        </pc:spChg>
        <pc:spChg chg="mod">
          <ac:chgData name="Annemarija Apine (LV)" userId="546f5c59-3b8d-47fd-b739-a8fadc631053" providerId="ADAL" clId="{1E5FAF9F-4D85-464E-B064-C298814D6547}" dt="2024-03-12T12:03:46.853" v="1142" actId="790"/>
          <ac:spMkLst>
            <pc:docMk/>
            <pc:sldMk cId="64855802" sldId="916"/>
            <ac:spMk id="16" creationId="{8AF1A61C-47A7-4B2E-F520-BA19D1D2C0D3}"/>
          </ac:spMkLst>
        </pc:spChg>
        <pc:spChg chg="mod">
          <ac:chgData name="Annemarija Apine (LV)" userId="546f5c59-3b8d-47fd-b739-a8fadc631053" providerId="ADAL" clId="{1E5FAF9F-4D85-464E-B064-C298814D6547}" dt="2024-03-12T12:03:46.853" v="1142" actId="790"/>
          <ac:spMkLst>
            <pc:docMk/>
            <pc:sldMk cId="64855802" sldId="916"/>
            <ac:spMk id="17" creationId="{1308B33E-95B7-5E7E-A01B-E7A6B278F425}"/>
          </ac:spMkLst>
        </pc:spChg>
        <pc:spChg chg="mod">
          <ac:chgData name="Annemarija Apine (LV)" userId="546f5c59-3b8d-47fd-b739-a8fadc631053" providerId="ADAL" clId="{1E5FAF9F-4D85-464E-B064-C298814D6547}" dt="2024-03-12T12:03:46.853" v="1142" actId="790"/>
          <ac:spMkLst>
            <pc:docMk/>
            <pc:sldMk cId="64855802" sldId="916"/>
            <ac:spMk id="20" creationId="{54EC1F61-FF16-1408-F9A0-76C3203F84CA}"/>
          </ac:spMkLst>
        </pc:spChg>
        <pc:spChg chg="mod">
          <ac:chgData name="Annemarija Apine (LV)" userId="546f5c59-3b8d-47fd-b739-a8fadc631053" providerId="ADAL" clId="{1E5FAF9F-4D85-464E-B064-C298814D6547}" dt="2024-03-12T12:03:46.853" v="1142" actId="790"/>
          <ac:spMkLst>
            <pc:docMk/>
            <pc:sldMk cId="64855802" sldId="916"/>
            <ac:spMk id="25" creationId="{3F4B047B-9FFA-12D1-B8AD-AAC2A9759CAF}"/>
          </ac:spMkLst>
        </pc:spChg>
        <pc:spChg chg="mod">
          <ac:chgData name="Annemarija Apine (LV)" userId="546f5c59-3b8d-47fd-b739-a8fadc631053" providerId="ADAL" clId="{1E5FAF9F-4D85-464E-B064-C298814D6547}" dt="2024-03-12T12:03:46.853" v="1142" actId="790"/>
          <ac:spMkLst>
            <pc:docMk/>
            <pc:sldMk cId="64855802" sldId="916"/>
            <ac:spMk id="26" creationId="{515B18CF-E56A-6B40-4A0F-0EAA1C8F56C7}"/>
          </ac:spMkLst>
        </pc:spChg>
        <pc:spChg chg="mod">
          <ac:chgData name="Annemarija Apine (LV)" userId="546f5c59-3b8d-47fd-b739-a8fadc631053" providerId="ADAL" clId="{1E5FAF9F-4D85-464E-B064-C298814D6547}" dt="2024-03-12T12:03:46.853" v="1142" actId="790"/>
          <ac:spMkLst>
            <pc:docMk/>
            <pc:sldMk cId="64855802" sldId="916"/>
            <ac:spMk id="27" creationId="{DB25174A-0656-78A0-0079-8CF72BC6431E}"/>
          </ac:spMkLst>
        </pc:spChg>
        <pc:spChg chg="mod">
          <ac:chgData name="Annemarija Apine (LV)" userId="546f5c59-3b8d-47fd-b739-a8fadc631053" providerId="ADAL" clId="{1E5FAF9F-4D85-464E-B064-C298814D6547}" dt="2024-03-12T12:03:46.853" v="1142" actId="790"/>
          <ac:spMkLst>
            <pc:docMk/>
            <pc:sldMk cId="64855802" sldId="916"/>
            <ac:spMk id="28" creationId="{E26856B4-6C3C-09CB-5094-5D5C14CB617C}"/>
          </ac:spMkLst>
        </pc:spChg>
        <pc:spChg chg="mod">
          <ac:chgData name="Annemarija Apine (LV)" userId="546f5c59-3b8d-47fd-b739-a8fadc631053" providerId="ADAL" clId="{1E5FAF9F-4D85-464E-B064-C298814D6547}" dt="2024-03-12T12:03:46.853" v="1142" actId="790"/>
          <ac:spMkLst>
            <pc:docMk/>
            <pc:sldMk cId="64855802" sldId="916"/>
            <ac:spMk id="29" creationId="{D24D2039-8EB4-6BDE-56F6-C1CF4E0BD27B}"/>
          </ac:spMkLst>
        </pc:spChg>
        <pc:spChg chg="mod">
          <ac:chgData name="Annemarija Apine (LV)" userId="546f5c59-3b8d-47fd-b739-a8fadc631053" providerId="ADAL" clId="{1E5FAF9F-4D85-464E-B064-C298814D6547}" dt="2024-03-12T12:03:46.853" v="1142" actId="790"/>
          <ac:spMkLst>
            <pc:docMk/>
            <pc:sldMk cId="64855802" sldId="916"/>
            <ac:spMk id="34" creationId="{AC027842-8E0B-F976-084E-7FD104C43A84}"/>
          </ac:spMkLst>
        </pc:spChg>
        <pc:spChg chg="mod">
          <ac:chgData name="Annemarija Apine (LV)" userId="546f5c59-3b8d-47fd-b739-a8fadc631053" providerId="ADAL" clId="{1E5FAF9F-4D85-464E-B064-C298814D6547}" dt="2024-03-12T12:03:46.853" v="1142" actId="790"/>
          <ac:spMkLst>
            <pc:docMk/>
            <pc:sldMk cId="64855802" sldId="916"/>
            <ac:spMk id="35" creationId="{432C5712-D5AD-47F7-FC20-0EB40EAFE2D2}"/>
          </ac:spMkLst>
        </pc:spChg>
        <pc:spChg chg="mod">
          <ac:chgData name="Annemarija Apine (LV)" userId="546f5c59-3b8d-47fd-b739-a8fadc631053" providerId="ADAL" clId="{1E5FAF9F-4D85-464E-B064-C298814D6547}" dt="2024-03-12T12:03:46.853" v="1142" actId="790"/>
          <ac:spMkLst>
            <pc:docMk/>
            <pc:sldMk cId="64855802" sldId="916"/>
            <ac:spMk id="36" creationId="{1A91B8D2-3367-8EC1-1639-E51629AF1E93}"/>
          </ac:spMkLst>
        </pc:spChg>
        <pc:spChg chg="mod">
          <ac:chgData name="Annemarija Apine (LV)" userId="546f5c59-3b8d-47fd-b739-a8fadc631053" providerId="ADAL" clId="{1E5FAF9F-4D85-464E-B064-C298814D6547}" dt="2024-03-12T12:03:46.853" v="1142" actId="790"/>
          <ac:spMkLst>
            <pc:docMk/>
            <pc:sldMk cId="64855802" sldId="916"/>
            <ac:spMk id="37" creationId="{43ADB3DB-3BA4-7C31-08CB-601A2D7BCC02}"/>
          </ac:spMkLst>
        </pc:spChg>
        <pc:spChg chg="mod">
          <ac:chgData name="Annemarija Apine (LV)" userId="546f5c59-3b8d-47fd-b739-a8fadc631053" providerId="ADAL" clId="{1E5FAF9F-4D85-464E-B064-C298814D6547}" dt="2024-03-12T12:03:46.853" v="1142" actId="790"/>
          <ac:spMkLst>
            <pc:docMk/>
            <pc:sldMk cId="64855802" sldId="916"/>
            <ac:spMk id="38" creationId="{BD7935CE-15D8-1811-94CE-B987A34E5FB0}"/>
          </ac:spMkLst>
        </pc:spChg>
        <pc:spChg chg="mod">
          <ac:chgData name="Annemarija Apine (LV)" userId="546f5c59-3b8d-47fd-b739-a8fadc631053" providerId="ADAL" clId="{1E5FAF9F-4D85-464E-B064-C298814D6547}" dt="2024-03-12T12:03:46.853" v="1142" actId="790"/>
          <ac:spMkLst>
            <pc:docMk/>
            <pc:sldMk cId="64855802" sldId="916"/>
            <ac:spMk id="39" creationId="{B6D3ACFB-DDDC-6CAA-D35D-49EA05634711}"/>
          </ac:spMkLst>
        </pc:spChg>
        <pc:spChg chg="mod">
          <ac:chgData name="Annemarija Apine (LV)" userId="546f5c59-3b8d-47fd-b739-a8fadc631053" providerId="ADAL" clId="{1E5FAF9F-4D85-464E-B064-C298814D6547}" dt="2024-03-12T12:03:46.853" v="1142" actId="790"/>
          <ac:spMkLst>
            <pc:docMk/>
            <pc:sldMk cId="64855802" sldId="916"/>
            <ac:spMk id="40" creationId="{7EBB5C10-CFEF-60B6-E81C-B496F1A52649}"/>
          </ac:spMkLst>
        </pc:spChg>
        <pc:spChg chg="mod">
          <ac:chgData name="Annemarija Apine (LV)" userId="546f5c59-3b8d-47fd-b739-a8fadc631053" providerId="ADAL" clId="{1E5FAF9F-4D85-464E-B064-C298814D6547}" dt="2024-03-12T12:03:46.853" v="1142" actId="790"/>
          <ac:spMkLst>
            <pc:docMk/>
            <pc:sldMk cId="64855802" sldId="916"/>
            <ac:spMk id="41" creationId="{985E6054-94C7-8CF3-851D-FD85DE2F92CB}"/>
          </ac:spMkLst>
        </pc:spChg>
        <pc:spChg chg="mod">
          <ac:chgData name="Annemarija Apine (LV)" userId="546f5c59-3b8d-47fd-b739-a8fadc631053" providerId="ADAL" clId="{1E5FAF9F-4D85-464E-B064-C298814D6547}" dt="2024-03-12T12:03:46.853" v="1142" actId="790"/>
          <ac:spMkLst>
            <pc:docMk/>
            <pc:sldMk cId="64855802" sldId="916"/>
            <ac:spMk id="42" creationId="{554E30E1-83B8-7761-D567-A1C24032F242}"/>
          </ac:spMkLst>
        </pc:spChg>
        <pc:spChg chg="mod">
          <ac:chgData name="Annemarija Apine (LV)" userId="546f5c59-3b8d-47fd-b739-a8fadc631053" providerId="ADAL" clId="{1E5FAF9F-4D85-464E-B064-C298814D6547}" dt="2024-03-12T12:03:46.853" v="1142" actId="790"/>
          <ac:spMkLst>
            <pc:docMk/>
            <pc:sldMk cId="64855802" sldId="916"/>
            <ac:spMk id="43" creationId="{B59B899D-1483-7DB7-884C-1BF5BB66EEF8}"/>
          </ac:spMkLst>
        </pc:spChg>
        <pc:spChg chg="mod">
          <ac:chgData name="Annemarija Apine (LV)" userId="546f5c59-3b8d-47fd-b739-a8fadc631053" providerId="ADAL" clId="{1E5FAF9F-4D85-464E-B064-C298814D6547}" dt="2024-03-12T12:03:46.853" v="1142" actId="790"/>
          <ac:spMkLst>
            <pc:docMk/>
            <pc:sldMk cId="64855802" sldId="916"/>
            <ac:spMk id="44" creationId="{94871D9B-9CA0-96F3-8E39-FD36C686E5B2}"/>
          </ac:spMkLst>
        </pc:spChg>
        <pc:spChg chg="mod">
          <ac:chgData name="Annemarija Apine (LV)" userId="546f5c59-3b8d-47fd-b739-a8fadc631053" providerId="ADAL" clId="{1E5FAF9F-4D85-464E-B064-C298814D6547}" dt="2024-03-12T12:03:46.853" v="1142" actId="790"/>
          <ac:spMkLst>
            <pc:docMk/>
            <pc:sldMk cId="64855802" sldId="916"/>
            <ac:spMk id="45" creationId="{8D71FF02-0232-FA91-F9B2-51C5765FD1F0}"/>
          </ac:spMkLst>
        </pc:spChg>
        <pc:spChg chg="mod">
          <ac:chgData name="Annemarija Apine (LV)" userId="546f5c59-3b8d-47fd-b739-a8fadc631053" providerId="ADAL" clId="{1E5FAF9F-4D85-464E-B064-C298814D6547}" dt="2024-03-12T12:03:46.853" v="1142" actId="790"/>
          <ac:spMkLst>
            <pc:docMk/>
            <pc:sldMk cId="64855802" sldId="916"/>
            <ac:spMk id="46" creationId="{AA6DDFE9-80E6-B7F6-FB38-9917BC91B4D2}"/>
          </ac:spMkLst>
        </pc:spChg>
        <pc:spChg chg="mod">
          <ac:chgData name="Annemarija Apine (LV)" userId="546f5c59-3b8d-47fd-b739-a8fadc631053" providerId="ADAL" clId="{1E5FAF9F-4D85-464E-B064-C298814D6547}" dt="2024-03-12T12:03:46.853" v="1142" actId="790"/>
          <ac:spMkLst>
            <pc:docMk/>
            <pc:sldMk cId="64855802" sldId="916"/>
            <ac:spMk id="47" creationId="{115D63E8-2A8B-9CF7-1918-27AD2BA124D4}"/>
          </ac:spMkLst>
        </pc:spChg>
        <pc:spChg chg="mod">
          <ac:chgData name="Annemarija Apine (LV)" userId="546f5c59-3b8d-47fd-b739-a8fadc631053" providerId="ADAL" clId="{1E5FAF9F-4D85-464E-B064-C298814D6547}" dt="2024-03-12T12:03:46.853" v="1142" actId="790"/>
          <ac:spMkLst>
            <pc:docMk/>
            <pc:sldMk cId="64855802" sldId="916"/>
            <ac:spMk id="48" creationId="{45C97A8C-D8E3-502E-7F55-E280CB660E7E}"/>
          </ac:spMkLst>
        </pc:spChg>
        <pc:spChg chg="mod">
          <ac:chgData name="Annemarija Apine (LV)" userId="546f5c59-3b8d-47fd-b739-a8fadc631053" providerId="ADAL" clId="{1E5FAF9F-4D85-464E-B064-C298814D6547}" dt="2024-03-12T12:03:46.853" v="1142" actId="790"/>
          <ac:spMkLst>
            <pc:docMk/>
            <pc:sldMk cId="64855802" sldId="916"/>
            <ac:spMk id="49" creationId="{1D2FF4CB-94E6-2366-A7D2-CA1C854C04A2}"/>
          </ac:spMkLst>
        </pc:spChg>
        <pc:spChg chg="mod">
          <ac:chgData name="Annemarija Apine (LV)" userId="546f5c59-3b8d-47fd-b739-a8fadc631053" providerId="ADAL" clId="{1E5FAF9F-4D85-464E-B064-C298814D6547}" dt="2024-03-12T12:03:46.853" v="1142" actId="790"/>
          <ac:spMkLst>
            <pc:docMk/>
            <pc:sldMk cId="64855802" sldId="916"/>
            <ac:spMk id="57" creationId="{35163424-634C-D958-12E3-B664D6A7060F}"/>
          </ac:spMkLst>
        </pc:spChg>
        <pc:spChg chg="mod">
          <ac:chgData name="Annemarija Apine (LV)" userId="546f5c59-3b8d-47fd-b739-a8fadc631053" providerId="ADAL" clId="{1E5FAF9F-4D85-464E-B064-C298814D6547}" dt="2024-03-12T12:03:46.853" v="1142" actId="790"/>
          <ac:spMkLst>
            <pc:docMk/>
            <pc:sldMk cId="64855802" sldId="916"/>
            <ac:spMk id="59" creationId="{240305AB-D314-184B-8241-309CAA3C49C9}"/>
          </ac:spMkLst>
        </pc:spChg>
        <pc:spChg chg="mod">
          <ac:chgData name="Annemarija Apine (LV)" userId="546f5c59-3b8d-47fd-b739-a8fadc631053" providerId="ADAL" clId="{1E5FAF9F-4D85-464E-B064-C298814D6547}" dt="2024-03-12T12:03:46.853" v="1142" actId="790"/>
          <ac:spMkLst>
            <pc:docMk/>
            <pc:sldMk cId="64855802" sldId="916"/>
            <ac:spMk id="60" creationId="{39B1999B-DA2B-AEF1-F527-5B55E3A4F6D3}"/>
          </ac:spMkLst>
        </pc:spChg>
        <pc:spChg chg="mod">
          <ac:chgData name="Annemarija Apine (LV)" userId="546f5c59-3b8d-47fd-b739-a8fadc631053" providerId="ADAL" clId="{1E5FAF9F-4D85-464E-B064-C298814D6547}" dt="2024-03-12T12:03:46.853" v="1142" actId="790"/>
          <ac:spMkLst>
            <pc:docMk/>
            <pc:sldMk cId="64855802" sldId="916"/>
            <ac:spMk id="61" creationId="{C89C6CFF-F3F8-4409-558D-AB15D4B22B52}"/>
          </ac:spMkLst>
        </pc:spChg>
        <pc:spChg chg="mod">
          <ac:chgData name="Annemarija Apine (LV)" userId="546f5c59-3b8d-47fd-b739-a8fadc631053" providerId="ADAL" clId="{1E5FAF9F-4D85-464E-B064-C298814D6547}" dt="2024-03-12T12:03:46.853" v="1142" actId="790"/>
          <ac:spMkLst>
            <pc:docMk/>
            <pc:sldMk cId="64855802" sldId="916"/>
            <ac:spMk id="62" creationId="{D6533196-5085-05A8-2364-DAC27889663F}"/>
          </ac:spMkLst>
        </pc:spChg>
        <pc:spChg chg="mod">
          <ac:chgData name="Annemarija Apine (LV)" userId="546f5c59-3b8d-47fd-b739-a8fadc631053" providerId="ADAL" clId="{1E5FAF9F-4D85-464E-B064-C298814D6547}" dt="2024-03-12T12:03:46.853" v="1142" actId="790"/>
          <ac:spMkLst>
            <pc:docMk/>
            <pc:sldMk cId="64855802" sldId="916"/>
            <ac:spMk id="63" creationId="{B0F6447E-D4BB-398C-BA99-969BA786C7C5}"/>
          </ac:spMkLst>
        </pc:spChg>
        <pc:spChg chg="mod">
          <ac:chgData name="Annemarija Apine (LV)" userId="546f5c59-3b8d-47fd-b739-a8fadc631053" providerId="ADAL" clId="{1E5FAF9F-4D85-464E-B064-C298814D6547}" dt="2024-03-12T12:03:46.853" v="1142" actId="790"/>
          <ac:spMkLst>
            <pc:docMk/>
            <pc:sldMk cId="64855802" sldId="916"/>
            <ac:spMk id="64" creationId="{84B6B728-C388-AF06-A34F-8B985415F504}"/>
          </ac:spMkLst>
        </pc:spChg>
        <pc:spChg chg="mod">
          <ac:chgData name="Annemarija Apine (LV)" userId="546f5c59-3b8d-47fd-b739-a8fadc631053" providerId="ADAL" clId="{1E5FAF9F-4D85-464E-B064-C298814D6547}" dt="2024-03-12T12:03:46.853" v="1142" actId="790"/>
          <ac:spMkLst>
            <pc:docMk/>
            <pc:sldMk cId="64855802" sldId="916"/>
            <ac:spMk id="65" creationId="{DE4C2663-EB37-60FA-2D68-70149F921862}"/>
          </ac:spMkLst>
        </pc:spChg>
        <pc:spChg chg="mod">
          <ac:chgData name="Annemarija Apine (LV)" userId="546f5c59-3b8d-47fd-b739-a8fadc631053" providerId="ADAL" clId="{1E5FAF9F-4D85-464E-B064-C298814D6547}" dt="2024-03-12T12:03:46.853" v="1142" actId="790"/>
          <ac:spMkLst>
            <pc:docMk/>
            <pc:sldMk cId="64855802" sldId="916"/>
            <ac:spMk id="66" creationId="{889CCFBC-A6F2-A8F7-79F0-D31DB6126C09}"/>
          </ac:spMkLst>
        </pc:spChg>
        <pc:spChg chg="mod">
          <ac:chgData name="Annemarija Apine (LV)" userId="546f5c59-3b8d-47fd-b739-a8fadc631053" providerId="ADAL" clId="{1E5FAF9F-4D85-464E-B064-C298814D6547}" dt="2024-03-12T12:03:46.853" v="1142" actId="790"/>
          <ac:spMkLst>
            <pc:docMk/>
            <pc:sldMk cId="64855802" sldId="916"/>
            <ac:spMk id="67" creationId="{694D06CB-4FD9-F8F4-87A6-52624FE80486}"/>
          </ac:spMkLst>
        </pc:spChg>
        <pc:spChg chg="mod">
          <ac:chgData name="Annemarija Apine (LV)" userId="546f5c59-3b8d-47fd-b739-a8fadc631053" providerId="ADAL" clId="{1E5FAF9F-4D85-464E-B064-C298814D6547}" dt="2024-03-12T12:03:46.853" v="1142" actId="790"/>
          <ac:spMkLst>
            <pc:docMk/>
            <pc:sldMk cId="64855802" sldId="916"/>
            <ac:spMk id="68" creationId="{F301D25A-DA36-DB7B-23E6-238516D081C8}"/>
          </ac:spMkLst>
        </pc:spChg>
        <pc:spChg chg="mod">
          <ac:chgData name="Annemarija Apine (LV)" userId="546f5c59-3b8d-47fd-b739-a8fadc631053" providerId="ADAL" clId="{1E5FAF9F-4D85-464E-B064-C298814D6547}" dt="2024-03-12T12:03:46.853" v="1142" actId="790"/>
          <ac:spMkLst>
            <pc:docMk/>
            <pc:sldMk cId="64855802" sldId="916"/>
            <ac:spMk id="70" creationId="{715CB4D8-B109-4E3E-BFCE-C99080E076DC}"/>
          </ac:spMkLst>
        </pc:spChg>
        <pc:spChg chg="mod">
          <ac:chgData name="Annemarija Apine (LV)" userId="546f5c59-3b8d-47fd-b739-a8fadc631053" providerId="ADAL" clId="{1E5FAF9F-4D85-464E-B064-C298814D6547}" dt="2024-03-12T12:03:46.853" v="1142" actId="790"/>
          <ac:spMkLst>
            <pc:docMk/>
            <pc:sldMk cId="64855802" sldId="916"/>
            <ac:spMk id="71" creationId="{D177213A-A08F-109F-C321-81C74500428F}"/>
          </ac:spMkLst>
        </pc:spChg>
        <pc:spChg chg="mod">
          <ac:chgData name="Annemarija Apine (LV)" userId="546f5c59-3b8d-47fd-b739-a8fadc631053" providerId="ADAL" clId="{1E5FAF9F-4D85-464E-B064-C298814D6547}" dt="2024-03-12T12:03:46.853" v="1142" actId="790"/>
          <ac:spMkLst>
            <pc:docMk/>
            <pc:sldMk cId="64855802" sldId="916"/>
            <ac:spMk id="72" creationId="{97B86F27-97BF-A053-40CF-13B6F7A90C0B}"/>
          </ac:spMkLst>
        </pc:spChg>
        <pc:spChg chg="mod">
          <ac:chgData name="Annemarija Apine (LV)" userId="546f5c59-3b8d-47fd-b739-a8fadc631053" providerId="ADAL" clId="{1E5FAF9F-4D85-464E-B064-C298814D6547}" dt="2024-03-12T12:03:46.853" v="1142" actId="790"/>
          <ac:spMkLst>
            <pc:docMk/>
            <pc:sldMk cId="64855802" sldId="916"/>
            <ac:spMk id="73" creationId="{097C697C-20DC-498D-E06D-AE4A61FACDF5}"/>
          </ac:spMkLst>
        </pc:spChg>
        <pc:spChg chg="mod">
          <ac:chgData name="Annemarija Apine (LV)" userId="546f5c59-3b8d-47fd-b739-a8fadc631053" providerId="ADAL" clId="{1E5FAF9F-4D85-464E-B064-C298814D6547}" dt="2024-03-12T12:03:46.853" v="1142" actId="790"/>
          <ac:spMkLst>
            <pc:docMk/>
            <pc:sldMk cId="64855802" sldId="916"/>
            <ac:spMk id="74" creationId="{604C031C-FBD8-99DD-C008-0B6D6174CE10}"/>
          </ac:spMkLst>
        </pc:spChg>
        <pc:spChg chg="mod">
          <ac:chgData name="Annemarija Apine (LV)" userId="546f5c59-3b8d-47fd-b739-a8fadc631053" providerId="ADAL" clId="{1E5FAF9F-4D85-464E-B064-C298814D6547}" dt="2024-03-12T12:03:46.853" v="1142" actId="790"/>
          <ac:spMkLst>
            <pc:docMk/>
            <pc:sldMk cId="64855802" sldId="916"/>
            <ac:spMk id="76" creationId="{749FF834-8FDC-D7F2-E12F-D667F2758F1D}"/>
          </ac:spMkLst>
        </pc:spChg>
        <pc:spChg chg="mod">
          <ac:chgData name="Annemarija Apine (LV)" userId="546f5c59-3b8d-47fd-b739-a8fadc631053" providerId="ADAL" clId="{1E5FAF9F-4D85-464E-B064-C298814D6547}" dt="2024-03-12T12:03:46.853" v="1142" actId="790"/>
          <ac:spMkLst>
            <pc:docMk/>
            <pc:sldMk cId="64855802" sldId="916"/>
            <ac:spMk id="77" creationId="{500B9E5D-04F9-8EC8-DB30-15926D654D38}"/>
          </ac:spMkLst>
        </pc:spChg>
        <pc:spChg chg="mod">
          <ac:chgData name="Annemarija Apine (LV)" userId="546f5c59-3b8d-47fd-b739-a8fadc631053" providerId="ADAL" clId="{1E5FAF9F-4D85-464E-B064-C298814D6547}" dt="2024-03-12T12:03:46.853" v="1142" actId="790"/>
          <ac:spMkLst>
            <pc:docMk/>
            <pc:sldMk cId="64855802" sldId="916"/>
            <ac:spMk id="78" creationId="{67F23E57-E858-E4CF-4200-B52A6C07C68B}"/>
          </ac:spMkLst>
        </pc:spChg>
        <pc:spChg chg="mod">
          <ac:chgData name="Annemarija Apine (LV)" userId="546f5c59-3b8d-47fd-b739-a8fadc631053" providerId="ADAL" clId="{1E5FAF9F-4D85-464E-B064-C298814D6547}" dt="2024-03-12T12:03:46.853" v="1142" actId="790"/>
          <ac:spMkLst>
            <pc:docMk/>
            <pc:sldMk cId="64855802" sldId="916"/>
            <ac:spMk id="88" creationId="{FAE4F479-75A7-AEA5-4879-7B116D34F1DF}"/>
          </ac:spMkLst>
        </pc:s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64855802" sldId="916"/>
                <pc2:cmMk id="{E19E04FF-80D3-4B5A-AF99-4359BE452283}"/>
              </pc2:cmMkLst>
            </pc226:cmChg>
          </p:ext>
        </pc:extLst>
      </pc:sldChg>
      <pc:sldChg chg="delCm modNotesTx">
        <pc:chgData name="Annemarija Apine (LV)" userId="546f5c59-3b8d-47fd-b739-a8fadc631053" providerId="ADAL" clId="{1E5FAF9F-4D85-464E-B064-C298814D6547}" dt="2024-03-11T22:22:28.149" v="547"/>
        <pc:sldMkLst>
          <pc:docMk/>
          <pc:sldMk cId="785221003" sldId="918"/>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785221003" sldId="918"/>
                <pc2:cmMk id="{39B106E8-C7E7-4FB5-92B8-011F0FC0D0A6}"/>
              </pc2:cmMkLst>
            </pc226:cmChg>
          </p:ext>
        </pc:extLst>
      </pc:sldChg>
      <pc:sldChg chg="delCm">
        <pc:chgData name="Annemarija Apine (LV)" userId="546f5c59-3b8d-47fd-b739-a8fadc631053" providerId="ADAL" clId="{1E5FAF9F-4D85-464E-B064-C298814D6547}" dt="2024-03-11T22:22:28.149" v="547"/>
        <pc:sldMkLst>
          <pc:docMk/>
          <pc:sldMk cId="2008209705" sldId="919"/>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008209705" sldId="919"/>
                <pc2:cmMk id="{26D3AAD2-275A-49BD-8B7A-0A67E598B3CB}"/>
              </pc2:cmMkLst>
            </pc226:cmChg>
          </p:ext>
        </pc:extLst>
      </pc:sldChg>
      <pc:sldChg chg="delCm modNotesTx">
        <pc:chgData name="Annemarija Apine (LV)" userId="546f5c59-3b8d-47fd-b739-a8fadc631053" providerId="ADAL" clId="{1E5FAF9F-4D85-464E-B064-C298814D6547}" dt="2024-03-11T22:22:28.149" v="547"/>
        <pc:sldMkLst>
          <pc:docMk/>
          <pc:sldMk cId="3183596888" sldId="922"/>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3183596888" sldId="922"/>
                <pc2:cmMk id="{C97982E5-43BF-453B-B11A-79E886B6EB60}"/>
              </pc2:cmMkLst>
            </pc226:cmChg>
          </p:ext>
        </pc:extLst>
      </pc:sldChg>
      <pc:sldChg chg="modSp mod">
        <pc:chgData name="Annemarija Apine (LV)" userId="546f5c59-3b8d-47fd-b739-a8fadc631053" providerId="ADAL" clId="{1E5FAF9F-4D85-464E-B064-C298814D6547}" dt="2024-03-12T12:02:27.192" v="1124" actId="790"/>
        <pc:sldMkLst>
          <pc:docMk/>
          <pc:sldMk cId="2333946943" sldId="924"/>
        </pc:sldMkLst>
        <pc:spChg chg="mod">
          <ac:chgData name="Annemarija Apine (LV)" userId="546f5c59-3b8d-47fd-b739-a8fadc631053" providerId="ADAL" clId="{1E5FAF9F-4D85-464E-B064-C298814D6547}" dt="2024-03-12T12:02:27.192" v="1124" actId="790"/>
          <ac:spMkLst>
            <pc:docMk/>
            <pc:sldMk cId="2333946943" sldId="924"/>
            <ac:spMk id="2" creationId="{20E40FBF-934F-95FE-8778-92F849DEC1EA}"/>
          </ac:spMkLst>
        </pc:spChg>
        <pc:spChg chg="mod">
          <ac:chgData name="Annemarija Apine (LV)" userId="546f5c59-3b8d-47fd-b739-a8fadc631053" providerId="ADAL" clId="{1E5FAF9F-4D85-464E-B064-C298814D6547}" dt="2024-03-12T12:02:27.192" v="1124" actId="790"/>
          <ac:spMkLst>
            <pc:docMk/>
            <pc:sldMk cId="2333946943" sldId="924"/>
            <ac:spMk id="3" creationId="{AAFE076C-9B8C-9BB3-8680-7E4B60DEC21C}"/>
          </ac:spMkLst>
        </pc:spChg>
        <pc:spChg chg="mod">
          <ac:chgData name="Annemarija Apine (LV)" userId="546f5c59-3b8d-47fd-b739-a8fadc631053" providerId="ADAL" clId="{1E5FAF9F-4D85-464E-B064-C298814D6547}" dt="2024-03-12T12:02:27.192" v="1124" actId="790"/>
          <ac:spMkLst>
            <pc:docMk/>
            <pc:sldMk cId="2333946943" sldId="924"/>
            <ac:spMk id="4" creationId="{51A056F4-4CF2-BBE9-52F6-908FF9154948}"/>
          </ac:spMkLst>
        </pc:spChg>
        <pc:spChg chg="mod">
          <ac:chgData name="Annemarija Apine (LV)" userId="546f5c59-3b8d-47fd-b739-a8fadc631053" providerId="ADAL" clId="{1E5FAF9F-4D85-464E-B064-C298814D6547}" dt="2024-03-12T12:02:27.192" v="1124" actId="790"/>
          <ac:spMkLst>
            <pc:docMk/>
            <pc:sldMk cId="2333946943" sldId="924"/>
            <ac:spMk id="6" creationId="{2433D90B-E7DC-1074-506C-53A72F530B6D}"/>
          </ac:spMkLst>
        </pc:spChg>
        <pc:spChg chg="mod">
          <ac:chgData name="Annemarija Apine (LV)" userId="546f5c59-3b8d-47fd-b739-a8fadc631053" providerId="ADAL" clId="{1E5FAF9F-4D85-464E-B064-C298814D6547}" dt="2024-03-12T12:02:27.192" v="1124" actId="790"/>
          <ac:spMkLst>
            <pc:docMk/>
            <pc:sldMk cId="2333946943" sldId="924"/>
            <ac:spMk id="7" creationId="{11B054F7-BD3F-CC04-8F9A-A47566ADA21E}"/>
          </ac:spMkLst>
        </pc:spChg>
        <pc:spChg chg="mod">
          <ac:chgData name="Annemarija Apine (LV)" userId="546f5c59-3b8d-47fd-b739-a8fadc631053" providerId="ADAL" clId="{1E5FAF9F-4D85-464E-B064-C298814D6547}" dt="2024-03-12T12:02:27.192" v="1124" actId="790"/>
          <ac:spMkLst>
            <pc:docMk/>
            <pc:sldMk cId="2333946943" sldId="924"/>
            <ac:spMk id="8" creationId="{A2A4EF95-EBC5-2113-75C0-757B07E343F3}"/>
          </ac:spMkLst>
        </pc:spChg>
        <pc:spChg chg="mod">
          <ac:chgData name="Annemarija Apine (LV)" userId="546f5c59-3b8d-47fd-b739-a8fadc631053" providerId="ADAL" clId="{1E5FAF9F-4D85-464E-B064-C298814D6547}" dt="2024-03-12T12:02:27.192" v="1124" actId="790"/>
          <ac:spMkLst>
            <pc:docMk/>
            <pc:sldMk cId="2333946943" sldId="924"/>
            <ac:spMk id="9" creationId="{79CC5FE2-D0F9-19B2-E01D-F1228C678ED5}"/>
          </ac:spMkLst>
        </pc:spChg>
        <pc:spChg chg="mod">
          <ac:chgData name="Annemarija Apine (LV)" userId="546f5c59-3b8d-47fd-b739-a8fadc631053" providerId="ADAL" clId="{1E5FAF9F-4D85-464E-B064-C298814D6547}" dt="2024-03-12T12:02:27.192" v="1124" actId="790"/>
          <ac:spMkLst>
            <pc:docMk/>
            <pc:sldMk cId="2333946943" sldId="924"/>
            <ac:spMk id="11" creationId="{FAAF8042-FA87-2277-604A-2B80951C96CA}"/>
          </ac:spMkLst>
        </pc:spChg>
        <pc:spChg chg="mod">
          <ac:chgData name="Annemarija Apine (LV)" userId="546f5c59-3b8d-47fd-b739-a8fadc631053" providerId="ADAL" clId="{1E5FAF9F-4D85-464E-B064-C298814D6547}" dt="2024-03-12T12:02:27.192" v="1124" actId="790"/>
          <ac:spMkLst>
            <pc:docMk/>
            <pc:sldMk cId="2333946943" sldId="924"/>
            <ac:spMk id="12" creationId="{6DA0E041-E210-8556-8DD1-4B49FE009618}"/>
          </ac:spMkLst>
        </pc:spChg>
        <pc:spChg chg="mod">
          <ac:chgData name="Annemarija Apine (LV)" userId="546f5c59-3b8d-47fd-b739-a8fadc631053" providerId="ADAL" clId="{1E5FAF9F-4D85-464E-B064-C298814D6547}" dt="2024-03-12T12:02:27.192" v="1124" actId="790"/>
          <ac:spMkLst>
            <pc:docMk/>
            <pc:sldMk cId="2333946943" sldId="924"/>
            <ac:spMk id="14" creationId="{0AB8E9EA-C968-44EB-8B34-41ACF4CD9CF4}"/>
          </ac:spMkLst>
        </pc:spChg>
        <pc:spChg chg="mod">
          <ac:chgData name="Annemarija Apine (LV)" userId="546f5c59-3b8d-47fd-b739-a8fadc631053" providerId="ADAL" clId="{1E5FAF9F-4D85-464E-B064-C298814D6547}" dt="2024-03-12T12:02:27.192" v="1124" actId="790"/>
          <ac:spMkLst>
            <pc:docMk/>
            <pc:sldMk cId="2333946943" sldId="924"/>
            <ac:spMk id="15" creationId="{7DF40D55-C69A-1E34-C5EB-1A6FBDABFF9B}"/>
          </ac:spMkLst>
        </pc:spChg>
        <pc:spChg chg="mod">
          <ac:chgData name="Annemarija Apine (LV)" userId="546f5c59-3b8d-47fd-b739-a8fadc631053" providerId="ADAL" clId="{1E5FAF9F-4D85-464E-B064-C298814D6547}" dt="2024-03-12T12:02:27.192" v="1124" actId="790"/>
          <ac:spMkLst>
            <pc:docMk/>
            <pc:sldMk cId="2333946943" sldId="924"/>
            <ac:spMk id="16" creationId="{BC455CBB-497F-D8AF-C4B2-951640A8C8FE}"/>
          </ac:spMkLst>
        </pc:spChg>
        <pc:spChg chg="mod">
          <ac:chgData name="Annemarija Apine (LV)" userId="546f5c59-3b8d-47fd-b739-a8fadc631053" providerId="ADAL" clId="{1E5FAF9F-4D85-464E-B064-C298814D6547}" dt="2024-03-12T12:02:27.192" v="1124" actId="790"/>
          <ac:spMkLst>
            <pc:docMk/>
            <pc:sldMk cId="2333946943" sldId="924"/>
            <ac:spMk id="17" creationId="{1019684F-EB37-FD93-4317-58CA68C8508A}"/>
          </ac:spMkLst>
        </pc:spChg>
        <pc:spChg chg="mod">
          <ac:chgData name="Annemarija Apine (LV)" userId="546f5c59-3b8d-47fd-b739-a8fadc631053" providerId="ADAL" clId="{1E5FAF9F-4D85-464E-B064-C298814D6547}" dt="2024-03-12T12:02:27.192" v="1124" actId="790"/>
          <ac:spMkLst>
            <pc:docMk/>
            <pc:sldMk cId="2333946943" sldId="924"/>
            <ac:spMk id="18" creationId="{928C371F-1308-C0BB-1B53-0F9277CF9C82}"/>
          </ac:spMkLst>
        </pc:spChg>
        <pc:spChg chg="mod">
          <ac:chgData name="Annemarija Apine (LV)" userId="546f5c59-3b8d-47fd-b739-a8fadc631053" providerId="ADAL" clId="{1E5FAF9F-4D85-464E-B064-C298814D6547}" dt="2024-03-12T12:02:27.192" v="1124" actId="790"/>
          <ac:spMkLst>
            <pc:docMk/>
            <pc:sldMk cId="2333946943" sldId="924"/>
            <ac:spMk id="19" creationId="{935478A3-0258-D2D1-C55B-6818E570EEC2}"/>
          </ac:spMkLst>
        </pc:spChg>
        <pc:spChg chg="mod">
          <ac:chgData name="Annemarija Apine (LV)" userId="546f5c59-3b8d-47fd-b739-a8fadc631053" providerId="ADAL" clId="{1E5FAF9F-4D85-464E-B064-C298814D6547}" dt="2024-03-12T12:02:27.192" v="1124" actId="790"/>
          <ac:spMkLst>
            <pc:docMk/>
            <pc:sldMk cId="2333946943" sldId="924"/>
            <ac:spMk id="20" creationId="{65F13B8F-5C19-FC21-AF33-0F4E3175271E}"/>
          </ac:spMkLst>
        </pc:spChg>
        <pc:spChg chg="mod">
          <ac:chgData name="Annemarija Apine (LV)" userId="546f5c59-3b8d-47fd-b739-a8fadc631053" providerId="ADAL" clId="{1E5FAF9F-4D85-464E-B064-C298814D6547}" dt="2024-03-12T12:02:27.192" v="1124" actId="790"/>
          <ac:spMkLst>
            <pc:docMk/>
            <pc:sldMk cId="2333946943" sldId="924"/>
            <ac:spMk id="21" creationId="{D6863F23-A5B1-AF50-FF88-3A3AAA5D0D41}"/>
          </ac:spMkLst>
        </pc:spChg>
        <pc:spChg chg="mod">
          <ac:chgData name="Annemarija Apine (LV)" userId="546f5c59-3b8d-47fd-b739-a8fadc631053" providerId="ADAL" clId="{1E5FAF9F-4D85-464E-B064-C298814D6547}" dt="2024-03-12T12:02:27.192" v="1124" actId="790"/>
          <ac:spMkLst>
            <pc:docMk/>
            <pc:sldMk cId="2333946943" sldId="924"/>
            <ac:spMk id="22" creationId="{4B8688AB-0D7B-A5C1-5CDF-C4BE9B644ED8}"/>
          </ac:spMkLst>
        </pc:spChg>
        <pc:spChg chg="mod">
          <ac:chgData name="Annemarija Apine (LV)" userId="546f5c59-3b8d-47fd-b739-a8fadc631053" providerId="ADAL" clId="{1E5FAF9F-4D85-464E-B064-C298814D6547}" dt="2024-03-12T12:02:27.192" v="1124" actId="790"/>
          <ac:spMkLst>
            <pc:docMk/>
            <pc:sldMk cId="2333946943" sldId="924"/>
            <ac:spMk id="23" creationId="{AE8882F9-6CA9-4D3C-A314-801BC21ABFB7}"/>
          </ac:spMkLst>
        </pc:spChg>
        <pc:spChg chg="mod">
          <ac:chgData name="Annemarija Apine (LV)" userId="546f5c59-3b8d-47fd-b739-a8fadc631053" providerId="ADAL" clId="{1E5FAF9F-4D85-464E-B064-C298814D6547}" dt="2024-03-12T12:02:27.192" v="1124" actId="790"/>
          <ac:spMkLst>
            <pc:docMk/>
            <pc:sldMk cId="2333946943" sldId="924"/>
            <ac:spMk id="24" creationId="{B80DF1EC-2FDF-CB0D-C12F-569EC95EAED8}"/>
          </ac:spMkLst>
        </pc:spChg>
        <pc:spChg chg="mod">
          <ac:chgData name="Annemarija Apine (LV)" userId="546f5c59-3b8d-47fd-b739-a8fadc631053" providerId="ADAL" clId="{1E5FAF9F-4D85-464E-B064-C298814D6547}" dt="2024-03-12T12:02:27.192" v="1124" actId="790"/>
          <ac:spMkLst>
            <pc:docMk/>
            <pc:sldMk cId="2333946943" sldId="924"/>
            <ac:spMk id="25" creationId="{E0CFBFFC-89A5-85EB-8558-1D2BE3078546}"/>
          </ac:spMkLst>
        </pc:spChg>
        <pc:spChg chg="mod">
          <ac:chgData name="Annemarija Apine (LV)" userId="546f5c59-3b8d-47fd-b739-a8fadc631053" providerId="ADAL" clId="{1E5FAF9F-4D85-464E-B064-C298814D6547}" dt="2024-03-12T12:02:27.192" v="1124" actId="790"/>
          <ac:spMkLst>
            <pc:docMk/>
            <pc:sldMk cId="2333946943" sldId="924"/>
            <ac:spMk id="26" creationId="{76A0636A-46E9-9CA9-DDBE-B186617BD287}"/>
          </ac:spMkLst>
        </pc:spChg>
        <pc:spChg chg="mod">
          <ac:chgData name="Annemarija Apine (LV)" userId="546f5c59-3b8d-47fd-b739-a8fadc631053" providerId="ADAL" clId="{1E5FAF9F-4D85-464E-B064-C298814D6547}" dt="2024-03-12T12:02:27.192" v="1124" actId="790"/>
          <ac:spMkLst>
            <pc:docMk/>
            <pc:sldMk cId="2333946943" sldId="924"/>
            <ac:spMk id="27" creationId="{5EDDC7B7-B0EE-7882-5258-6D30866A66CF}"/>
          </ac:spMkLst>
        </pc:spChg>
        <pc:spChg chg="mod">
          <ac:chgData name="Annemarija Apine (LV)" userId="546f5c59-3b8d-47fd-b739-a8fadc631053" providerId="ADAL" clId="{1E5FAF9F-4D85-464E-B064-C298814D6547}" dt="2024-03-12T12:02:27.192" v="1124" actId="790"/>
          <ac:spMkLst>
            <pc:docMk/>
            <pc:sldMk cId="2333946943" sldId="924"/>
            <ac:spMk id="28" creationId="{09F96A6C-BCF7-C92F-10B0-3D0AC98F2671}"/>
          </ac:spMkLst>
        </pc:spChg>
        <pc:spChg chg="mod">
          <ac:chgData name="Annemarija Apine (LV)" userId="546f5c59-3b8d-47fd-b739-a8fadc631053" providerId="ADAL" clId="{1E5FAF9F-4D85-464E-B064-C298814D6547}" dt="2024-03-12T12:02:27.192" v="1124" actId="790"/>
          <ac:spMkLst>
            <pc:docMk/>
            <pc:sldMk cId="2333946943" sldId="924"/>
            <ac:spMk id="42" creationId="{D5A8F98B-A100-8D22-1202-8F00B6AAD5B3}"/>
          </ac:spMkLst>
        </pc:spChg>
        <pc:spChg chg="mod">
          <ac:chgData name="Annemarija Apine (LV)" userId="546f5c59-3b8d-47fd-b739-a8fadc631053" providerId="ADAL" clId="{1E5FAF9F-4D85-464E-B064-C298814D6547}" dt="2024-03-12T12:02:27.192" v="1124" actId="790"/>
          <ac:spMkLst>
            <pc:docMk/>
            <pc:sldMk cId="2333946943" sldId="924"/>
            <ac:spMk id="43" creationId="{5A657692-84D5-0135-1EDD-8539C18F0922}"/>
          </ac:spMkLst>
        </pc:spChg>
        <pc:spChg chg="mod">
          <ac:chgData name="Annemarija Apine (LV)" userId="546f5c59-3b8d-47fd-b739-a8fadc631053" providerId="ADAL" clId="{1E5FAF9F-4D85-464E-B064-C298814D6547}" dt="2024-03-12T12:02:27.192" v="1124" actId="790"/>
          <ac:spMkLst>
            <pc:docMk/>
            <pc:sldMk cId="2333946943" sldId="924"/>
            <ac:spMk id="44" creationId="{D451C3AD-BF06-A491-5B76-787F273C0C52}"/>
          </ac:spMkLst>
        </pc:spChg>
        <pc:spChg chg="mod">
          <ac:chgData name="Annemarija Apine (LV)" userId="546f5c59-3b8d-47fd-b739-a8fadc631053" providerId="ADAL" clId="{1E5FAF9F-4D85-464E-B064-C298814D6547}" dt="2024-03-12T12:02:27.192" v="1124" actId="790"/>
          <ac:spMkLst>
            <pc:docMk/>
            <pc:sldMk cId="2333946943" sldId="924"/>
            <ac:spMk id="45" creationId="{7EC66DF3-0E46-3102-4A4C-72723DF7AEFC}"/>
          </ac:spMkLst>
        </pc:spChg>
        <pc:spChg chg="mod">
          <ac:chgData name="Annemarija Apine (LV)" userId="546f5c59-3b8d-47fd-b739-a8fadc631053" providerId="ADAL" clId="{1E5FAF9F-4D85-464E-B064-C298814D6547}" dt="2024-03-12T12:02:27.192" v="1124" actId="790"/>
          <ac:spMkLst>
            <pc:docMk/>
            <pc:sldMk cId="2333946943" sldId="924"/>
            <ac:spMk id="46" creationId="{892B060B-A08A-4796-8A09-69F8615476CC}"/>
          </ac:spMkLst>
        </pc:spChg>
        <pc:spChg chg="mod">
          <ac:chgData name="Annemarija Apine (LV)" userId="546f5c59-3b8d-47fd-b739-a8fadc631053" providerId="ADAL" clId="{1E5FAF9F-4D85-464E-B064-C298814D6547}" dt="2024-03-12T12:02:27.192" v="1124" actId="790"/>
          <ac:spMkLst>
            <pc:docMk/>
            <pc:sldMk cId="2333946943" sldId="924"/>
            <ac:spMk id="47" creationId="{20A2D94F-43CB-EDD7-1A06-B60A44C0744D}"/>
          </ac:spMkLst>
        </pc:spChg>
        <pc:spChg chg="mod">
          <ac:chgData name="Annemarija Apine (LV)" userId="546f5c59-3b8d-47fd-b739-a8fadc631053" providerId="ADAL" clId="{1E5FAF9F-4D85-464E-B064-C298814D6547}" dt="2024-03-12T12:02:27.192" v="1124" actId="790"/>
          <ac:spMkLst>
            <pc:docMk/>
            <pc:sldMk cId="2333946943" sldId="924"/>
            <ac:spMk id="48" creationId="{80493C8E-B927-1A54-1912-46BD21ECFA82}"/>
          </ac:spMkLst>
        </pc:spChg>
        <pc:spChg chg="mod">
          <ac:chgData name="Annemarija Apine (LV)" userId="546f5c59-3b8d-47fd-b739-a8fadc631053" providerId="ADAL" clId="{1E5FAF9F-4D85-464E-B064-C298814D6547}" dt="2024-03-12T12:02:27.192" v="1124" actId="790"/>
          <ac:spMkLst>
            <pc:docMk/>
            <pc:sldMk cId="2333946943" sldId="924"/>
            <ac:spMk id="49" creationId="{A6C28A3C-A620-B16D-4B58-91E913FDA302}"/>
          </ac:spMkLst>
        </pc:spChg>
        <pc:spChg chg="mod">
          <ac:chgData name="Annemarija Apine (LV)" userId="546f5c59-3b8d-47fd-b739-a8fadc631053" providerId="ADAL" clId="{1E5FAF9F-4D85-464E-B064-C298814D6547}" dt="2024-03-12T12:02:27.192" v="1124" actId="790"/>
          <ac:spMkLst>
            <pc:docMk/>
            <pc:sldMk cId="2333946943" sldId="924"/>
            <ac:spMk id="50" creationId="{B5ED44FD-99B9-EA5D-A6CA-13027AC18E14}"/>
          </ac:spMkLst>
        </pc:spChg>
        <pc:spChg chg="mod">
          <ac:chgData name="Annemarija Apine (LV)" userId="546f5c59-3b8d-47fd-b739-a8fadc631053" providerId="ADAL" clId="{1E5FAF9F-4D85-464E-B064-C298814D6547}" dt="2024-03-12T12:02:27.192" v="1124" actId="790"/>
          <ac:spMkLst>
            <pc:docMk/>
            <pc:sldMk cId="2333946943" sldId="924"/>
            <ac:spMk id="53" creationId="{E81B126C-1DE6-E834-F45C-027ED60209BD}"/>
          </ac:spMkLst>
        </pc:spChg>
        <pc:spChg chg="mod">
          <ac:chgData name="Annemarija Apine (LV)" userId="546f5c59-3b8d-47fd-b739-a8fadc631053" providerId="ADAL" clId="{1E5FAF9F-4D85-464E-B064-C298814D6547}" dt="2024-03-12T12:02:27.192" v="1124" actId="790"/>
          <ac:spMkLst>
            <pc:docMk/>
            <pc:sldMk cId="2333946943" sldId="924"/>
            <ac:spMk id="54" creationId="{24C1A375-8C7A-FB4D-7F47-F1622BECD0DA}"/>
          </ac:spMkLst>
        </pc:spChg>
        <pc:spChg chg="mod">
          <ac:chgData name="Annemarija Apine (LV)" userId="546f5c59-3b8d-47fd-b739-a8fadc631053" providerId="ADAL" clId="{1E5FAF9F-4D85-464E-B064-C298814D6547}" dt="2024-03-12T12:02:27.192" v="1124" actId="790"/>
          <ac:spMkLst>
            <pc:docMk/>
            <pc:sldMk cId="2333946943" sldId="924"/>
            <ac:spMk id="56" creationId="{91FD7191-EBCA-832B-EE38-C0AD6980C89C}"/>
          </ac:spMkLst>
        </pc:spChg>
        <pc:spChg chg="mod">
          <ac:chgData name="Annemarija Apine (LV)" userId="546f5c59-3b8d-47fd-b739-a8fadc631053" providerId="ADAL" clId="{1E5FAF9F-4D85-464E-B064-C298814D6547}" dt="2024-03-12T12:02:27.192" v="1124" actId="790"/>
          <ac:spMkLst>
            <pc:docMk/>
            <pc:sldMk cId="2333946943" sldId="924"/>
            <ac:spMk id="59" creationId="{0B9A482D-D6B8-5CBF-C3DA-64F6DB0BD51D}"/>
          </ac:spMkLst>
        </pc:spChg>
        <pc:spChg chg="mod">
          <ac:chgData name="Annemarija Apine (LV)" userId="546f5c59-3b8d-47fd-b739-a8fadc631053" providerId="ADAL" clId="{1E5FAF9F-4D85-464E-B064-C298814D6547}" dt="2024-03-12T12:02:27.192" v="1124" actId="790"/>
          <ac:spMkLst>
            <pc:docMk/>
            <pc:sldMk cId="2333946943" sldId="924"/>
            <ac:spMk id="60" creationId="{984E97C1-82FC-5159-8A6A-7060A68823FC}"/>
          </ac:spMkLst>
        </pc:spChg>
        <pc:spChg chg="mod">
          <ac:chgData name="Annemarija Apine (LV)" userId="546f5c59-3b8d-47fd-b739-a8fadc631053" providerId="ADAL" clId="{1E5FAF9F-4D85-464E-B064-C298814D6547}" dt="2024-03-12T12:02:27.192" v="1124" actId="790"/>
          <ac:spMkLst>
            <pc:docMk/>
            <pc:sldMk cId="2333946943" sldId="924"/>
            <ac:spMk id="65" creationId="{6D2F5831-19CB-8E2E-E436-E08C83663D19}"/>
          </ac:spMkLst>
        </pc:spChg>
        <pc:spChg chg="mod">
          <ac:chgData name="Annemarija Apine (LV)" userId="546f5c59-3b8d-47fd-b739-a8fadc631053" providerId="ADAL" clId="{1E5FAF9F-4D85-464E-B064-C298814D6547}" dt="2024-03-12T12:02:27.192" v="1124" actId="790"/>
          <ac:spMkLst>
            <pc:docMk/>
            <pc:sldMk cId="2333946943" sldId="924"/>
            <ac:spMk id="90" creationId="{D00B4179-08F8-09B5-BD0A-9A04267AF1DF}"/>
          </ac:spMkLst>
        </pc:spChg>
      </pc:sldChg>
      <pc:sldChg chg="addSp modSp mod delCm modNotesTx">
        <pc:chgData name="Annemarija Apine (LV)" userId="546f5c59-3b8d-47fd-b739-a8fadc631053" providerId="ADAL" clId="{1E5FAF9F-4D85-464E-B064-C298814D6547}" dt="2024-03-12T11:50:12.302" v="1087"/>
        <pc:sldMkLst>
          <pc:docMk/>
          <pc:sldMk cId="3431578971" sldId="931"/>
        </pc:sldMkLst>
        <pc:spChg chg="add mod">
          <ac:chgData name="Annemarija Apine (LV)" userId="546f5c59-3b8d-47fd-b739-a8fadc631053" providerId="ADAL" clId="{1E5FAF9F-4D85-464E-B064-C298814D6547}" dt="2024-03-12T11:17:48.153" v="770" actId="1076"/>
          <ac:spMkLst>
            <pc:docMk/>
            <pc:sldMk cId="3431578971" sldId="931"/>
            <ac:spMk id="31" creationId="{7A0CB8EC-08CC-0BCB-D7D0-B20A9F3173CC}"/>
          </ac:spMkLst>
        </pc:spChg>
        <pc:spChg chg="mod ord">
          <ac:chgData name="Annemarija Apine (LV)" userId="546f5c59-3b8d-47fd-b739-a8fadc631053" providerId="ADAL" clId="{1E5FAF9F-4D85-464E-B064-C298814D6547}" dt="2024-03-12T11:18:52.531" v="781" actId="1076"/>
          <ac:spMkLst>
            <pc:docMk/>
            <pc:sldMk cId="3431578971" sldId="931"/>
            <ac:spMk id="57" creationId="{E0007A68-F3EF-5218-37FA-972FF8C8BB56}"/>
          </ac:spMkLst>
        </pc:spChg>
        <pc:grpChg chg="ord">
          <ac:chgData name="Annemarija Apine (LV)" userId="546f5c59-3b8d-47fd-b739-a8fadc631053" providerId="ADAL" clId="{1E5FAF9F-4D85-464E-B064-C298814D6547}" dt="2024-03-12T11:15:21.647" v="752" actId="166"/>
          <ac:grpSpMkLst>
            <pc:docMk/>
            <pc:sldMk cId="3431578971" sldId="931"/>
            <ac:grpSpMk id="10" creationId="{829B9916-9D35-631D-748F-F9A64E3DB324}"/>
          </ac:grpSpMkLst>
        </pc:gr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3431578971" sldId="931"/>
                <pc2:cmMk id="{5B7B49C2-CE96-4F1F-9FE5-4CF603BB0FF1}"/>
              </pc2:cmMkLst>
            </pc226:cmChg>
          </p:ext>
        </pc:extLst>
      </pc:sldChg>
      <pc:sldChg chg="addSp delSp modSp mod delCm">
        <pc:chgData name="Annemarija Apine (LV)" userId="546f5c59-3b8d-47fd-b739-a8fadc631053" providerId="ADAL" clId="{1E5FAF9F-4D85-464E-B064-C298814D6547}" dt="2024-03-11T22:22:28.149" v="547"/>
        <pc:sldMkLst>
          <pc:docMk/>
          <pc:sldMk cId="2803239078" sldId="935"/>
        </pc:sldMkLst>
        <pc:spChg chg="mod">
          <ac:chgData name="Annemarija Apine (LV)" userId="546f5c59-3b8d-47fd-b739-a8fadc631053" providerId="ADAL" clId="{1E5FAF9F-4D85-464E-B064-C298814D6547}" dt="2024-03-11T22:13:54.997" v="264" actId="1076"/>
          <ac:spMkLst>
            <pc:docMk/>
            <pc:sldMk cId="2803239078" sldId="935"/>
            <ac:spMk id="32" creationId="{6741534F-AD2B-D1F2-AC91-19476BE24A77}"/>
          </ac:spMkLst>
        </pc:spChg>
        <pc:picChg chg="del mod modCrop">
          <ac:chgData name="Annemarija Apine (LV)" userId="546f5c59-3b8d-47fd-b739-a8fadc631053" providerId="ADAL" clId="{1E5FAF9F-4D85-464E-B064-C298814D6547}" dt="2024-03-11T22:11:34.912" v="238" actId="478"/>
          <ac:picMkLst>
            <pc:docMk/>
            <pc:sldMk cId="2803239078" sldId="935"/>
            <ac:picMk id="31" creationId="{7F2DD1AC-4868-22BF-65A5-2D52181F0AEC}"/>
          </ac:picMkLst>
        </pc:picChg>
        <pc:picChg chg="add del mod">
          <ac:chgData name="Annemarija Apine (LV)" userId="546f5c59-3b8d-47fd-b739-a8fadc631053" providerId="ADAL" clId="{1E5FAF9F-4D85-464E-B064-C298814D6547}" dt="2024-03-11T22:12:35.061" v="248" actId="478"/>
          <ac:picMkLst>
            <pc:docMk/>
            <pc:sldMk cId="2803239078" sldId="935"/>
            <ac:picMk id="4098" creationId="{13E02A86-D966-1F11-BE03-84E576D1913A}"/>
          </ac:picMkLst>
        </pc:picChg>
        <pc:picChg chg="add mod">
          <ac:chgData name="Annemarija Apine (LV)" userId="546f5c59-3b8d-47fd-b739-a8fadc631053" providerId="ADAL" clId="{1E5FAF9F-4D85-464E-B064-C298814D6547}" dt="2024-03-11T22:13:50.195" v="263" actId="14100"/>
          <ac:picMkLst>
            <pc:docMk/>
            <pc:sldMk cId="2803239078" sldId="935"/>
            <ac:picMk id="4100" creationId="{D8119A36-804E-F47B-8A01-4636EC10088E}"/>
          </ac:picMkLst>
        </pc:pic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803239078" sldId="935"/>
                <pc2:cmMk id="{72897B42-C198-4AF9-86AB-C561B281055B}"/>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803239078" sldId="935"/>
                <pc2:cmMk id="{F7C00153-39D8-4846-8D47-915BF0FEF30D}"/>
              </pc2:cmMkLst>
            </pc226:cmChg>
          </p:ext>
        </pc:extLst>
      </pc:sldChg>
      <pc:sldChg chg="delCm modNotesTx">
        <pc:chgData name="Annemarija Apine (LV)" userId="546f5c59-3b8d-47fd-b739-a8fadc631053" providerId="ADAL" clId="{1E5FAF9F-4D85-464E-B064-C298814D6547}" dt="2024-03-11T22:22:28.149" v="547"/>
        <pc:sldMkLst>
          <pc:docMk/>
          <pc:sldMk cId="1939332489" sldId="936"/>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1939332489" sldId="936"/>
                <pc2:cmMk id="{F7CBB20B-C670-4C10-BA6C-BE97153D81AD}"/>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1939332489" sldId="936"/>
                <pc2:cmMk id="{91AA2356-15CD-45EE-93C9-BC368C8EFAFC}"/>
              </pc2:cmMkLst>
            </pc226:cmChg>
          </p:ext>
        </pc:extLst>
      </pc:sldChg>
      <pc:sldChg chg="delCm modNotesTx">
        <pc:chgData name="Annemarija Apine (LV)" userId="546f5c59-3b8d-47fd-b739-a8fadc631053" providerId="ADAL" clId="{1E5FAF9F-4D85-464E-B064-C298814D6547}" dt="2024-03-12T11:52:37.018" v="1098"/>
        <pc:sldMkLst>
          <pc:docMk/>
          <pc:sldMk cId="1263375755" sldId="937"/>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2T11:52:37.018" v="1098"/>
              <pc2:cmMkLst xmlns:pc2="http://schemas.microsoft.com/office/powerpoint/2019/9/main/command">
                <pc:docMk/>
                <pc:sldMk cId="1263375755" sldId="937"/>
                <pc2:cmMk id="{9701165F-769B-42EC-8757-BC99D971C04F}"/>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1263375755" sldId="937"/>
                <pc2:cmMk id="{B43CF2A4-07EF-486D-ABE3-FCC5F57ABF34}"/>
              </pc2:cmMkLst>
            </pc226:cmChg>
          </p:ext>
        </pc:extLst>
      </pc:sldChg>
      <pc:sldChg chg="delCm modNotesTx">
        <pc:chgData name="Annemarija Apine (LV)" userId="546f5c59-3b8d-47fd-b739-a8fadc631053" providerId="ADAL" clId="{1E5FAF9F-4D85-464E-B064-C298814D6547}" dt="2024-03-11T22:22:28.149" v="547"/>
        <pc:sldMkLst>
          <pc:docMk/>
          <pc:sldMk cId="2976985460" sldId="938"/>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976985460" sldId="938"/>
                <pc2:cmMk id="{E8E3E279-41EF-4EC9-96D4-87274249FA89}"/>
              </pc2:cmMkLst>
            </pc226:cmChg>
          </p:ext>
        </pc:extLst>
      </pc:sldChg>
      <pc:sldChg chg="delCm modNotesTx">
        <pc:chgData name="Annemarija Apine (LV)" userId="546f5c59-3b8d-47fd-b739-a8fadc631053" providerId="ADAL" clId="{1E5FAF9F-4D85-464E-B064-C298814D6547}" dt="2024-03-11T22:22:28.149" v="547"/>
        <pc:sldMkLst>
          <pc:docMk/>
          <pc:sldMk cId="558100583" sldId="939"/>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558100583" sldId="939"/>
                <pc2:cmMk id="{B1F41855-E807-4805-BAAB-9374EF31217B}"/>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558100583" sldId="939"/>
                <pc2:cmMk id="{A570185F-E994-4EC6-A68A-E2C36FB87FD5}"/>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558100583" sldId="939"/>
                <pc2:cmMk id="{D899416F-60CC-4A08-8640-9B29D319EBA4}"/>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558100583" sldId="939"/>
                <pc2:cmMk id="{8E8DDBDA-6933-4C90-9A00-EDFEF31D1A4E}"/>
              </pc2:cmMkLst>
            </pc226:cmChg>
          </p:ext>
        </pc:extLst>
      </pc:sldChg>
      <pc:sldChg chg="delCm modNotesTx">
        <pc:chgData name="Annemarija Apine (LV)" userId="546f5c59-3b8d-47fd-b739-a8fadc631053" providerId="ADAL" clId="{1E5FAF9F-4D85-464E-B064-C298814D6547}" dt="2024-03-11T22:22:28.149" v="547"/>
        <pc:sldMkLst>
          <pc:docMk/>
          <pc:sldMk cId="2169785454" sldId="940"/>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169785454" sldId="940"/>
                <pc2:cmMk id="{D8D88415-B258-4414-B60D-60263E5E54CC}"/>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169785454" sldId="940"/>
                <pc2:cmMk id="{B751C4A5-EDBC-4C47-B97D-33448EC4C89E}"/>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169785454" sldId="940"/>
                <pc2:cmMk id="{3A4D3BAF-8104-4495-8DE3-4015667E4BE1}"/>
              </pc2:cmMkLst>
            </pc226:cmChg>
          </p:ext>
        </pc:extLst>
      </pc:sldChg>
      <pc:sldChg chg="delCm">
        <pc:chgData name="Annemarija Apine (LV)" userId="546f5c59-3b8d-47fd-b739-a8fadc631053" providerId="ADAL" clId="{1E5FAF9F-4D85-464E-B064-C298814D6547}" dt="2024-03-11T22:22:28.149" v="547"/>
        <pc:sldMkLst>
          <pc:docMk/>
          <pc:sldMk cId="4229434319" sldId="941"/>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4229434319" sldId="941"/>
                <pc2:cmMk id="{4B5F507B-5212-4E21-B0C3-C08158A94BED}"/>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4229434319" sldId="941"/>
                <pc2:cmMk id="{8590AEC1-A34A-45D3-8F8B-CA9F66F14848}"/>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4229434319" sldId="941"/>
                <pc2:cmMk id="{BDB956F7-3AF8-48A2-B57C-3B87C2A3F5EC}"/>
              </pc2:cmMkLst>
            </pc226:cmChg>
          </p:ext>
        </pc:extLst>
      </pc:sldChg>
      <pc:sldChg chg="addSp delSp modSp mod delCm modNotesTx">
        <pc:chgData name="Annemarija Apine (LV)" userId="546f5c59-3b8d-47fd-b739-a8fadc631053" providerId="ADAL" clId="{1E5FAF9F-4D85-464E-B064-C298814D6547}" dt="2024-03-11T22:22:28.149" v="547"/>
        <pc:sldMkLst>
          <pc:docMk/>
          <pc:sldMk cId="3615584869" sldId="942"/>
        </pc:sldMkLst>
        <pc:spChg chg="mod">
          <ac:chgData name="Annemarija Apine (LV)" userId="546f5c59-3b8d-47fd-b739-a8fadc631053" providerId="ADAL" clId="{1E5FAF9F-4D85-464E-B064-C298814D6547}" dt="2024-03-11T22:21:04.611" v="515" actId="20577"/>
          <ac:spMkLst>
            <pc:docMk/>
            <pc:sldMk cId="3615584869" sldId="942"/>
            <ac:spMk id="16" creationId="{30819613-CE74-49B6-0807-44FDBB81D466}"/>
          </ac:spMkLst>
        </pc:spChg>
        <pc:spChg chg="add mod">
          <ac:chgData name="Annemarija Apine (LV)" userId="546f5c59-3b8d-47fd-b739-a8fadc631053" providerId="ADAL" clId="{1E5FAF9F-4D85-464E-B064-C298814D6547}" dt="2024-03-11T22:20:21.282" v="498" actId="1038"/>
          <ac:spMkLst>
            <pc:docMk/>
            <pc:sldMk cId="3615584869" sldId="942"/>
            <ac:spMk id="23" creationId="{A8F5CB7E-E6F8-F5E2-F17D-986545B54DCA}"/>
          </ac:spMkLst>
        </pc:spChg>
        <pc:spChg chg="add mod">
          <ac:chgData name="Annemarija Apine (LV)" userId="546f5c59-3b8d-47fd-b739-a8fadc631053" providerId="ADAL" clId="{1E5FAF9F-4D85-464E-B064-C298814D6547}" dt="2024-03-11T22:21:47.434" v="530" actId="12789"/>
          <ac:spMkLst>
            <pc:docMk/>
            <pc:sldMk cId="3615584869" sldId="942"/>
            <ac:spMk id="24" creationId="{7060378A-C63A-BF3A-59CE-61675AFCA014}"/>
          </ac:spMkLst>
        </pc:spChg>
        <pc:spChg chg="add mod">
          <ac:chgData name="Annemarija Apine (LV)" userId="546f5c59-3b8d-47fd-b739-a8fadc631053" providerId="ADAL" clId="{1E5FAF9F-4D85-464E-B064-C298814D6547}" dt="2024-03-11T22:20:21.282" v="498" actId="1038"/>
          <ac:spMkLst>
            <pc:docMk/>
            <pc:sldMk cId="3615584869" sldId="942"/>
            <ac:spMk id="26" creationId="{A8172831-5A38-1225-34B8-55190510D1B3}"/>
          </ac:spMkLst>
        </pc:spChg>
        <pc:spChg chg="add mod">
          <ac:chgData name="Annemarija Apine (LV)" userId="546f5c59-3b8d-47fd-b739-a8fadc631053" providerId="ADAL" clId="{1E5FAF9F-4D85-464E-B064-C298814D6547}" dt="2024-03-11T22:20:21.282" v="498" actId="1038"/>
          <ac:spMkLst>
            <pc:docMk/>
            <pc:sldMk cId="3615584869" sldId="942"/>
            <ac:spMk id="28" creationId="{D4993DD7-F54E-B0B9-1686-671B06ECB22C}"/>
          </ac:spMkLst>
        </pc:spChg>
        <pc:spChg chg="add mod">
          <ac:chgData name="Annemarija Apine (LV)" userId="546f5c59-3b8d-47fd-b739-a8fadc631053" providerId="ADAL" clId="{1E5FAF9F-4D85-464E-B064-C298814D6547}" dt="2024-03-11T22:20:21.282" v="498" actId="1038"/>
          <ac:spMkLst>
            <pc:docMk/>
            <pc:sldMk cId="3615584869" sldId="942"/>
            <ac:spMk id="29" creationId="{09B35BF0-9FD2-2CA9-A480-724018FEE070}"/>
          </ac:spMkLst>
        </pc:spChg>
        <pc:spChg chg="add mod">
          <ac:chgData name="Annemarija Apine (LV)" userId="546f5c59-3b8d-47fd-b739-a8fadc631053" providerId="ADAL" clId="{1E5FAF9F-4D85-464E-B064-C298814D6547}" dt="2024-03-11T22:20:21.282" v="498" actId="1038"/>
          <ac:spMkLst>
            <pc:docMk/>
            <pc:sldMk cId="3615584869" sldId="942"/>
            <ac:spMk id="30" creationId="{972EC8A0-3980-BF7A-2C4D-3162D371741F}"/>
          </ac:spMkLst>
        </pc:spChg>
        <pc:spChg chg="add mod">
          <ac:chgData name="Annemarija Apine (LV)" userId="546f5c59-3b8d-47fd-b739-a8fadc631053" providerId="ADAL" clId="{1E5FAF9F-4D85-464E-B064-C298814D6547}" dt="2024-03-11T22:20:21.282" v="498" actId="1038"/>
          <ac:spMkLst>
            <pc:docMk/>
            <pc:sldMk cId="3615584869" sldId="942"/>
            <ac:spMk id="31" creationId="{BD90D103-9EFA-9895-D8DB-2C2E0229A563}"/>
          </ac:spMkLst>
        </pc:spChg>
        <pc:spChg chg="add del mod">
          <ac:chgData name="Annemarija Apine (LV)" userId="546f5c59-3b8d-47fd-b739-a8fadc631053" providerId="ADAL" clId="{1E5FAF9F-4D85-464E-B064-C298814D6547}" dt="2024-03-11T22:17:49.041" v="457"/>
          <ac:spMkLst>
            <pc:docMk/>
            <pc:sldMk cId="3615584869" sldId="942"/>
            <ac:spMk id="32" creationId="{57F62816-33FF-26BC-AD99-45D2A7348FB1}"/>
          </ac:spMkLst>
        </pc:spChg>
        <pc:spChg chg="add del mod">
          <ac:chgData name="Annemarija Apine (LV)" userId="546f5c59-3b8d-47fd-b739-a8fadc631053" providerId="ADAL" clId="{1E5FAF9F-4D85-464E-B064-C298814D6547}" dt="2024-03-11T22:17:49.041" v="457"/>
          <ac:spMkLst>
            <pc:docMk/>
            <pc:sldMk cId="3615584869" sldId="942"/>
            <ac:spMk id="33" creationId="{9F3111B8-8AC0-FDCC-17B0-906869EE1259}"/>
          </ac:spMkLst>
        </pc:spChg>
        <pc:spChg chg="add del mod">
          <ac:chgData name="Annemarija Apine (LV)" userId="546f5c59-3b8d-47fd-b739-a8fadc631053" providerId="ADAL" clId="{1E5FAF9F-4D85-464E-B064-C298814D6547}" dt="2024-03-11T22:17:49.041" v="457"/>
          <ac:spMkLst>
            <pc:docMk/>
            <pc:sldMk cId="3615584869" sldId="942"/>
            <ac:spMk id="34" creationId="{BF15F445-E6F0-F6B6-23B4-156AB382AA85}"/>
          </ac:spMkLst>
        </pc:spChg>
        <pc:spChg chg="add del mod">
          <ac:chgData name="Annemarija Apine (LV)" userId="546f5c59-3b8d-47fd-b739-a8fadc631053" providerId="ADAL" clId="{1E5FAF9F-4D85-464E-B064-C298814D6547}" dt="2024-03-11T22:17:49.041" v="457"/>
          <ac:spMkLst>
            <pc:docMk/>
            <pc:sldMk cId="3615584869" sldId="942"/>
            <ac:spMk id="35" creationId="{C96DB115-20FF-66C9-E7B4-FF1602EF1ED5}"/>
          </ac:spMkLst>
        </pc:spChg>
        <pc:spChg chg="add del mod">
          <ac:chgData name="Annemarija Apine (LV)" userId="546f5c59-3b8d-47fd-b739-a8fadc631053" providerId="ADAL" clId="{1E5FAF9F-4D85-464E-B064-C298814D6547}" dt="2024-03-11T22:17:49.041" v="457"/>
          <ac:spMkLst>
            <pc:docMk/>
            <pc:sldMk cId="3615584869" sldId="942"/>
            <ac:spMk id="37" creationId="{83107851-3690-04AD-7459-B4450289FDD9}"/>
          </ac:spMkLst>
        </pc:spChg>
        <pc:spChg chg="add del mod">
          <ac:chgData name="Annemarija Apine (LV)" userId="546f5c59-3b8d-47fd-b739-a8fadc631053" providerId="ADAL" clId="{1E5FAF9F-4D85-464E-B064-C298814D6547}" dt="2024-03-11T22:17:49.041" v="457"/>
          <ac:spMkLst>
            <pc:docMk/>
            <pc:sldMk cId="3615584869" sldId="942"/>
            <ac:spMk id="39" creationId="{20A15546-BCD2-467F-3123-F839FB15C44E}"/>
          </ac:spMkLst>
        </pc:spChg>
        <pc:spChg chg="add del mod">
          <ac:chgData name="Annemarija Apine (LV)" userId="546f5c59-3b8d-47fd-b739-a8fadc631053" providerId="ADAL" clId="{1E5FAF9F-4D85-464E-B064-C298814D6547}" dt="2024-03-11T22:17:49.041" v="457"/>
          <ac:spMkLst>
            <pc:docMk/>
            <pc:sldMk cId="3615584869" sldId="942"/>
            <ac:spMk id="40" creationId="{D5367C0F-4B5E-BAA6-2503-8AD31691FAE9}"/>
          </ac:spMkLst>
        </pc:spChg>
        <pc:spChg chg="add mod">
          <ac:chgData name="Annemarija Apine (LV)" userId="546f5c59-3b8d-47fd-b739-a8fadc631053" providerId="ADAL" clId="{1E5FAF9F-4D85-464E-B064-C298814D6547}" dt="2024-03-11T22:22:03.336" v="535" actId="1036"/>
          <ac:spMkLst>
            <pc:docMk/>
            <pc:sldMk cId="3615584869" sldId="942"/>
            <ac:spMk id="60" creationId="{475B7D60-E90E-C6DE-CBA8-4EE5DB2931AF}"/>
          </ac:spMkLst>
        </pc:spChg>
        <pc:spChg chg="add mod">
          <ac:chgData name="Annemarija Apine (LV)" userId="546f5c59-3b8d-47fd-b739-a8fadc631053" providerId="ADAL" clId="{1E5FAF9F-4D85-464E-B064-C298814D6547}" dt="2024-03-11T22:22:03.336" v="535" actId="1036"/>
          <ac:spMkLst>
            <pc:docMk/>
            <pc:sldMk cId="3615584869" sldId="942"/>
            <ac:spMk id="70" creationId="{D403E95A-3EC0-1FAD-8167-D0561D80BE8A}"/>
          </ac:spMkLst>
        </pc:spChg>
        <pc:spChg chg="add mod">
          <ac:chgData name="Annemarija Apine (LV)" userId="546f5c59-3b8d-47fd-b739-a8fadc631053" providerId="ADAL" clId="{1E5FAF9F-4D85-464E-B064-C298814D6547}" dt="2024-03-11T22:22:03.336" v="535" actId="1036"/>
          <ac:spMkLst>
            <pc:docMk/>
            <pc:sldMk cId="3615584869" sldId="942"/>
            <ac:spMk id="74" creationId="{F6939192-7E9B-F042-6F94-C92A889D5E4F}"/>
          </ac:spMkLst>
        </pc:spChg>
        <pc:cxnChg chg="add mod">
          <ac:chgData name="Annemarija Apine (LV)" userId="546f5c59-3b8d-47fd-b739-a8fadc631053" providerId="ADAL" clId="{1E5FAF9F-4D85-464E-B064-C298814D6547}" dt="2024-03-11T22:20:21.282" v="498" actId="1038"/>
          <ac:cxnSpMkLst>
            <pc:docMk/>
            <pc:sldMk cId="3615584869" sldId="942"/>
            <ac:cxnSpMk id="27" creationId="{8D488999-8DF6-7902-AED2-8B7C09115229}"/>
          </ac:cxnSpMkLst>
        </pc:cxn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3615584869" sldId="942"/>
                <pc2:cmMk id="{096D112C-449F-4189-90D1-E6E5D7CBF081}"/>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3615584869" sldId="942"/>
                <pc2:cmMk id="{C59F5F95-7CF3-471D-B137-CACBBEBB3858}"/>
              </pc2:cmMkLst>
            </pc226:cmChg>
          </p:ext>
        </pc:extLst>
      </pc:sldChg>
      <pc:sldChg chg="del">
        <pc:chgData name="Annemarija Apine (LV)" userId="546f5c59-3b8d-47fd-b739-a8fadc631053" providerId="ADAL" clId="{1E5FAF9F-4D85-464E-B064-C298814D6547}" dt="2024-03-11T22:03:10.396" v="217" actId="47"/>
        <pc:sldMkLst>
          <pc:docMk/>
          <pc:sldMk cId="256155706" sldId="943"/>
        </pc:sldMkLst>
      </pc:sldChg>
      <pc:sldChg chg="del">
        <pc:chgData name="Annemarija Apine (LV)" userId="546f5c59-3b8d-47fd-b739-a8fadc631053" providerId="ADAL" clId="{1E5FAF9F-4D85-464E-B064-C298814D6547}" dt="2024-03-11T22:02:00.786" v="183" actId="47"/>
        <pc:sldMkLst>
          <pc:docMk/>
          <pc:sldMk cId="2143110826" sldId="944"/>
        </pc:sldMkLst>
      </pc:sldChg>
      <pc:sldChg chg="addSp delSp modSp mod delCm">
        <pc:chgData name="Annemarija Apine (LV)" userId="546f5c59-3b8d-47fd-b739-a8fadc631053" providerId="ADAL" clId="{1E5FAF9F-4D85-464E-B064-C298814D6547}" dt="2024-03-11T22:22:28.149" v="547"/>
        <pc:sldMkLst>
          <pc:docMk/>
          <pc:sldMk cId="2603595337" sldId="945"/>
        </pc:sldMkLst>
        <pc:spChg chg="mod ord">
          <ac:chgData name="Annemarija Apine (LV)" userId="546f5c59-3b8d-47fd-b739-a8fadc631053" providerId="ADAL" clId="{1E5FAF9F-4D85-464E-B064-C298814D6547}" dt="2024-03-11T21:56:14.395" v="124" actId="1076"/>
          <ac:spMkLst>
            <pc:docMk/>
            <pc:sldMk cId="2603595337" sldId="945"/>
            <ac:spMk id="42" creationId="{50830596-224D-A11D-D251-21B0CA3EB02E}"/>
          </ac:spMkLst>
        </pc:spChg>
        <pc:picChg chg="del">
          <ac:chgData name="Annemarija Apine (LV)" userId="546f5c59-3b8d-47fd-b739-a8fadc631053" providerId="ADAL" clId="{1E5FAF9F-4D85-464E-B064-C298814D6547}" dt="2024-03-11T21:55:23.199" v="113" actId="478"/>
          <ac:picMkLst>
            <pc:docMk/>
            <pc:sldMk cId="2603595337" sldId="945"/>
            <ac:picMk id="17" creationId="{73ED1AF9-9993-177B-EE92-2177C3741411}"/>
          </ac:picMkLst>
        </pc:picChg>
        <pc:picChg chg="add mod">
          <ac:chgData name="Annemarija Apine (LV)" userId="546f5c59-3b8d-47fd-b739-a8fadc631053" providerId="ADAL" clId="{1E5FAF9F-4D85-464E-B064-C298814D6547}" dt="2024-03-11T21:56:10.220" v="123" actId="167"/>
          <ac:picMkLst>
            <pc:docMk/>
            <pc:sldMk cId="2603595337" sldId="945"/>
            <ac:picMk id="2050" creationId="{7EA85A7F-61BE-A112-2A26-6DD2522CD8D2}"/>
          </ac:picMkLst>
        </pc:pic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603595337" sldId="945"/>
                <pc2:cmMk id="{F3323D1F-DC8E-4C7E-A8C9-D860FBBA9998}"/>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603595337" sldId="945"/>
                <pc2:cmMk id="{4554295C-C573-4900-ADF3-493984DC3EF2}"/>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603595337" sldId="945"/>
                <pc2:cmMk id="{D31A62EF-F815-4755-9A6E-9B7E3FAD370D}"/>
              </pc2:cmMkLst>
            </pc226:cmChg>
          </p:ext>
        </pc:extLst>
      </pc:sldChg>
      <pc:sldChg chg="delCm modNotesTx">
        <pc:chgData name="Annemarija Apine (LV)" userId="546f5c59-3b8d-47fd-b739-a8fadc631053" providerId="ADAL" clId="{1E5FAF9F-4D85-464E-B064-C298814D6547}" dt="2024-03-12T11:48:19.760" v="1000"/>
        <pc:sldMkLst>
          <pc:docMk/>
          <pc:sldMk cId="3488828484" sldId="946"/>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3488828484" sldId="946"/>
                <pc2:cmMk id="{9B0D3FA9-9E12-42E0-8291-A58BCC6F688A}"/>
              </pc2:cmMkLst>
            </pc226:cmChg>
          </p:ext>
        </pc:extLst>
      </pc:sldChg>
      <pc:sldChg chg="del">
        <pc:chgData name="Annemarija Apine (LV)" userId="546f5c59-3b8d-47fd-b739-a8fadc631053" providerId="ADAL" clId="{1E5FAF9F-4D85-464E-B064-C298814D6547}" dt="2024-03-11T22:03:08.599" v="214" actId="47"/>
        <pc:sldMkLst>
          <pc:docMk/>
          <pc:sldMk cId="3911462717" sldId="947"/>
        </pc:sldMkLst>
      </pc:sldChg>
      <pc:sldChg chg="del delCm">
        <pc:chgData name="Annemarija Apine (LV)" userId="546f5c59-3b8d-47fd-b739-a8fadc631053" providerId="ADAL" clId="{1E5FAF9F-4D85-464E-B064-C298814D6547}" dt="2024-03-12T11:50:37.310" v="1089" actId="47"/>
        <pc:sldMkLst>
          <pc:docMk/>
          <pc:sldMk cId="2283029669" sldId="948"/>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283029669" sldId="948"/>
                <pc2:cmMk id="{D67391BC-4C8A-4C3B-9650-4DEE47BDED4A}"/>
              </pc2:cmMkLst>
            </pc226:cmChg>
          </p:ext>
        </pc:extLst>
      </pc:sldChg>
      <pc:sldChg chg="modSp del mod delCm">
        <pc:chgData name="Annemarija Apine (LV)" userId="546f5c59-3b8d-47fd-b739-a8fadc631053" providerId="ADAL" clId="{1E5FAF9F-4D85-464E-B064-C298814D6547}" dt="2024-03-12T11:48:26.960" v="1005" actId="47"/>
        <pc:sldMkLst>
          <pc:docMk/>
          <pc:sldMk cId="3348140347" sldId="949"/>
        </pc:sldMkLst>
        <pc:spChg chg="mod">
          <ac:chgData name="Annemarija Apine (LV)" userId="546f5c59-3b8d-47fd-b739-a8fadc631053" providerId="ADAL" clId="{1E5FAF9F-4D85-464E-B064-C298814D6547}" dt="2024-03-12T11:43:44.200" v="958" actId="1076"/>
          <ac:spMkLst>
            <pc:docMk/>
            <pc:sldMk cId="3348140347" sldId="949"/>
            <ac:spMk id="16" creationId="{4046BDB3-E253-8BFD-2151-3E03E762683F}"/>
          </ac:spMkLst>
        </pc:spChg>
        <pc:spChg chg="mod">
          <ac:chgData name="Annemarija Apine (LV)" userId="546f5c59-3b8d-47fd-b739-a8fadc631053" providerId="ADAL" clId="{1E5FAF9F-4D85-464E-B064-C298814D6547}" dt="2024-03-12T11:43:39.395" v="956" actId="14100"/>
          <ac:spMkLst>
            <pc:docMk/>
            <pc:sldMk cId="3348140347" sldId="949"/>
            <ac:spMk id="17" creationId="{2BFEA0FA-7858-44EE-3DCB-707FD55F7536}"/>
          </ac:spMkLst>
        </pc:spChg>
        <pc:spChg chg="mod">
          <ac:chgData name="Annemarija Apine (LV)" userId="546f5c59-3b8d-47fd-b739-a8fadc631053" providerId="ADAL" clId="{1E5FAF9F-4D85-464E-B064-C298814D6547}" dt="2024-03-12T11:43:52.096" v="961" actId="14100"/>
          <ac:spMkLst>
            <pc:docMk/>
            <pc:sldMk cId="3348140347" sldId="949"/>
            <ac:spMk id="19" creationId="{33EBC432-067D-3BCB-9AA9-3595C9D40E3B}"/>
          </ac:spMkLst>
        </pc:spChg>
        <pc:spChg chg="mod">
          <ac:chgData name="Annemarija Apine (LV)" userId="546f5c59-3b8d-47fd-b739-a8fadc631053" providerId="ADAL" clId="{1E5FAF9F-4D85-464E-B064-C298814D6547}" dt="2024-03-12T11:44:45.235" v="972" actId="1076"/>
          <ac:spMkLst>
            <pc:docMk/>
            <pc:sldMk cId="3348140347" sldId="949"/>
            <ac:spMk id="20" creationId="{04029E51-5EF1-9C93-D407-F81D35CB5DE0}"/>
          </ac:spMkLst>
        </pc:spChg>
        <pc:spChg chg="mod">
          <ac:chgData name="Annemarija Apine (LV)" userId="546f5c59-3b8d-47fd-b739-a8fadc631053" providerId="ADAL" clId="{1E5FAF9F-4D85-464E-B064-C298814D6547}" dt="2024-03-12T11:44:45.235" v="972" actId="1076"/>
          <ac:spMkLst>
            <pc:docMk/>
            <pc:sldMk cId="3348140347" sldId="949"/>
            <ac:spMk id="25" creationId="{2B261BF4-92C6-462D-AA95-793AE54DD688}"/>
          </ac:spMkLst>
        </pc:spChg>
        <pc:spChg chg="mod">
          <ac:chgData name="Annemarija Apine (LV)" userId="546f5c59-3b8d-47fd-b739-a8fadc631053" providerId="ADAL" clId="{1E5FAF9F-4D85-464E-B064-C298814D6547}" dt="2024-03-12T11:44:45.235" v="972" actId="1076"/>
          <ac:spMkLst>
            <pc:docMk/>
            <pc:sldMk cId="3348140347" sldId="949"/>
            <ac:spMk id="26" creationId="{5EC1F9AE-82A4-85FE-592B-EF659F76F7EC}"/>
          </ac:spMkLst>
        </pc:spChg>
        <pc:spChg chg="mod">
          <ac:chgData name="Annemarija Apine (LV)" userId="546f5c59-3b8d-47fd-b739-a8fadc631053" providerId="ADAL" clId="{1E5FAF9F-4D85-464E-B064-C298814D6547}" dt="2024-03-12T11:44:45.235" v="972" actId="1076"/>
          <ac:spMkLst>
            <pc:docMk/>
            <pc:sldMk cId="3348140347" sldId="949"/>
            <ac:spMk id="27" creationId="{72D802D4-B169-1594-D931-40179675E33A}"/>
          </ac:spMkLst>
        </pc:spChg>
        <pc:spChg chg="mod">
          <ac:chgData name="Annemarija Apine (LV)" userId="546f5c59-3b8d-47fd-b739-a8fadc631053" providerId="ADAL" clId="{1E5FAF9F-4D85-464E-B064-C298814D6547}" dt="2024-03-12T11:44:45.235" v="972" actId="1076"/>
          <ac:spMkLst>
            <pc:docMk/>
            <pc:sldMk cId="3348140347" sldId="949"/>
            <ac:spMk id="29" creationId="{3915AD89-6428-4A75-0915-328643F1703C}"/>
          </ac:spMkLst>
        </pc:spChg>
        <pc:spChg chg="mod">
          <ac:chgData name="Annemarija Apine (LV)" userId="546f5c59-3b8d-47fd-b739-a8fadc631053" providerId="ADAL" clId="{1E5FAF9F-4D85-464E-B064-C298814D6547}" dt="2024-03-12T11:44:45.235" v="972" actId="1076"/>
          <ac:spMkLst>
            <pc:docMk/>
            <pc:sldMk cId="3348140347" sldId="949"/>
            <ac:spMk id="30" creationId="{373AB206-F1F0-CC72-8C15-85605D9AF2AC}"/>
          </ac:spMkLst>
        </pc:spChg>
        <pc:spChg chg="mod">
          <ac:chgData name="Annemarija Apine (LV)" userId="546f5c59-3b8d-47fd-b739-a8fadc631053" providerId="ADAL" clId="{1E5FAF9F-4D85-464E-B064-C298814D6547}" dt="2024-03-12T11:39:47.718" v="910" actId="1076"/>
          <ac:spMkLst>
            <pc:docMk/>
            <pc:sldMk cId="3348140347" sldId="949"/>
            <ac:spMk id="42" creationId="{50830596-224D-A11D-D251-21B0CA3EB02E}"/>
          </ac:spMkLst>
        </pc:spChg>
        <pc:spChg chg="mod">
          <ac:chgData name="Annemarija Apine (LV)" userId="546f5c59-3b8d-47fd-b739-a8fadc631053" providerId="ADAL" clId="{1E5FAF9F-4D85-464E-B064-C298814D6547}" dt="2024-03-12T11:44:45.235" v="972" actId="1076"/>
          <ac:spMkLst>
            <pc:docMk/>
            <pc:sldMk cId="3348140347" sldId="949"/>
            <ac:spMk id="44" creationId="{37325A5C-F07F-2313-782A-18E3E98D15F0}"/>
          </ac:spMkLst>
        </pc:spChg>
        <pc:spChg chg="mod">
          <ac:chgData name="Annemarija Apine (LV)" userId="546f5c59-3b8d-47fd-b739-a8fadc631053" providerId="ADAL" clId="{1E5FAF9F-4D85-464E-B064-C298814D6547}" dt="2024-03-12T11:44:45.235" v="972" actId="1076"/>
          <ac:spMkLst>
            <pc:docMk/>
            <pc:sldMk cId="3348140347" sldId="949"/>
            <ac:spMk id="45" creationId="{5A4A472A-422C-56F4-A0F5-AE422E82D144}"/>
          </ac:spMkLst>
        </pc:spChg>
        <pc:spChg chg="mod">
          <ac:chgData name="Annemarija Apine (LV)" userId="546f5c59-3b8d-47fd-b739-a8fadc631053" providerId="ADAL" clId="{1E5FAF9F-4D85-464E-B064-C298814D6547}" dt="2024-03-12T11:44:45.235" v="972" actId="1076"/>
          <ac:spMkLst>
            <pc:docMk/>
            <pc:sldMk cId="3348140347" sldId="949"/>
            <ac:spMk id="46" creationId="{09BF84D6-F468-7005-FAB5-AA0B6AE5CFB4}"/>
          </ac:spMkLst>
        </pc:spChg>
        <pc:spChg chg="mod">
          <ac:chgData name="Annemarija Apine (LV)" userId="546f5c59-3b8d-47fd-b739-a8fadc631053" providerId="ADAL" clId="{1E5FAF9F-4D85-464E-B064-C298814D6547}" dt="2024-03-12T11:44:45.235" v="972" actId="1076"/>
          <ac:spMkLst>
            <pc:docMk/>
            <pc:sldMk cId="3348140347" sldId="949"/>
            <ac:spMk id="49" creationId="{DED3BED4-139F-CB4F-0A7B-7B90211550F4}"/>
          </ac:spMkLst>
        </pc:spChg>
        <pc:spChg chg="mod">
          <ac:chgData name="Annemarija Apine (LV)" userId="546f5c59-3b8d-47fd-b739-a8fadc631053" providerId="ADAL" clId="{1E5FAF9F-4D85-464E-B064-C298814D6547}" dt="2024-03-12T11:48:09.753" v="974" actId="1076"/>
          <ac:spMkLst>
            <pc:docMk/>
            <pc:sldMk cId="3348140347" sldId="949"/>
            <ac:spMk id="50" creationId="{0130363F-7CE7-F3D0-4AB5-F295FAC2DCBC}"/>
          </ac:spMkLst>
        </pc:spChg>
        <pc:spChg chg="mod">
          <ac:chgData name="Annemarija Apine (LV)" userId="546f5c59-3b8d-47fd-b739-a8fadc631053" providerId="ADAL" clId="{1E5FAF9F-4D85-464E-B064-C298814D6547}" dt="2024-03-12T11:44:17.094" v="966" actId="14100"/>
          <ac:spMkLst>
            <pc:docMk/>
            <pc:sldMk cId="3348140347" sldId="949"/>
            <ac:spMk id="51" creationId="{AFEB1935-0849-FFDB-14A2-768E555E2F79}"/>
          </ac:spMkLst>
        </pc:spChg>
        <pc:spChg chg="mod">
          <ac:chgData name="Annemarija Apine (LV)" userId="546f5c59-3b8d-47fd-b739-a8fadc631053" providerId="ADAL" clId="{1E5FAF9F-4D85-464E-B064-C298814D6547}" dt="2024-03-12T11:44:31.056" v="971" actId="1076"/>
          <ac:spMkLst>
            <pc:docMk/>
            <pc:sldMk cId="3348140347" sldId="949"/>
            <ac:spMk id="52" creationId="{C28EBB85-E5E0-FA58-8077-AD15508F23C6}"/>
          </ac:spMkLst>
        </pc:spChg>
        <pc:grpChg chg="mod">
          <ac:chgData name="Annemarija Apine (LV)" userId="546f5c59-3b8d-47fd-b739-a8fadc631053" providerId="ADAL" clId="{1E5FAF9F-4D85-464E-B064-C298814D6547}" dt="2024-03-12T11:43:55.313" v="963" actId="1076"/>
          <ac:grpSpMkLst>
            <pc:docMk/>
            <pc:sldMk cId="3348140347" sldId="949"/>
            <ac:grpSpMk id="15" creationId="{764141E3-6172-5063-0EBA-FCD008CF118B}"/>
          </ac:grpSpMkLst>
        </pc:grpChg>
        <pc:cxnChg chg="mod">
          <ac:chgData name="Annemarija Apine (LV)" userId="546f5c59-3b8d-47fd-b739-a8fadc631053" providerId="ADAL" clId="{1E5FAF9F-4D85-464E-B064-C298814D6547}" dt="2024-03-12T11:44:02.263" v="964" actId="1076"/>
          <ac:cxnSpMkLst>
            <pc:docMk/>
            <pc:sldMk cId="3348140347" sldId="949"/>
            <ac:cxnSpMk id="18" creationId="{CD669445-24C9-E4F7-38D8-E8D2515193DB}"/>
          </ac:cxnSpMkLst>
        </pc:cxnChg>
        <pc:cxnChg chg="mod">
          <ac:chgData name="Annemarija Apine (LV)" userId="546f5c59-3b8d-47fd-b739-a8fadc631053" providerId="ADAL" clId="{1E5FAF9F-4D85-464E-B064-C298814D6547}" dt="2024-03-12T11:44:23.695" v="968" actId="14100"/>
          <ac:cxnSpMkLst>
            <pc:docMk/>
            <pc:sldMk cId="3348140347" sldId="949"/>
            <ac:cxnSpMk id="53" creationId="{F358E754-064A-5B8C-B2FC-4E612BA07893}"/>
          </ac:cxnSpMkLst>
        </pc:cxn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3348140347" sldId="949"/>
                <pc2:cmMk id="{1510FCDF-9D49-464C-8CED-B27D3E158178}"/>
              </pc2:cmMkLst>
            </pc226:cmChg>
          </p:ext>
        </pc:extLst>
      </pc:sldChg>
      <pc:sldChg chg="delCm modNotesTx">
        <pc:chgData name="Annemarija Apine (LV)" userId="546f5c59-3b8d-47fd-b739-a8fadc631053" providerId="ADAL" clId="{1E5FAF9F-4D85-464E-B064-C298814D6547}" dt="2024-03-12T11:48:40.332" v="1035"/>
        <pc:sldMkLst>
          <pc:docMk/>
          <pc:sldMk cId="201777098" sldId="950"/>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01777098" sldId="950"/>
                <pc2:cmMk id="{1A5476BB-88AF-4870-A72B-D1F544EA1421}"/>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01777098" sldId="950"/>
                <pc2:cmMk id="{5E0D50F5-D5CA-4BCD-9B39-6846677F7D43}"/>
              </pc2:cmMkLst>
            </pc226:cmChg>
          </p:ext>
        </pc:extLst>
      </pc:sldChg>
      <pc:sldChg chg="modSp del mod delCm">
        <pc:chgData name="Annemarija Apine (LV)" userId="546f5c59-3b8d-47fd-b739-a8fadc631053" providerId="ADAL" clId="{1E5FAF9F-4D85-464E-B064-C298814D6547}" dt="2024-03-12T11:48:43.431" v="1037" actId="47"/>
        <pc:sldMkLst>
          <pc:docMk/>
          <pc:sldMk cId="3919877977" sldId="951"/>
        </pc:sldMkLst>
        <pc:spChg chg="mod">
          <ac:chgData name="Annemarija Apine (LV)" userId="546f5c59-3b8d-47fd-b739-a8fadc631053" providerId="ADAL" clId="{1E5FAF9F-4D85-464E-B064-C298814D6547}" dt="2024-03-12T11:35:22.792" v="890" actId="14100"/>
          <ac:spMkLst>
            <pc:docMk/>
            <pc:sldMk cId="3919877977" sldId="951"/>
            <ac:spMk id="51" creationId="{AFEB1935-0849-FFDB-14A2-768E555E2F79}"/>
          </ac:spMkLst>
        </pc:s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3919877977" sldId="951"/>
                <pc2:cmMk id="{DEEB522C-7CB1-41CA-8DF4-0025ECCCD571}"/>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3919877977" sldId="951"/>
                <pc2:cmMk id="{85CB2ACB-F07F-45B5-89ED-DD3C5C9375B3}"/>
              </pc2:cmMkLst>
            </pc226:cmChg>
          </p:ext>
        </pc:extLst>
      </pc:sldChg>
      <pc:sldChg chg="modSp mod delCm">
        <pc:chgData name="Annemarija Apine (LV)" userId="546f5c59-3b8d-47fd-b739-a8fadc631053" providerId="ADAL" clId="{1E5FAF9F-4D85-464E-B064-C298814D6547}" dt="2024-03-12T12:04:08.307" v="1147" actId="20577"/>
        <pc:sldMkLst>
          <pc:docMk/>
          <pc:sldMk cId="1713450018" sldId="952"/>
        </pc:sldMkLst>
        <pc:spChg chg="mod">
          <ac:chgData name="Annemarija Apine (LV)" userId="546f5c59-3b8d-47fd-b739-a8fadc631053" providerId="ADAL" clId="{1E5FAF9F-4D85-464E-B064-C298814D6547}" dt="2024-03-12T12:04:08.307" v="1147" actId="20577"/>
          <ac:spMkLst>
            <pc:docMk/>
            <pc:sldMk cId="1713450018" sldId="952"/>
            <ac:spMk id="6" creationId="{38CA96A2-A01D-FA94-92E8-A765979AB49D}"/>
          </ac:spMkLst>
        </pc:s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1713450018" sldId="952"/>
                <pc2:cmMk id="{8A22812F-5AB0-4E9E-AD91-0EE4F777EC6D}"/>
              </pc2:cmMkLst>
            </pc226:cmChg>
          </p:ext>
        </pc:extLst>
      </pc:sldChg>
      <pc:sldChg chg="delCm">
        <pc:chgData name="Annemarija Apine (LV)" userId="546f5c59-3b8d-47fd-b739-a8fadc631053" providerId="ADAL" clId="{1E5FAF9F-4D85-464E-B064-C298814D6547}" dt="2024-03-11T22:22:28.149" v="547"/>
        <pc:sldMkLst>
          <pc:docMk/>
          <pc:sldMk cId="2937916867" sldId="953"/>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937916867" sldId="953"/>
                <pc2:cmMk id="{C1EC82F6-EF9F-4CA6-8F57-9EF24A3D4FCA}"/>
              </pc2:cmMkLst>
            </pc226:cmChg>
          </p:ext>
        </pc:extLst>
      </pc:sldChg>
      <pc:sldChg chg="modSp mod delCm">
        <pc:chgData name="Annemarija Apine (LV)" userId="546f5c59-3b8d-47fd-b739-a8fadc631053" providerId="ADAL" clId="{1E5FAF9F-4D85-464E-B064-C298814D6547}" dt="2024-03-12T11:13:30.953" v="739" actId="14100"/>
        <pc:sldMkLst>
          <pc:docMk/>
          <pc:sldMk cId="3292995886" sldId="954"/>
        </pc:sldMkLst>
        <pc:spChg chg="mod">
          <ac:chgData name="Annemarija Apine (LV)" userId="546f5c59-3b8d-47fd-b739-a8fadc631053" providerId="ADAL" clId="{1E5FAF9F-4D85-464E-B064-C298814D6547}" dt="2024-03-11T21:46:58.045" v="74" actId="20577"/>
          <ac:spMkLst>
            <pc:docMk/>
            <pc:sldMk cId="3292995886" sldId="954"/>
            <ac:spMk id="68" creationId="{512F80CF-595E-3A80-F495-3198099BF352}"/>
          </ac:spMkLst>
        </pc:spChg>
        <pc:spChg chg="mod">
          <ac:chgData name="Annemarija Apine (LV)" userId="546f5c59-3b8d-47fd-b739-a8fadc631053" providerId="ADAL" clId="{1E5FAF9F-4D85-464E-B064-C298814D6547}" dt="2024-03-12T11:13:30.953" v="739" actId="14100"/>
          <ac:spMkLst>
            <pc:docMk/>
            <pc:sldMk cId="3292995886" sldId="954"/>
            <ac:spMk id="73" creationId="{31125C22-727E-9F1A-6243-9118C9184F00}"/>
          </ac:spMkLst>
        </pc:s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2T11:13:27.746" v="738"/>
              <pc2:cmMkLst xmlns:pc2="http://schemas.microsoft.com/office/powerpoint/2019/9/main/command">
                <pc:docMk/>
                <pc:sldMk cId="3292995886" sldId="954"/>
                <pc2:cmMk id="{59B07DAE-C6BC-48BB-88F8-0A7477EC2AE1}"/>
              </pc2:cmMkLst>
            </pc226:cmChg>
          </p:ext>
        </pc:extLst>
      </pc:sldChg>
      <pc:sldChg chg="del">
        <pc:chgData name="Annemarija Apine (LV)" userId="546f5c59-3b8d-47fd-b739-a8fadc631053" providerId="ADAL" clId="{1E5FAF9F-4D85-464E-B064-C298814D6547}" dt="2024-03-11T22:03:06.669" v="211" actId="47"/>
        <pc:sldMkLst>
          <pc:docMk/>
          <pc:sldMk cId="24755804" sldId="956"/>
        </pc:sldMkLst>
      </pc:sldChg>
      <pc:sldChg chg="del">
        <pc:chgData name="Annemarija Apine (LV)" userId="546f5c59-3b8d-47fd-b739-a8fadc631053" providerId="ADAL" clId="{1E5FAF9F-4D85-464E-B064-C298814D6547}" dt="2024-03-11T22:03:04.936" v="208" actId="47"/>
        <pc:sldMkLst>
          <pc:docMk/>
          <pc:sldMk cId="1014935855" sldId="957"/>
        </pc:sldMkLst>
      </pc:sldChg>
      <pc:sldChg chg="del">
        <pc:chgData name="Annemarija Apine (LV)" userId="546f5c59-3b8d-47fd-b739-a8fadc631053" providerId="ADAL" clId="{1E5FAF9F-4D85-464E-B064-C298814D6547}" dt="2024-03-11T22:03:01.370" v="205" actId="47"/>
        <pc:sldMkLst>
          <pc:docMk/>
          <pc:sldMk cId="2086181770" sldId="958"/>
        </pc:sldMkLst>
      </pc:sldChg>
      <pc:sldChg chg="del">
        <pc:chgData name="Annemarija Apine (LV)" userId="546f5c59-3b8d-47fd-b739-a8fadc631053" providerId="ADAL" clId="{1E5FAF9F-4D85-464E-B064-C298814D6547}" dt="2024-03-11T22:02:58.801" v="202" actId="47"/>
        <pc:sldMkLst>
          <pc:docMk/>
          <pc:sldMk cId="1391244758" sldId="959"/>
        </pc:sldMkLst>
      </pc:sldChg>
      <pc:sldChg chg="addSp delSp modSp mod delCm">
        <pc:chgData name="Annemarija Apine (LV)" userId="546f5c59-3b8d-47fd-b739-a8fadc631053" providerId="ADAL" clId="{1E5FAF9F-4D85-464E-B064-C298814D6547}" dt="2024-03-11T22:22:28.149" v="547"/>
        <pc:sldMkLst>
          <pc:docMk/>
          <pc:sldMk cId="425128272" sldId="960"/>
        </pc:sldMkLst>
        <pc:spChg chg="del mod">
          <ac:chgData name="Annemarija Apine (LV)" userId="546f5c59-3b8d-47fd-b739-a8fadc631053" providerId="ADAL" clId="{1E5FAF9F-4D85-464E-B064-C298814D6547}" dt="2024-03-11T22:01:14.486" v="161" actId="478"/>
          <ac:spMkLst>
            <pc:docMk/>
            <pc:sldMk cId="425128272" sldId="960"/>
            <ac:spMk id="6" creationId="{F5AA410E-3357-BB30-92B8-F2EA09E4E394}"/>
          </ac:spMkLst>
        </pc:spChg>
        <pc:spChg chg="del mod ord">
          <ac:chgData name="Annemarija Apine (LV)" userId="546f5c59-3b8d-47fd-b739-a8fadc631053" providerId="ADAL" clId="{1E5FAF9F-4D85-464E-B064-C298814D6547}" dt="2024-03-11T22:01:43.174" v="177" actId="478"/>
          <ac:spMkLst>
            <pc:docMk/>
            <pc:sldMk cId="425128272" sldId="960"/>
            <ac:spMk id="7" creationId="{9C193113-0BD3-4F38-EB05-0C6819F31447}"/>
          </ac:spMkLst>
        </pc:spChg>
        <pc:spChg chg="add mod">
          <ac:chgData name="Annemarija Apine (LV)" userId="546f5c59-3b8d-47fd-b739-a8fadc631053" providerId="ADAL" clId="{1E5FAF9F-4D85-464E-B064-C298814D6547}" dt="2024-03-11T22:01:22.858" v="165"/>
          <ac:spMkLst>
            <pc:docMk/>
            <pc:sldMk cId="425128272" sldId="960"/>
            <ac:spMk id="23" creationId="{99027CE6-3148-8B69-47C3-D38CFB081A9D}"/>
          </ac:spMkLst>
        </pc:spChg>
        <pc:spChg chg="add mod">
          <ac:chgData name="Annemarija Apine (LV)" userId="546f5c59-3b8d-47fd-b739-a8fadc631053" providerId="ADAL" clId="{1E5FAF9F-4D85-464E-B064-C298814D6547}" dt="2024-03-11T22:01:47.262" v="180"/>
          <ac:spMkLst>
            <pc:docMk/>
            <pc:sldMk cId="425128272" sldId="960"/>
            <ac:spMk id="24" creationId="{EEBDB999-8D80-71A0-1735-572EAA4ECF55}"/>
          </ac:spMkLst>
        </pc:spChg>
        <pc:picChg chg="del">
          <ac:chgData name="Annemarija Apine (LV)" userId="546f5c59-3b8d-47fd-b739-a8fadc631053" providerId="ADAL" clId="{1E5FAF9F-4D85-464E-B064-C298814D6547}" dt="2024-03-11T22:00:35.106" v="147" actId="478"/>
          <ac:picMkLst>
            <pc:docMk/>
            <pc:sldMk cId="425128272" sldId="960"/>
            <ac:picMk id="5" creationId="{4BC4D78B-9D02-BE32-A038-0B14BEF8131F}"/>
          </ac:picMkLst>
        </pc:picChg>
        <pc:picChg chg="add mod">
          <ac:chgData name="Annemarija Apine (LV)" userId="546f5c59-3b8d-47fd-b739-a8fadc631053" providerId="ADAL" clId="{1E5FAF9F-4D85-464E-B064-C298814D6547}" dt="2024-03-11T22:01:53.708" v="181" actId="732"/>
          <ac:picMkLst>
            <pc:docMk/>
            <pc:sldMk cId="425128272" sldId="960"/>
            <ac:picMk id="3074" creationId="{A956661B-FAE8-8EB1-7E90-80C772C59A2A}"/>
          </ac:picMkLst>
        </pc:pic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425128272" sldId="960"/>
                <pc2:cmMk id="{B69CBA3F-ED8C-48E9-8243-D5C3249C02CD}"/>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425128272" sldId="960"/>
                <pc2:cmMk id="{8F4A419C-8D99-4B98-9E74-1C1B20526F25}"/>
              </pc2:cmMkLst>
            </pc226:cmChg>
          </p:ext>
        </pc:extLst>
      </pc:sldChg>
      <pc:sldChg chg="del">
        <pc:chgData name="Annemarija Apine (LV)" userId="546f5c59-3b8d-47fd-b739-a8fadc631053" providerId="ADAL" clId="{1E5FAF9F-4D85-464E-B064-C298814D6547}" dt="2024-03-11T21:56:24.743" v="126" actId="47"/>
        <pc:sldMkLst>
          <pc:docMk/>
          <pc:sldMk cId="1511441995" sldId="962"/>
        </pc:sldMkLst>
      </pc:sldChg>
      <pc:sldChg chg="delCm">
        <pc:chgData name="Annemarija Apine (LV)" userId="546f5c59-3b8d-47fd-b739-a8fadc631053" providerId="ADAL" clId="{1E5FAF9F-4D85-464E-B064-C298814D6547}" dt="2024-03-11T22:22:28.149" v="547"/>
        <pc:sldMkLst>
          <pc:docMk/>
          <pc:sldMk cId="4141191697" sldId="963"/>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4141191697" sldId="963"/>
                <pc2:cmMk id="{6AD52056-33F2-419F-B462-9093DD8A46E9}"/>
              </pc2:cmMkLst>
            </pc226:cmChg>
          </p:ext>
        </pc:extLst>
      </pc:sldChg>
      <pc:sldChg chg="delCm">
        <pc:chgData name="Annemarija Apine (LV)" userId="546f5c59-3b8d-47fd-b739-a8fadc631053" providerId="ADAL" clId="{1E5FAF9F-4D85-464E-B064-C298814D6547}" dt="2024-03-11T22:22:28.149" v="547"/>
        <pc:sldMkLst>
          <pc:docMk/>
          <pc:sldMk cId="1785961526" sldId="964"/>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1785961526" sldId="964"/>
                <pc2:cmMk id="{DCCD5552-152B-4797-9530-5E56B0BAEBD6}"/>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1785961526" sldId="964"/>
                <pc2:cmMk id="{D15EC27A-BB4B-4D73-B162-E893FB1BC496}"/>
              </pc2:cmMkLst>
            </pc226:cmChg>
          </p:ext>
        </pc:extLst>
      </pc:sldChg>
      <pc:sldChg chg="del">
        <pc:chgData name="Annemarija Apine (LV)" userId="546f5c59-3b8d-47fd-b739-a8fadc631053" providerId="ADAL" clId="{1E5FAF9F-4D85-464E-B064-C298814D6547}" dt="2024-03-11T22:01:25.038" v="167" actId="47"/>
        <pc:sldMkLst>
          <pc:docMk/>
          <pc:sldMk cId="3788013194" sldId="965"/>
        </pc:sldMkLst>
      </pc:sldChg>
      <pc:sldChg chg="del">
        <pc:chgData name="Annemarija Apine (LV)" userId="546f5c59-3b8d-47fd-b739-a8fadc631053" providerId="ADAL" clId="{1E5FAF9F-4D85-464E-B064-C298814D6547}" dt="2024-03-11T21:56:27.208" v="128" actId="47"/>
        <pc:sldMkLst>
          <pc:docMk/>
          <pc:sldMk cId="1812328710" sldId="966"/>
        </pc:sldMkLst>
      </pc:sldChg>
    </pc:docChg>
  </pc:docChgLst>
  <pc:docChgLst>
    <pc:chgData name="Sindija Kirsteine (LV)" userId="5f25501a-2215-4bb3-9d9c-8d1484ffa7c1" providerId="ADAL" clId="{DF8FB14C-655D-4BA6-ACF6-D90558E95229}"/>
    <pc:docChg chg="undo custSel modSld replTag">
      <pc:chgData name="Sindija Kirsteine (LV)" userId="5f25501a-2215-4bb3-9d9c-8d1484ffa7c1" providerId="ADAL" clId="{DF8FB14C-655D-4BA6-ACF6-D90558E95229}" dt="2024-06-10T06:20:19.750" v="587"/>
      <pc:docMkLst>
        <pc:docMk/>
      </pc:docMkLst>
      <pc:sldChg chg="modSp mod delCm">
        <pc:chgData name="Sindija Kirsteine (LV)" userId="5f25501a-2215-4bb3-9d9c-8d1484ffa7c1" providerId="ADAL" clId="{DF8FB14C-655D-4BA6-ACF6-D90558E95229}" dt="2024-06-05T07:49:13.702" v="3" actId="255"/>
        <pc:sldMkLst>
          <pc:docMk/>
          <pc:sldMk cId="817197616" sldId="332"/>
        </pc:sldMkLst>
        <pc:spChg chg="mod">
          <ac:chgData name="Sindija Kirsteine (LV)" userId="5f25501a-2215-4bb3-9d9c-8d1484ffa7c1" providerId="ADAL" clId="{DF8FB14C-655D-4BA6-ACF6-D90558E95229}" dt="2024-06-05T07:49:01.957" v="1"/>
          <ac:spMkLst>
            <pc:docMk/>
            <pc:sldMk cId="817197616" sldId="332"/>
            <ac:spMk id="3" creationId="{E1CE47AC-97D8-9F49-5273-9267AA784BE2}"/>
          </ac:spMkLst>
        </pc:spChg>
        <pc:spChg chg="mod">
          <ac:chgData name="Sindija Kirsteine (LV)" userId="5f25501a-2215-4bb3-9d9c-8d1484ffa7c1" providerId="ADAL" clId="{DF8FB14C-655D-4BA6-ACF6-D90558E95229}" dt="2024-06-05T07:49:13.702" v="3" actId="255"/>
          <ac:spMkLst>
            <pc:docMk/>
            <pc:sldMk cId="817197616" sldId="332"/>
            <ac:spMk id="9" creationId="{9C917BBD-747E-ABCB-3683-E8C68F33230D}"/>
          </ac:spMkLst>
        </pc:s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DF8FB14C-655D-4BA6-ACF6-D90558E95229}" dt="2024-06-05T07:48:51.323" v="0"/>
              <pc2:cmMkLst xmlns:pc2="http://schemas.microsoft.com/office/powerpoint/2019/9/main/command">
                <pc:docMk/>
                <pc:sldMk cId="817197616" sldId="332"/>
                <pc2:cmMk id="{69F160DB-06BC-46A5-9BCA-853736F4564C}"/>
              </pc2:cmMkLst>
            </pc226:cmChg>
          </p:ext>
        </pc:extLst>
      </pc:sldChg>
      <pc:sldChg chg="addSp delSp modSp mod">
        <pc:chgData name="Sindija Kirsteine (LV)" userId="5f25501a-2215-4bb3-9d9c-8d1484ffa7c1" providerId="ADAL" clId="{DF8FB14C-655D-4BA6-ACF6-D90558E95229}" dt="2024-06-05T07:58:52.439" v="323"/>
        <pc:sldMkLst>
          <pc:docMk/>
          <pc:sldMk cId="399328488" sldId="450"/>
        </pc:sldMkLst>
        <pc:spChg chg="mod">
          <ac:chgData name="Sindija Kirsteine (LV)" userId="5f25501a-2215-4bb3-9d9c-8d1484ffa7c1" providerId="ADAL" clId="{DF8FB14C-655D-4BA6-ACF6-D90558E95229}" dt="2024-06-05T07:58:52.439" v="323"/>
          <ac:spMkLst>
            <pc:docMk/>
            <pc:sldMk cId="399328488" sldId="450"/>
            <ac:spMk id="2" creationId="{06CA5123-FA6E-5376-B3D9-BDF5B08EA25B}"/>
          </ac:spMkLst>
        </pc:spChg>
        <pc:spChg chg="add del mod">
          <ac:chgData name="Sindija Kirsteine (LV)" userId="5f25501a-2215-4bb3-9d9c-8d1484ffa7c1" providerId="ADAL" clId="{DF8FB14C-655D-4BA6-ACF6-D90558E95229}" dt="2024-06-05T07:51:56.560" v="68" actId="478"/>
          <ac:spMkLst>
            <pc:docMk/>
            <pc:sldMk cId="399328488" sldId="450"/>
            <ac:spMk id="5" creationId="{42B691FF-EAB8-D256-9150-5A1261788EC8}"/>
          </ac:spMkLst>
        </pc:spChg>
        <pc:spChg chg="mod">
          <ac:chgData name="Sindija Kirsteine (LV)" userId="5f25501a-2215-4bb3-9d9c-8d1484ffa7c1" providerId="ADAL" clId="{DF8FB14C-655D-4BA6-ACF6-D90558E95229}" dt="2024-06-05T07:52:00.150" v="70" actId="20577"/>
          <ac:spMkLst>
            <pc:docMk/>
            <pc:sldMk cId="399328488" sldId="450"/>
            <ac:spMk id="12" creationId="{437AFA95-4629-E445-8011-A1331848A9C1}"/>
          </ac:spMkLst>
        </pc:spChg>
        <pc:spChg chg="mod">
          <ac:chgData name="Sindija Kirsteine (LV)" userId="5f25501a-2215-4bb3-9d9c-8d1484ffa7c1" providerId="ADAL" clId="{DF8FB14C-655D-4BA6-ACF6-D90558E95229}" dt="2024-06-05T07:52:07.480" v="72" actId="20577"/>
          <ac:spMkLst>
            <pc:docMk/>
            <pc:sldMk cId="399328488" sldId="450"/>
            <ac:spMk id="14" creationId="{47611A2B-87DE-E012-FBEB-CD8C3F27162D}"/>
          </ac:spMkLst>
        </pc:spChg>
        <pc:spChg chg="mod">
          <ac:chgData name="Sindija Kirsteine (LV)" userId="5f25501a-2215-4bb3-9d9c-8d1484ffa7c1" providerId="ADAL" clId="{DF8FB14C-655D-4BA6-ACF6-D90558E95229}" dt="2024-06-05T07:52:09.423" v="74" actId="20577"/>
          <ac:spMkLst>
            <pc:docMk/>
            <pc:sldMk cId="399328488" sldId="450"/>
            <ac:spMk id="15" creationId="{F075C420-0F8B-D5BA-BC4C-BE0D5D4A9645}"/>
          </ac:spMkLst>
        </pc:spChg>
        <pc:spChg chg="mod">
          <ac:chgData name="Sindija Kirsteine (LV)" userId="5f25501a-2215-4bb3-9d9c-8d1484ffa7c1" providerId="ADAL" clId="{DF8FB14C-655D-4BA6-ACF6-D90558E95229}" dt="2024-06-05T07:52:11.681" v="76" actId="20577"/>
          <ac:spMkLst>
            <pc:docMk/>
            <pc:sldMk cId="399328488" sldId="450"/>
            <ac:spMk id="16" creationId="{E8603D44-7F97-0FEA-D908-A5DDE8A41CC8}"/>
          </ac:spMkLst>
        </pc:spChg>
        <pc:spChg chg="mod">
          <ac:chgData name="Sindija Kirsteine (LV)" userId="5f25501a-2215-4bb3-9d9c-8d1484ffa7c1" providerId="ADAL" clId="{DF8FB14C-655D-4BA6-ACF6-D90558E95229}" dt="2024-06-05T07:52:20.368" v="82" actId="20577"/>
          <ac:spMkLst>
            <pc:docMk/>
            <pc:sldMk cId="399328488" sldId="450"/>
            <ac:spMk id="17" creationId="{F94A9033-6BFC-B403-C388-86F98F207B0B}"/>
          </ac:spMkLst>
        </pc:spChg>
      </pc:sldChg>
      <pc:sldChg chg="addSp delSp modSp mod delCm">
        <pc:chgData name="Sindija Kirsteine (LV)" userId="5f25501a-2215-4bb3-9d9c-8d1484ffa7c1" providerId="ADAL" clId="{DF8FB14C-655D-4BA6-ACF6-D90558E95229}" dt="2024-06-07T15:24:19.119" v="573" actId="14100"/>
        <pc:sldMkLst>
          <pc:docMk/>
          <pc:sldMk cId="192098022" sldId="769"/>
        </pc:sldMkLst>
        <pc:spChg chg="del mod">
          <ac:chgData name="Sindija Kirsteine (LV)" userId="5f25501a-2215-4bb3-9d9c-8d1484ffa7c1" providerId="ADAL" clId="{DF8FB14C-655D-4BA6-ACF6-D90558E95229}" dt="2024-06-07T15:24:17.114" v="571" actId="478"/>
          <ac:spMkLst>
            <pc:docMk/>
            <pc:sldMk cId="192098022" sldId="769"/>
            <ac:spMk id="3" creationId="{A5FB0AAC-8B81-C097-B341-CC9C039BA733}"/>
          </ac:spMkLst>
        </pc:spChg>
        <pc:spChg chg="del">
          <ac:chgData name="Sindija Kirsteine (LV)" userId="5f25501a-2215-4bb3-9d9c-8d1484ffa7c1" providerId="ADAL" clId="{DF8FB14C-655D-4BA6-ACF6-D90558E95229}" dt="2024-06-05T12:13:06.043" v="511" actId="478"/>
          <ac:spMkLst>
            <pc:docMk/>
            <pc:sldMk cId="192098022" sldId="769"/>
            <ac:spMk id="4" creationId="{8D7B80AE-D9DB-FB73-A85E-F049533F27D7}"/>
          </ac:spMkLst>
        </pc:spChg>
        <pc:spChg chg="add del mod">
          <ac:chgData name="Sindija Kirsteine (LV)" userId="5f25501a-2215-4bb3-9d9c-8d1484ffa7c1" providerId="ADAL" clId="{DF8FB14C-655D-4BA6-ACF6-D90558E95229}" dt="2024-06-07T15:24:17.114" v="571" actId="478"/>
          <ac:spMkLst>
            <pc:docMk/>
            <pc:sldMk cId="192098022" sldId="769"/>
            <ac:spMk id="5" creationId="{D4E58068-75AE-3384-9B8F-DCEFB552FE61}"/>
          </ac:spMkLst>
        </pc:spChg>
        <pc:spChg chg="mod">
          <ac:chgData name="Sindija Kirsteine (LV)" userId="5f25501a-2215-4bb3-9d9c-8d1484ffa7c1" providerId="ADAL" clId="{DF8FB14C-655D-4BA6-ACF6-D90558E95229}" dt="2024-06-07T15:24:19.119" v="573" actId="14100"/>
          <ac:spMkLst>
            <pc:docMk/>
            <pc:sldMk cId="192098022" sldId="769"/>
            <ac:spMk id="6" creationId="{2CB3F9F5-858C-1D21-4D13-EAEDABE2E74A}"/>
          </ac:spMkLst>
        </pc:spChg>
        <pc:spChg chg="add del mod">
          <ac:chgData name="Sindija Kirsteine (LV)" userId="5f25501a-2215-4bb3-9d9c-8d1484ffa7c1" providerId="ADAL" clId="{DF8FB14C-655D-4BA6-ACF6-D90558E95229}" dt="2024-06-07T15:24:17.114" v="571" actId="478"/>
          <ac:spMkLst>
            <pc:docMk/>
            <pc:sldMk cId="192098022" sldId="769"/>
            <ac:spMk id="9" creationId="{384CC16B-A2CE-A2F2-2F19-2FC03E6331E0}"/>
          </ac:spMkLst>
        </pc:spChg>
        <pc:spChg chg="add del mod">
          <ac:chgData name="Sindija Kirsteine (LV)" userId="5f25501a-2215-4bb3-9d9c-8d1484ffa7c1" providerId="ADAL" clId="{DF8FB14C-655D-4BA6-ACF6-D90558E95229}" dt="2024-06-07T15:24:17.114" v="571" actId="478"/>
          <ac:spMkLst>
            <pc:docMk/>
            <pc:sldMk cId="192098022" sldId="769"/>
            <ac:spMk id="10" creationId="{3701225A-0359-7DA7-71DF-1982907687EE}"/>
          </ac:spMkLst>
        </pc:spChg>
        <pc:spChg chg="mod">
          <ac:chgData name="Sindija Kirsteine (LV)" userId="5f25501a-2215-4bb3-9d9c-8d1484ffa7c1" providerId="ADAL" clId="{DF8FB14C-655D-4BA6-ACF6-D90558E95229}" dt="2024-06-05T07:58:42.160" v="319" actId="113"/>
          <ac:spMkLst>
            <pc:docMk/>
            <pc:sldMk cId="192098022" sldId="769"/>
            <ac:spMk id="18" creationId="{31F5B033-E36B-F124-637C-AF0345D3C1E2}"/>
          </ac:spMkLst>
        </pc:s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DF8FB14C-655D-4BA6-ACF6-D90558E95229}" dt="2024-06-05T12:13:00.597" v="502"/>
              <pc2:cmMkLst xmlns:pc2="http://schemas.microsoft.com/office/powerpoint/2019/9/main/command">
                <pc:docMk/>
                <pc:sldMk cId="192098022" sldId="769"/>
                <pc2:cmMk id="{A1A5CF71-3A21-48F9-B74E-DB559F8AA98B}"/>
              </pc2:cmMkLst>
            </pc226:cmChg>
          </p:ext>
        </pc:extLst>
      </pc:sldChg>
      <pc:sldChg chg="modSp mod">
        <pc:chgData name="Sindija Kirsteine (LV)" userId="5f25501a-2215-4bb3-9d9c-8d1484ffa7c1" providerId="ADAL" clId="{DF8FB14C-655D-4BA6-ACF6-D90558E95229}" dt="2024-06-05T07:59:02.275" v="329"/>
        <pc:sldMkLst>
          <pc:docMk/>
          <pc:sldMk cId="2067837237" sldId="899"/>
        </pc:sldMkLst>
        <pc:spChg chg="mod">
          <ac:chgData name="Sindija Kirsteine (LV)" userId="5f25501a-2215-4bb3-9d9c-8d1484ffa7c1" providerId="ADAL" clId="{DF8FB14C-655D-4BA6-ACF6-D90558E95229}" dt="2024-06-05T07:59:02.275" v="329"/>
          <ac:spMkLst>
            <pc:docMk/>
            <pc:sldMk cId="2067837237" sldId="899"/>
            <ac:spMk id="8" creationId="{C45B4B4D-811D-75BC-1C53-0D260614DCE2}"/>
          </ac:spMkLst>
        </pc:spChg>
        <pc:spChg chg="mod">
          <ac:chgData name="Sindija Kirsteine (LV)" userId="5f25501a-2215-4bb3-9d9c-8d1484ffa7c1" providerId="ADAL" clId="{DF8FB14C-655D-4BA6-ACF6-D90558E95229}" dt="2024-06-05T07:53:05.362" v="102" actId="20577"/>
          <ac:spMkLst>
            <pc:docMk/>
            <pc:sldMk cId="2067837237" sldId="899"/>
            <ac:spMk id="13" creationId="{CE49DFAE-9602-9B51-7F68-1F0676F98EAA}"/>
          </ac:spMkLst>
        </pc:spChg>
        <pc:spChg chg="mod">
          <ac:chgData name="Sindija Kirsteine (LV)" userId="5f25501a-2215-4bb3-9d9c-8d1484ffa7c1" providerId="ADAL" clId="{DF8FB14C-655D-4BA6-ACF6-D90558E95229}" dt="2024-06-05T07:53:07.252" v="104" actId="20577"/>
          <ac:spMkLst>
            <pc:docMk/>
            <pc:sldMk cId="2067837237" sldId="899"/>
            <ac:spMk id="17" creationId="{505A48E8-31D6-CC00-D638-F5453B1770D2}"/>
          </ac:spMkLst>
        </pc:spChg>
        <pc:spChg chg="mod">
          <ac:chgData name="Sindija Kirsteine (LV)" userId="5f25501a-2215-4bb3-9d9c-8d1484ffa7c1" providerId="ADAL" clId="{DF8FB14C-655D-4BA6-ACF6-D90558E95229}" dt="2024-06-05T07:53:09.226" v="106" actId="20577"/>
          <ac:spMkLst>
            <pc:docMk/>
            <pc:sldMk cId="2067837237" sldId="899"/>
            <ac:spMk id="18" creationId="{96D847B4-9689-1456-ACF2-BC9B473BDA59}"/>
          </ac:spMkLst>
        </pc:spChg>
        <pc:spChg chg="mod">
          <ac:chgData name="Sindija Kirsteine (LV)" userId="5f25501a-2215-4bb3-9d9c-8d1484ffa7c1" providerId="ADAL" clId="{DF8FB14C-655D-4BA6-ACF6-D90558E95229}" dt="2024-06-05T07:53:11.066" v="108" actId="20577"/>
          <ac:spMkLst>
            <pc:docMk/>
            <pc:sldMk cId="2067837237" sldId="899"/>
            <ac:spMk id="21" creationId="{3CDBF83B-5746-D5D4-544E-C151038D4DE9}"/>
          </ac:spMkLst>
        </pc:spChg>
        <pc:spChg chg="mod">
          <ac:chgData name="Sindija Kirsteine (LV)" userId="5f25501a-2215-4bb3-9d9c-8d1484ffa7c1" providerId="ADAL" clId="{DF8FB14C-655D-4BA6-ACF6-D90558E95229}" dt="2024-06-05T07:53:13.113" v="110" actId="20577"/>
          <ac:spMkLst>
            <pc:docMk/>
            <pc:sldMk cId="2067837237" sldId="899"/>
            <ac:spMk id="22" creationId="{EA7DD34B-277F-8DF5-1D1D-40774DE42626}"/>
          </ac:spMkLst>
        </pc:spChg>
      </pc:sldChg>
      <pc:sldChg chg="addSp delSp modSp mod">
        <pc:chgData name="Sindija Kirsteine (LV)" userId="5f25501a-2215-4bb3-9d9c-8d1484ffa7c1" providerId="ADAL" clId="{DF8FB14C-655D-4BA6-ACF6-D90558E95229}" dt="2024-06-05T07:59:05.639" v="331"/>
        <pc:sldMkLst>
          <pc:docMk/>
          <pc:sldMk cId="1735191326" sldId="900"/>
        </pc:sldMkLst>
        <pc:spChg chg="mod">
          <ac:chgData name="Sindija Kirsteine (LV)" userId="5f25501a-2215-4bb3-9d9c-8d1484ffa7c1" providerId="ADAL" clId="{DF8FB14C-655D-4BA6-ACF6-D90558E95229}" dt="2024-06-05T07:59:05.639" v="331"/>
          <ac:spMkLst>
            <pc:docMk/>
            <pc:sldMk cId="1735191326" sldId="900"/>
            <ac:spMk id="5" creationId="{775EC90E-5DCE-2B24-A5AB-0F9245BDD3E7}"/>
          </ac:spMkLst>
        </pc:spChg>
        <pc:spChg chg="mod">
          <ac:chgData name="Sindija Kirsteine (LV)" userId="5f25501a-2215-4bb3-9d9c-8d1484ffa7c1" providerId="ADAL" clId="{DF8FB14C-655D-4BA6-ACF6-D90558E95229}" dt="2024-06-05T07:53:34.413" v="118"/>
          <ac:spMkLst>
            <pc:docMk/>
            <pc:sldMk cId="1735191326" sldId="900"/>
            <ac:spMk id="15" creationId="{5010B0DC-9EB4-FC8F-448C-EC04D08544A1}"/>
          </ac:spMkLst>
        </pc:spChg>
        <pc:spChg chg="mod">
          <ac:chgData name="Sindija Kirsteine (LV)" userId="5f25501a-2215-4bb3-9d9c-8d1484ffa7c1" providerId="ADAL" clId="{DF8FB14C-655D-4BA6-ACF6-D90558E95229}" dt="2024-06-05T07:53:34.413" v="118"/>
          <ac:spMkLst>
            <pc:docMk/>
            <pc:sldMk cId="1735191326" sldId="900"/>
            <ac:spMk id="18" creationId="{0503D9E5-9E24-8980-EF0A-F73A6FB0B79D}"/>
          </ac:spMkLst>
        </pc:spChg>
        <pc:spChg chg="mod">
          <ac:chgData name="Sindija Kirsteine (LV)" userId="5f25501a-2215-4bb3-9d9c-8d1484ffa7c1" providerId="ADAL" clId="{DF8FB14C-655D-4BA6-ACF6-D90558E95229}" dt="2024-06-05T07:53:34.413" v="118"/>
          <ac:spMkLst>
            <pc:docMk/>
            <pc:sldMk cId="1735191326" sldId="900"/>
            <ac:spMk id="19" creationId="{E067E46B-DFEE-27F0-8A4B-732AE657B848}"/>
          </ac:spMkLst>
        </pc:spChg>
        <pc:spChg chg="mod">
          <ac:chgData name="Sindija Kirsteine (LV)" userId="5f25501a-2215-4bb3-9d9c-8d1484ffa7c1" providerId="ADAL" clId="{DF8FB14C-655D-4BA6-ACF6-D90558E95229}" dt="2024-06-05T07:53:34.413" v="118"/>
          <ac:spMkLst>
            <pc:docMk/>
            <pc:sldMk cId="1735191326" sldId="900"/>
            <ac:spMk id="20" creationId="{70B512D5-347E-52F9-87DF-294D42A64799}"/>
          </ac:spMkLst>
        </pc:spChg>
        <pc:spChg chg="mod">
          <ac:chgData name="Sindija Kirsteine (LV)" userId="5f25501a-2215-4bb3-9d9c-8d1484ffa7c1" providerId="ADAL" clId="{DF8FB14C-655D-4BA6-ACF6-D90558E95229}" dt="2024-06-05T07:53:34.413" v="118"/>
          <ac:spMkLst>
            <pc:docMk/>
            <pc:sldMk cId="1735191326" sldId="900"/>
            <ac:spMk id="21" creationId="{F79DDCCF-BA4D-BE6A-3098-E52555711CDE}"/>
          </ac:spMkLst>
        </pc:spChg>
        <pc:spChg chg="mod">
          <ac:chgData name="Sindija Kirsteine (LV)" userId="5f25501a-2215-4bb3-9d9c-8d1484ffa7c1" providerId="ADAL" clId="{DF8FB14C-655D-4BA6-ACF6-D90558E95229}" dt="2024-06-05T07:53:34.413" v="118"/>
          <ac:spMkLst>
            <pc:docMk/>
            <pc:sldMk cId="1735191326" sldId="900"/>
            <ac:spMk id="22" creationId="{68B9554E-4A69-8896-0201-BB891912CC5B}"/>
          </ac:spMkLst>
        </pc:spChg>
        <pc:grpChg chg="del">
          <ac:chgData name="Sindija Kirsteine (LV)" userId="5f25501a-2215-4bb3-9d9c-8d1484ffa7c1" providerId="ADAL" clId="{DF8FB14C-655D-4BA6-ACF6-D90558E95229}" dt="2024-06-05T07:53:34.142" v="117" actId="478"/>
          <ac:grpSpMkLst>
            <pc:docMk/>
            <pc:sldMk cId="1735191326" sldId="900"/>
            <ac:grpSpMk id="6" creationId="{FF27E800-456C-291B-FA00-AE8AF5C51E72}"/>
          </ac:grpSpMkLst>
        </pc:grpChg>
        <pc:grpChg chg="add mod">
          <ac:chgData name="Sindija Kirsteine (LV)" userId="5f25501a-2215-4bb3-9d9c-8d1484ffa7c1" providerId="ADAL" clId="{DF8FB14C-655D-4BA6-ACF6-D90558E95229}" dt="2024-06-05T07:53:34.413" v="118"/>
          <ac:grpSpMkLst>
            <pc:docMk/>
            <pc:sldMk cId="1735191326" sldId="900"/>
            <ac:grpSpMk id="14" creationId="{7AFE13CD-216D-2163-4E20-AAFC78274505}"/>
          </ac:grpSpMkLst>
        </pc:grpChg>
      </pc:sldChg>
      <pc:sldChg chg="addSp delSp modSp mod">
        <pc:chgData name="Sindija Kirsteine (LV)" userId="5f25501a-2215-4bb3-9d9c-8d1484ffa7c1" providerId="ADAL" clId="{DF8FB14C-655D-4BA6-ACF6-D90558E95229}" dt="2024-06-05T07:59:08.461" v="333"/>
        <pc:sldMkLst>
          <pc:docMk/>
          <pc:sldMk cId="3011875620" sldId="903"/>
        </pc:sldMkLst>
        <pc:spChg chg="mod">
          <ac:chgData name="Sindija Kirsteine (LV)" userId="5f25501a-2215-4bb3-9d9c-8d1484ffa7c1" providerId="ADAL" clId="{DF8FB14C-655D-4BA6-ACF6-D90558E95229}" dt="2024-06-05T07:59:08.461" v="333"/>
          <ac:spMkLst>
            <pc:docMk/>
            <pc:sldMk cId="3011875620" sldId="903"/>
            <ac:spMk id="3" creationId="{33BB98B8-6827-4CCD-E4FE-A55C4C067AB3}"/>
          </ac:spMkLst>
        </pc:spChg>
        <pc:spChg chg="mod">
          <ac:chgData name="Sindija Kirsteine (LV)" userId="5f25501a-2215-4bb3-9d9c-8d1484ffa7c1" providerId="ADAL" clId="{DF8FB14C-655D-4BA6-ACF6-D90558E95229}" dt="2024-06-05T07:53:41.432" v="121"/>
          <ac:spMkLst>
            <pc:docMk/>
            <pc:sldMk cId="3011875620" sldId="903"/>
            <ac:spMk id="19" creationId="{0930130B-C3CA-0D3F-FCEF-ED20D475573B}"/>
          </ac:spMkLst>
        </pc:spChg>
        <pc:spChg chg="mod">
          <ac:chgData name="Sindija Kirsteine (LV)" userId="5f25501a-2215-4bb3-9d9c-8d1484ffa7c1" providerId="ADAL" clId="{DF8FB14C-655D-4BA6-ACF6-D90558E95229}" dt="2024-06-05T07:53:41.432" v="121"/>
          <ac:spMkLst>
            <pc:docMk/>
            <pc:sldMk cId="3011875620" sldId="903"/>
            <ac:spMk id="20" creationId="{342D1AAE-D336-3691-59C9-42305FA367F4}"/>
          </ac:spMkLst>
        </pc:spChg>
        <pc:spChg chg="mod">
          <ac:chgData name="Sindija Kirsteine (LV)" userId="5f25501a-2215-4bb3-9d9c-8d1484ffa7c1" providerId="ADAL" clId="{DF8FB14C-655D-4BA6-ACF6-D90558E95229}" dt="2024-06-05T07:53:41.432" v="121"/>
          <ac:spMkLst>
            <pc:docMk/>
            <pc:sldMk cId="3011875620" sldId="903"/>
            <ac:spMk id="21" creationId="{8291E5FD-8BA7-08C9-DE86-06A7357EB2EA}"/>
          </ac:spMkLst>
        </pc:spChg>
        <pc:spChg chg="mod">
          <ac:chgData name="Sindija Kirsteine (LV)" userId="5f25501a-2215-4bb3-9d9c-8d1484ffa7c1" providerId="ADAL" clId="{DF8FB14C-655D-4BA6-ACF6-D90558E95229}" dt="2024-06-05T07:53:41.432" v="121"/>
          <ac:spMkLst>
            <pc:docMk/>
            <pc:sldMk cId="3011875620" sldId="903"/>
            <ac:spMk id="22" creationId="{3950A70E-3EB5-9C5A-54D6-EBB8EBE232A5}"/>
          </ac:spMkLst>
        </pc:spChg>
        <pc:spChg chg="mod">
          <ac:chgData name="Sindija Kirsteine (LV)" userId="5f25501a-2215-4bb3-9d9c-8d1484ffa7c1" providerId="ADAL" clId="{DF8FB14C-655D-4BA6-ACF6-D90558E95229}" dt="2024-06-05T07:53:41.432" v="121"/>
          <ac:spMkLst>
            <pc:docMk/>
            <pc:sldMk cId="3011875620" sldId="903"/>
            <ac:spMk id="23" creationId="{A5C9EE1B-9F21-7F3A-7EA4-FBC4B36DE58C}"/>
          </ac:spMkLst>
        </pc:spChg>
        <pc:spChg chg="mod">
          <ac:chgData name="Sindija Kirsteine (LV)" userId="5f25501a-2215-4bb3-9d9c-8d1484ffa7c1" providerId="ADAL" clId="{DF8FB14C-655D-4BA6-ACF6-D90558E95229}" dt="2024-06-05T07:53:41.432" v="121"/>
          <ac:spMkLst>
            <pc:docMk/>
            <pc:sldMk cId="3011875620" sldId="903"/>
            <ac:spMk id="26" creationId="{05ABA03D-365B-A6D0-34A3-C2E190D97F39}"/>
          </ac:spMkLst>
        </pc:spChg>
        <pc:grpChg chg="del">
          <ac:chgData name="Sindija Kirsteine (LV)" userId="5f25501a-2215-4bb3-9d9c-8d1484ffa7c1" providerId="ADAL" clId="{DF8FB14C-655D-4BA6-ACF6-D90558E95229}" dt="2024-06-05T07:53:41.140" v="120" actId="478"/>
          <ac:grpSpMkLst>
            <pc:docMk/>
            <pc:sldMk cId="3011875620" sldId="903"/>
            <ac:grpSpMk id="5" creationId="{706A042E-96D3-EE24-FA5E-32D25A875506}"/>
          </ac:grpSpMkLst>
        </pc:grpChg>
        <pc:grpChg chg="add mod">
          <ac:chgData name="Sindija Kirsteine (LV)" userId="5f25501a-2215-4bb3-9d9c-8d1484ffa7c1" providerId="ADAL" clId="{DF8FB14C-655D-4BA6-ACF6-D90558E95229}" dt="2024-06-05T07:53:41.432" v="121"/>
          <ac:grpSpMkLst>
            <pc:docMk/>
            <pc:sldMk cId="3011875620" sldId="903"/>
            <ac:grpSpMk id="18" creationId="{5DDA4596-31E5-32B2-E305-AAE4E8FF61C2}"/>
          </ac:grpSpMkLst>
        </pc:grpChg>
      </pc:sldChg>
      <pc:sldChg chg="addSp delSp modSp mod">
        <pc:chgData name="Sindija Kirsteine (LV)" userId="5f25501a-2215-4bb3-9d9c-8d1484ffa7c1" providerId="ADAL" clId="{DF8FB14C-655D-4BA6-ACF6-D90558E95229}" dt="2024-06-05T07:59:10.875" v="335"/>
        <pc:sldMkLst>
          <pc:docMk/>
          <pc:sldMk cId="795685229" sldId="904"/>
        </pc:sldMkLst>
        <pc:spChg chg="mod">
          <ac:chgData name="Sindija Kirsteine (LV)" userId="5f25501a-2215-4bb3-9d9c-8d1484ffa7c1" providerId="ADAL" clId="{DF8FB14C-655D-4BA6-ACF6-D90558E95229}" dt="2024-06-05T07:59:10.875" v="335"/>
          <ac:spMkLst>
            <pc:docMk/>
            <pc:sldMk cId="795685229" sldId="904"/>
            <ac:spMk id="6" creationId="{236C7614-93A6-8AC7-7258-BAE206E1F0BE}"/>
          </ac:spMkLst>
        </pc:spChg>
        <pc:spChg chg="mod">
          <ac:chgData name="Sindija Kirsteine (LV)" userId="5f25501a-2215-4bb3-9d9c-8d1484ffa7c1" providerId="ADAL" clId="{DF8FB14C-655D-4BA6-ACF6-D90558E95229}" dt="2024-06-05T07:53:49.651" v="124"/>
          <ac:spMkLst>
            <pc:docMk/>
            <pc:sldMk cId="795685229" sldId="904"/>
            <ac:spMk id="16" creationId="{6AE8C961-2E1F-3CF0-F8BE-030748688B3F}"/>
          </ac:spMkLst>
        </pc:spChg>
        <pc:spChg chg="mod">
          <ac:chgData name="Sindija Kirsteine (LV)" userId="5f25501a-2215-4bb3-9d9c-8d1484ffa7c1" providerId="ADAL" clId="{DF8FB14C-655D-4BA6-ACF6-D90558E95229}" dt="2024-06-05T07:53:49.651" v="124"/>
          <ac:spMkLst>
            <pc:docMk/>
            <pc:sldMk cId="795685229" sldId="904"/>
            <ac:spMk id="17" creationId="{32CC8033-42EE-8EAD-6949-78939AF31F9A}"/>
          </ac:spMkLst>
        </pc:spChg>
        <pc:spChg chg="mod">
          <ac:chgData name="Sindija Kirsteine (LV)" userId="5f25501a-2215-4bb3-9d9c-8d1484ffa7c1" providerId="ADAL" clId="{DF8FB14C-655D-4BA6-ACF6-D90558E95229}" dt="2024-06-05T07:53:49.651" v="124"/>
          <ac:spMkLst>
            <pc:docMk/>
            <pc:sldMk cId="795685229" sldId="904"/>
            <ac:spMk id="18" creationId="{8C138BBB-19C6-5FA4-8B3A-FDDA746455BB}"/>
          </ac:spMkLst>
        </pc:spChg>
        <pc:spChg chg="mod">
          <ac:chgData name="Sindija Kirsteine (LV)" userId="5f25501a-2215-4bb3-9d9c-8d1484ffa7c1" providerId="ADAL" clId="{DF8FB14C-655D-4BA6-ACF6-D90558E95229}" dt="2024-06-05T07:53:49.651" v="124"/>
          <ac:spMkLst>
            <pc:docMk/>
            <pc:sldMk cId="795685229" sldId="904"/>
            <ac:spMk id="19" creationId="{25CA0E9F-B743-DDA9-48DC-0C06CE8C4BEA}"/>
          </ac:spMkLst>
        </pc:spChg>
        <pc:spChg chg="mod">
          <ac:chgData name="Sindija Kirsteine (LV)" userId="5f25501a-2215-4bb3-9d9c-8d1484ffa7c1" providerId="ADAL" clId="{DF8FB14C-655D-4BA6-ACF6-D90558E95229}" dt="2024-06-05T07:53:49.651" v="124"/>
          <ac:spMkLst>
            <pc:docMk/>
            <pc:sldMk cId="795685229" sldId="904"/>
            <ac:spMk id="20" creationId="{C6E13F5E-625B-B8C5-3983-C0DA4BA1E8C9}"/>
          </ac:spMkLst>
        </pc:spChg>
        <pc:spChg chg="mod">
          <ac:chgData name="Sindija Kirsteine (LV)" userId="5f25501a-2215-4bb3-9d9c-8d1484ffa7c1" providerId="ADAL" clId="{DF8FB14C-655D-4BA6-ACF6-D90558E95229}" dt="2024-06-05T07:53:49.651" v="124"/>
          <ac:spMkLst>
            <pc:docMk/>
            <pc:sldMk cId="795685229" sldId="904"/>
            <ac:spMk id="21" creationId="{3A0A837A-4EA4-4519-F1FC-9C03416609E7}"/>
          </ac:spMkLst>
        </pc:spChg>
        <pc:grpChg chg="del">
          <ac:chgData name="Sindija Kirsteine (LV)" userId="5f25501a-2215-4bb3-9d9c-8d1484ffa7c1" providerId="ADAL" clId="{DF8FB14C-655D-4BA6-ACF6-D90558E95229}" dt="2024-06-05T07:53:49.302" v="123" actId="478"/>
          <ac:grpSpMkLst>
            <pc:docMk/>
            <pc:sldMk cId="795685229" sldId="904"/>
            <ac:grpSpMk id="7" creationId="{C9C1E471-A029-C750-A876-BA87FF8A3FAF}"/>
          </ac:grpSpMkLst>
        </pc:grpChg>
        <pc:grpChg chg="add mod">
          <ac:chgData name="Sindija Kirsteine (LV)" userId="5f25501a-2215-4bb3-9d9c-8d1484ffa7c1" providerId="ADAL" clId="{DF8FB14C-655D-4BA6-ACF6-D90558E95229}" dt="2024-06-05T07:53:49.651" v="124"/>
          <ac:grpSpMkLst>
            <pc:docMk/>
            <pc:sldMk cId="795685229" sldId="904"/>
            <ac:grpSpMk id="15" creationId="{1F5F69A6-EEE7-88E6-D6C5-6004ED0B7C00}"/>
          </ac:grpSpMkLst>
        </pc:grpChg>
      </pc:sldChg>
      <pc:sldChg chg="addSp delSp modSp mod">
        <pc:chgData name="Sindija Kirsteine (LV)" userId="5f25501a-2215-4bb3-9d9c-8d1484ffa7c1" providerId="ADAL" clId="{DF8FB14C-655D-4BA6-ACF6-D90558E95229}" dt="2024-06-05T07:59:14.394" v="337"/>
        <pc:sldMkLst>
          <pc:docMk/>
          <pc:sldMk cId="507333055" sldId="905"/>
        </pc:sldMkLst>
        <pc:spChg chg="mod">
          <ac:chgData name="Sindija Kirsteine (LV)" userId="5f25501a-2215-4bb3-9d9c-8d1484ffa7c1" providerId="ADAL" clId="{DF8FB14C-655D-4BA6-ACF6-D90558E95229}" dt="2024-06-05T07:59:14.394" v="337"/>
          <ac:spMkLst>
            <pc:docMk/>
            <pc:sldMk cId="507333055" sldId="905"/>
            <ac:spMk id="3" creationId="{70832196-8F04-2AE8-0728-1989AF43F84D}"/>
          </ac:spMkLst>
        </pc:spChg>
        <pc:spChg chg="mod">
          <ac:chgData name="Sindija Kirsteine (LV)" userId="5f25501a-2215-4bb3-9d9c-8d1484ffa7c1" providerId="ADAL" clId="{DF8FB14C-655D-4BA6-ACF6-D90558E95229}" dt="2024-06-05T07:53:53.325" v="127"/>
          <ac:spMkLst>
            <pc:docMk/>
            <pc:sldMk cId="507333055" sldId="905"/>
            <ac:spMk id="14" creationId="{1F0182AE-A45D-7526-D25D-29CD47996263}"/>
          </ac:spMkLst>
        </pc:spChg>
        <pc:spChg chg="mod">
          <ac:chgData name="Sindija Kirsteine (LV)" userId="5f25501a-2215-4bb3-9d9c-8d1484ffa7c1" providerId="ADAL" clId="{DF8FB14C-655D-4BA6-ACF6-D90558E95229}" dt="2024-06-05T07:53:53.325" v="127"/>
          <ac:spMkLst>
            <pc:docMk/>
            <pc:sldMk cId="507333055" sldId="905"/>
            <ac:spMk id="15" creationId="{306727E7-C731-BE3F-6C6F-876DEE238E5B}"/>
          </ac:spMkLst>
        </pc:spChg>
        <pc:spChg chg="mod">
          <ac:chgData name="Sindija Kirsteine (LV)" userId="5f25501a-2215-4bb3-9d9c-8d1484ffa7c1" providerId="ADAL" clId="{DF8FB14C-655D-4BA6-ACF6-D90558E95229}" dt="2024-06-05T07:53:53.325" v="127"/>
          <ac:spMkLst>
            <pc:docMk/>
            <pc:sldMk cId="507333055" sldId="905"/>
            <ac:spMk id="16" creationId="{F9AA3D96-9489-1ED3-A81A-F48664322B4B}"/>
          </ac:spMkLst>
        </pc:spChg>
        <pc:spChg chg="mod">
          <ac:chgData name="Sindija Kirsteine (LV)" userId="5f25501a-2215-4bb3-9d9c-8d1484ffa7c1" providerId="ADAL" clId="{DF8FB14C-655D-4BA6-ACF6-D90558E95229}" dt="2024-06-05T07:53:53.325" v="127"/>
          <ac:spMkLst>
            <pc:docMk/>
            <pc:sldMk cId="507333055" sldId="905"/>
            <ac:spMk id="17" creationId="{A7671A1E-D959-1A1F-C47E-E9417BF6AFF2}"/>
          </ac:spMkLst>
        </pc:spChg>
        <pc:spChg chg="mod">
          <ac:chgData name="Sindija Kirsteine (LV)" userId="5f25501a-2215-4bb3-9d9c-8d1484ffa7c1" providerId="ADAL" clId="{DF8FB14C-655D-4BA6-ACF6-D90558E95229}" dt="2024-06-05T07:53:53.325" v="127"/>
          <ac:spMkLst>
            <pc:docMk/>
            <pc:sldMk cId="507333055" sldId="905"/>
            <ac:spMk id="18" creationId="{89B0D675-1E72-2851-1ECC-EABE326A10EB}"/>
          </ac:spMkLst>
        </pc:spChg>
        <pc:spChg chg="mod">
          <ac:chgData name="Sindija Kirsteine (LV)" userId="5f25501a-2215-4bb3-9d9c-8d1484ffa7c1" providerId="ADAL" clId="{DF8FB14C-655D-4BA6-ACF6-D90558E95229}" dt="2024-06-05T07:53:53.325" v="127"/>
          <ac:spMkLst>
            <pc:docMk/>
            <pc:sldMk cId="507333055" sldId="905"/>
            <ac:spMk id="19" creationId="{36E9D51E-6C00-F15E-BB9C-544242E9640B}"/>
          </ac:spMkLst>
        </pc:spChg>
        <pc:grpChg chg="del">
          <ac:chgData name="Sindija Kirsteine (LV)" userId="5f25501a-2215-4bb3-9d9c-8d1484ffa7c1" providerId="ADAL" clId="{DF8FB14C-655D-4BA6-ACF6-D90558E95229}" dt="2024-06-05T07:53:52.991" v="126" actId="478"/>
          <ac:grpSpMkLst>
            <pc:docMk/>
            <pc:sldMk cId="507333055" sldId="905"/>
            <ac:grpSpMk id="5" creationId="{4622E805-89A5-4047-1C8F-D8F1098B5CCF}"/>
          </ac:grpSpMkLst>
        </pc:grpChg>
        <pc:grpChg chg="add mod">
          <ac:chgData name="Sindija Kirsteine (LV)" userId="5f25501a-2215-4bb3-9d9c-8d1484ffa7c1" providerId="ADAL" clId="{DF8FB14C-655D-4BA6-ACF6-D90558E95229}" dt="2024-06-05T07:53:53.325" v="127"/>
          <ac:grpSpMkLst>
            <pc:docMk/>
            <pc:sldMk cId="507333055" sldId="905"/>
            <ac:grpSpMk id="13" creationId="{91F7358D-A7BF-DACB-CE35-FD17B08FE4FD}"/>
          </ac:grpSpMkLst>
        </pc:grpChg>
      </pc:sldChg>
      <pc:sldChg chg="addSp delSp modSp mod">
        <pc:chgData name="Sindija Kirsteine (LV)" userId="5f25501a-2215-4bb3-9d9c-8d1484ffa7c1" providerId="ADAL" clId="{DF8FB14C-655D-4BA6-ACF6-D90558E95229}" dt="2024-06-05T07:58:59.445" v="327"/>
        <pc:sldMkLst>
          <pc:docMk/>
          <pc:sldMk cId="1164346809" sldId="906"/>
        </pc:sldMkLst>
        <pc:spChg chg="mod">
          <ac:chgData name="Sindija Kirsteine (LV)" userId="5f25501a-2215-4bb3-9d9c-8d1484ffa7c1" providerId="ADAL" clId="{DF8FB14C-655D-4BA6-ACF6-D90558E95229}" dt="2024-06-05T07:52:51.440" v="94"/>
          <ac:spMkLst>
            <pc:docMk/>
            <pc:sldMk cId="1164346809" sldId="906"/>
            <ac:spMk id="5" creationId="{0CDCA6B6-FE0E-D7AD-11B1-6ABEBE91475C}"/>
          </ac:spMkLst>
        </pc:spChg>
        <pc:spChg chg="mod">
          <ac:chgData name="Sindija Kirsteine (LV)" userId="5f25501a-2215-4bb3-9d9c-8d1484ffa7c1" providerId="ADAL" clId="{DF8FB14C-655D-4BA6-ACF6-D90558E95229}" dt="2024-06-05T07:58:59.445" v="327"/>
          <ac:spMkLst>
            <pc:docMk/>
            <pc:sldMk cId="1164346809" sldId="906"/>
            <ac:spMk id="6" creationId="{05A1F6AF-20A3-6819-9353-99581EAEE5C4}"/>
          </ac:spMkLst>
        </pc:spChg>
        <pc:spChg chg="mod">
          <ac:chgData name="Sindija Kirsteine (LV)" userId="5f25501a-2215-4bb3-9d9c-8d1484ffa7c1" providerId="ADAL" clId="{DF8FB14C-655D-4BA6-ACF6-D90558E95229}" dt="2024-06-05T07:52:51.440" v="94"/>
          <ac:spMkLst>
            <pc:docMk/>
            <pc:sldMk cId="1164346809" sldId="906"/>
            <ac:spMk id="7" creationId="{C78A4447-19D3-5ED7-A397-768CE02D3EB5}"/>
          </ac:spMkLst>
        </pc:spChg>
        <pc:spChg chg="mod">
          <ac:chgData name="Sindija Kirsteine (LV)" userId="5f25501a-2215-4bb3-9d9c-8d1484ffa7c1" providerId="ADAL" clId="{DF8FB14C-655D-4BA6-ACF6-D90558E95229}" dt="2024-06-05T07:52:51.440" v="94"/>
          <ac:spMkLst>
            <pc:docMk/>
            <pc:sldMk cId="1164346809" sldId="906"/>
            <ac:spMk id="9" creationId="{8173BA0A-C25A-C7DD-4003-34959AD30631}"/>
          </ac:spMkLst>
        </pc:spChg>
        <pc:spChg chg="mod">
          <ac:chgData name="Sindija Kirsteine (LV)" userId="5f25501a-2215-4bb3-9d9c-8d1484ffa7c1" providerId="ADAL" clId="{DF8FB14C-655D-4BA6-ACF6-D90558E95229}" dt="2024-06-05T07:52:51.440" v="94"/>
          <ac:spMkLst>
            <pc:docMk/>
            <pc:sldMk cId="1164346809" sldId="906"/>
            <ac:spMk id="10" creationId="{C35490C0-4647-8AF7-A44F-2BF295179AE2}"/>
          </ac:spMkLst>
        </pc:spChg>
        <pc:spChg chg="mod">
          <ac:chgData name="Sindija Kirsteine (LV)" userId="5f25501a-2215-4bb3-9d9c-8d1484ffa7c1" providerId="ADAL" clId="{DF8FB14C-655D-4BA6-ACF6-D90558E95229}" dt="2024-06-05T07:52:51.440" v="94"/>
          <ac:spMkLst>
            <pc:docMk/>
            <pc:sldMk cId="1164346809" sldId="906"/>
            <ac:spMk id="11" creationId="{0D44A792-D68C-D862-320E-48CECE507782}"/>
          </ac:spMkLst>
        </pc:spChg>
        <pc:spChg chg="mod">
          <ac:chgData name="Sindija Kirsteine (LV)" userId="5f25501a-2215-4bb3-9d9c-8d1484ffa7c1" providerId="ADAL" clId="{DF8FB14C-655D-4BA6-ACF6-D90558E95229}" dt="2024-06-05T07:52:51.440" v="94"/>
          <ac:spMkLst>
            <pc:docMk/>
            <pc:sldMk cId="1164346809" sldId="906"/>
            <ac:spMk id="12" creationId="{F2715966-B73F-9FE4-9C37-E2937E609871}"/>
          </ac:spMkLst>
        </pc:spChg>
        <pc:spChg chg="mod">
          <ac:chgData name="Sindija Kirsteine (LV)" userId="5f25501a-2215-4bb3-9d9c-8d1484ffa7c1" providerId="ADAL" clId="{DF8FB14C-655D-4BA6-ACF6-D90558E95229}" dt="2024-06-05T07:52:59.637" v="98"/>
          <ac:spMkLst>
            <pc:docMk/>
            <pc:sldMk cId="1164346809" sldId="906"/>
            <ac:spMk id="14" creationId="{5CBB6BD9-E3E3-50A3-DD9C-EC83398D9B71}"/>
          </ac:spMkLst>
        </pc:spChg>
        <pc:spChg chg="mod">
          <ac:chgData name="Sindija Kirsteine (LV)" userId="5f25501a-2215-4bb3-9d9c-8d1484ffa7c1" providerId="ADAL" clId="{DF8FB14C-655D-4BA6-ACF6-D90558E95229}" dt="2024-06-05T07:52:59.637" v="98"/>
          <ac:spMkLst>
            <pc:docMk/>
            <pc:sldMk cId="1164346809" sldId="906"/>
            <ac:spMk id="21" creationId="{8E4B0553-B2F3-46F1-EB72-D0D392934492}"/>
          </ac:spMkLst>
        </pc:spChg>
        <pc:spChg chg="mod">
          <ac:chgData name="Sindija Kirsteine (LV)" userId="5f25501a-2215-4bb3-9d9c-8d1484ffa7c1" providerId="ADAL" clId="{DF8FB14C-655D-4BA6-ACF6-D90558E95229}" dt="2024-06-05T07:52:59.637" v="98"/>
          <ac:spMkLst>
            <pc:docMk/>
            <pc:sldMk cId="1164346809" sldId="906"/>
            <ac:spMk id="23" creationId="{D2EC6B9C-01BB-BAC8-93C6-996742EA3B7C}"/>
          </ac:spMkLst>
        </pc:spChg>
        <pc:spChg chg="mod">
          <ac:chgData name="Sindija Kirsteine (LV)" userId="5f25501a-2215-4bb3-9d9c-8d1484ffa7c1" providerId="ADAL" clId="{DF8FB14C-655D-4BA6-ACF6-D90558E95229}" dt="2024-06-05T07:52:59.637" v="98"/>
          <ac:spMkLst>
            <pc:docMk/>
            <pc:sldMk cId="1164346809" sldId="906"/>
            <ac:spMk id="29" creationId="{D5C5D726-8AF7-E74A-E212-6B92B2D1011C}"/>
          </ac:spMkLst>
        </pc:spChg>
        <pc:spChg chg="mod">
          <ac:chgData name="Sindija Kirsteine (LV)" userId="5f25501a-2215-4bb3-9d9c-8d1484ffa7c1" providerId="ADAL" clId="{DF8FB14C-655D-4BA6-ACF6-D90558E95229}" dt="2024-06-05T07:52:59.637" v="98"/>
          <ac:spMkLst>
            <pc:docMk/>
            <pc:sldMk cId="1164346809" sldId="906"/>
            <ac:spMk id="30" creationId="{D6685C14-901E-B017-F8C5-4D5DDC4265E8}"/>
          </ac:spMkLst>
        </pc:spChg>
        <pc:spChg chg="mod">
          <ac:chgData name="Sindija Kirsteine (LV)" userId="5f25501a-2215-4bb3-9d9c-8d1484ffa7c1" providerId="ADAL" clId="{DF8FB14C-655D-4BA6-ACF6-D90558E95229}" dt="2024-06-05T07:52:59.637" v="98"/>
          <ac:spMkLst>
            <pc:docMk/>
            <pc:sldMk cId="1164346809" sldId="906"/>
            <ac:spMk id="31" creationId="{A99CBF7F-19F4-04C3-B7C3-0BBC235F391D}"/>
          </ac:spMkLst>
        </pc:spChg>
        <pc:grpChg chg="add del mod">
          <ac:chgData name="Sindija Kirsteine (LV)" userId="5f25501a-2215-4bb3-9d9c-8d1484ffa7c1" providerId="ADAL" clId="{DF8FB14C-655D-4BA6-ACF6-D90558E95229}" dt="2024-06-05T07:52:52.861" v="95"/>
          <ac:grpSpMkLst>
            <pc:docMk/>
            <pc:sldMk cId="1164346809" sldId="906"/>
            <ac:grpSpMk id="2" creationId="{B12EBA06-42F9-8ACD-4843-90F338813761}"/>
          </ac:grpSpMkLst>
        </pc:grpChg>
        <pc:grpChg chg="add mod">
          <ac:chgData name="Sindija Kirsteine (LV)" userId="5f25501a-2215-4bb3-9d9c-8d1484ffa7c1" providerId="ADAL" clId="{DF8FB14C-655D-4BA6-ACF6-D90558E95229}" dt="2024-06-05T07:52:59.637" v="98"/>
          <ac:grpSpMkLst>
            <pc:docMk/>
            <pc:sldMk cId="1164346809" sldId="906"/>
            <ac:grpSpMk id="13" creationId="{098CE12B-E1C5-3BF1-7ED8-79058F010E43}"/>
          </ac:grpSpMkLst>
        </pc:grpChg>
        <pc:grpChg chg="add del">
          <ac:chgData name="Sindija Kirsteine (LV)" userId="5f25501a-2215-4bb3-9d9c-8d1484ffa7c1" providerId="ADAL" clId="{DF8FB14C-655D-4BA6-ACF6-D90558E95229}" dt="2024-06-05T07:52:59.303" v="97" actId="478"/>
          <ac:grpSpMkLst>
            <pc:docMk/>
            <pc:sldMk cId="1164346809" sldId="906"/>
            <ac:grpSpMk id="22" creationId="{DF781B44-6703-AECB-AB7D-1E00FC248F25}"/>
          </ac:grpSpMkLst>
        </pc:grpChg>
      </pc:sldChg>
      <pc:sldChg chg="modSp mod">
        <pc:chgData name="Sindija Kirsteine (LV)" userId="5f25501a-2215-4bb3-9d9c-8d1484ffa7c1" providerId="ADAL" clId="{DF8FB14C-655D-4BA6-ACF6-D90558E95229}" dt="2024-06-05T07:59:17.954" v="339"/>
        <pc:sldMkLst>
          <pc:docMk/>
          <pc:sldMk cId="2300626159" sldId="908"/>
        </pc:sldMkLst>
        <pc:spChg chg="mod">
          <ac:chgData name="Sindija Kirsteine (LV)" userId="5f25501a-2215-4bb3-9d9c-8d1484ffa7c1" providerId="ADAL" clId="{DF8FB14C-655D-4BA6-ACF6-D90558E95229}" dt="2024-06-05T07:59:17.954" v="339"/>
          <ac:spMkLst>
            <pc:docMk/>
            <pc:sldMk cId="2300626159" sldId="908"/>
            <ac:spMk id="8" creationId="{2CA7E931-5A39-E16F-287D-26D8CB80F058}"/>
          </ac:spMkLst>
        </pc:spChg>
        <pc:spChg chg="mod">
          <ac:chgData name="Sindija Kirsteine (LV)" userId="5f25501a-2215-4bb3-9d9c-8d1484ffa7c1" providerId="ADAL" clId="{DF8FB14C-655D-4BA6-ACF6-D90558E95229}" dt="2024-06-05T07:54:24.659" v="138" actId="20577"/>
          <ac:spMkLst>
            <pc:docMk/>
            <pc:sldMk cId="2300626159" sldId="908"/>
            <ac:spMk id="19" creationId="{DE96E661-5736-8C3F-255F-9D2374B7F0FB}"/>
          </ac:spMkLst>
        </pc:spChg>
        <pc:spChg chg="mod">
          <ac:chgData name="Sindija Kirsteine (LV)" userId="5f25501a-2215-4bb3-9d9c-8d1484ffa7c1" providerId="ADAL" clId="{DF8FB14C-655D-4BA6-ACF6-D90558E95229}" dt="2024-06-05T07:54:26.827" v="140" actId="20577"/>
          <ac:spMkLst>
            <pc:docMk/>
            <pc:sldMk cId="2300626159" sldId="908"/>
            <ac:spMk id="21" creationId="{9DDA2F8A-B421-783A-8697-99B26276333A}"/>
          </ac:spMkLst>
        </pc:spChg>
        <pc:spChg chg="mod">
          <ac:chgData name="Sindija Kirsteine (LV)" userId="5f25501a-2215-4bb3-9d9c-8d1484ffa7c1" providerId="ADAL" clId="{DF8FB14C-655D-4BA6-ACF6-D90558E95229}" dt="2024-06-05T07:54:28.831" v="142" actId="20577"/>
          <ac:spMkLst>
            <pc:docMk/>
            <pc:sldMk cId="2300626159" sldId="908"/>
            <ac:spMk id="22" creationId="{8E63E40A-7AB1-B534-4B2C-02E4311BEF4F}"/>
          </ac:spMkLst>
        </pc:spChg>
        <pc:spChg chg="mod">
          <ac:chgData name="Sindija Kirsteine (LV)" userId="5f25501a-2215-4bb3-9d9c-8d1484ffa7c1" providerId="ADAL" clId="{DF8FB14C-655D-4BA6-ACF6-D90558E95229}" dt="2024-06-05T07:54:31.446" v="144" actId="20577"/>
          <ac:spMkLst>
            <pc:docMk/>
            <pc:sldMk cId="2300626159" sldId="908"/>
            <ac:spMk id="28" creationId="{D47F3DC6-4280-EA23-4A05-CF43D4483198}"/>
          </ac:spMkLst>
        </pc:spChg>
        <pc:spChg chg="mod">
          <ac:chgData name="Sindija Kirsteine (LV)" userId="5f25501a-2215-4bb3-9d9c-8d1484ffa7c1" providerId="ADAL" clId="{DF8FB14C-655D-4BA6-ACF6-D90558E95229}" dt="2024-06-05T07:54:34.637" v="146" actId="20577"/>
          <ac:spMkLst>
            <pc:docMk/>
            <pc:sldMk cId="2300626159" sldId="908"/>
            <ac:spMk id="29" creationId="{43CABCC0-76A5-0C3F-920C-D7B1C1522A25}"/>
          </ac:spMkLst>
        </pc:spChg>
      </pc:sldChg>
      <pc:sldChg chg="addSp delSp modSp mod">
        <pc:chgData name="Sindija Kirsteine (LV)" userId="5f25501a-2215-4bb3-9d9c-8d1484ffa7c1" providerId="ADAL" clId="{DF8FB14C-655D-4BA6-ACF6-D90558E95229}" dt="2024-06-05T07:59:23.235" v="341"/>
        <pc:sldMkLst>
          <pc:docMk/>
          <pc:sldMk cId="1764034675" sldId="909"/>
        </pc:sldMkLst>
        <pc:spChg chg="mod">
          <ac:chgData name="Sindija Kirsteine (LV)" userId="5f25501a-2215-4bb3-9d9c-8d1484ffa7c1" providerId="ADAL" clId="{DF8FB14C-655D-4BA6-ACF6-D90558E95229}" dt="2024-06-05T07:59:23.235" v="341"/>
          <ac:spMkLst>
            <pc:docMk/>
            <pc:sldMk cId="1764034675" sldId="909"/>
            <ac:spMk id="2" creationId="{2B9BA7A9-23FD-2573-72ED-860A236A3F30}"/>
          </ac:spMkLst>
        </pc:spChg>
        <pc:spChg chg="mod">
          <ac:chgData name="Sindija Kirsteine (LV)" userId="5f25501a-2215-4bb3-9d9c-8d1484ffa7c1" providerId="ADAL" clId="{DF8FB14C-655D-4BA6-ACF6-D90558E95229}" dt="2024-06-05T07:54:42.715" v="149"/>
          <ac:spMkLst>
            <pc:docMk/>
            <pc:sldMk cId="1764034675" sldId="909"/>
            <ac:spMk id="16" creationId="{124C852B-9A5A-2AAD-A717-90130BD385F6}"/>
          </ac:spMkLst>
        </pc:spChg>
        <pc:spChg chg="mod">
          <ac:chgData name="Sindija Kirsteine (LV)" userId="5f25501a-2215-4bb3-9d9c-8d1484ffa7c1" providerId="ADAL" clId="{DF8FB14C-655D-4BA6-ACF6-D90558E95229}" dt="2024-06-05T07:54:42.715" v="149"/>
          <ac:spMkLst>
            <pc:docMk/>
            <pc:sldMk cId="1764034675" sldId="909"/>
            <ac:spMk id="17" creationId="{D6E9C287-B333-1CA3-606F-1A0E702F1EE6}"/>
          </ac:spMkLst>
        </pc:spChg>
        <pc:spChg chg="mod">
          <ac:chgData name="Sindija Kirsteine (LV)" userId="5f25501a-2215-4bb3-9d9c-8d1484ffa7c1" providerId="ADAL" clId="{DF8FB14C-655D-4BA6-ACF6-D90558E95229}" dt="2024-06-05T07:54:42.715" v="149"/>
          <ac:spMkLst>
            <pc:docMk/>
            <pc:sldMk cId="1764034675" sldId="909"/>
            <ac:spMk id="18" creationId="{B695EBC4-140F-D0D1-87DA-B4D6A4BF844F}"/>
          </ac:spMkLst>
        </pc:spChg>
        <pc:spChg chg="mod">
          <ac:chgData name="Sindija Kirsteine (LV)" userId="5f25501a-2215-4bb3-9d9c-8d1484ffa7c1" providerId="ADAL" clId="{DF8FB14C-655D-4BA6-ACF6-D90558E95229}" dt="2024-06-05T07:54:42.715" v="149"/>
          <ac:spMkLst>
            <pc:docMk/>
            <pc:sldMk cId="1764034675" sldId="909"/>
            <ac:spMk id="21" creationId="{28514178-A26F-6E88-0FC8-4072DD19CCD9}"/>
          </ac:spMkLst>
        </pc:spChg>
        <pc:spChg chg="mod">
          <ac:chgData name="Sindija Kirsteine (LV)" userId="5f25501a-2215-4bb3-9d9c-8d1484ffa7c1" providerId="ADAL" clId="{DF8FB14C-655D-4BA6-ACF6-D90558E95229}" dt="2024-06-05T07:54:42.715" v="149"/>
          <ac:spMkLst>
            <pc:docMk/>
            <pc:sldMk cId="1764034675" sldId="909"/>
            <ac:spMk id="22" creationId="{E750D9E5-8F88-0995-AD42-E42819AE41B7}"/>
          </ac:spMkLst>
        </pc:spChg>
        <pc:spChg chg="mod">
          <ac:chgData name="Sindija Kirsteine (LV)" userId="5f25501a-2215-4bb3-9d9c-8d1484ffa7c1" providerId="ADAL" clId="{DF8FB14C-655D-4BA6-ACF6-D90558E95229}" dt="2024-06-05T07:54:42.715" v="149"/>
          <ac:spMkLst>
            <pc:docMk/>
            <pc:sldMk cId="1764034675" sldId="909"/>
            <ac:spMk id="23" creationId="{FEBA72E3-1683-334F-60B2-62510A39E136}"/>
          </ac:spMkLst>
        </pc:spChg>
        <pc:grpChg chg="del">
          <ac:chgData name="Sindija Kirsteine (LV)" userId="5f25501a-2215-4bb3-9d9c-8d1484ffa7c1" providerId="ADAL" clId="{DF8FB14C-655D-4BA6-ACF6-D90558E95229}" dt="2024-06-05T07:54:42.432" v="148" actId="478"/>
          <ac:grpSpMkLst>
            <pc:docMk/>
            <pc:sldMk cId="1764034675" sldId="909"/>
            <ac:grpSpMk id="5" creationId="{A4207745-BCF4-4C81-51AF-F6F44F1F4B4F}"/>
          </ac:grpSpMkLst>
        </pc:grpChg>
        <pc:grpChg chg="add mod">
          <ac:chgData name="Sindija Kirsteine (LV)" userId="5f25501a-2215-4bb3-9d9c-8d1484ffa7c1" providerId="ADAL" clId="{DF8FB14C-655D-4BA6-ACF6-D90558E95229}" dt="2024-06-05T07:54:42.715" v="149"/>
          <ac:grpSpMkLst>
            <pc:docMk/>
            <pc:sldMk cId="1764034675" sldId="909"/>
            <ac:grpSpMk id="15" creationId="{C1B3FE4A-2838-5F19-939C-520B2697AFCD}"/>
          </ac:grpSpMkLst>
        </pc:grpChg>
      </pc:sldChg>
      <pc:sldChg chg="addSp delSp modSp mod">
        <pc:chgData name="Sindija Kirsteine (LV)" userId="5f25501a-2215-4bb3-9d9c-8d1484ffa7c1" providerId="ADAL" clId="{DF8FB14C-655D-4BA6-ACF6-D90558E95229}" dt="2024-06-05T07:59:31.565" v="347"/>
        <pc:sldMkLst>
          <pc:docMk/>
          <pc:sldMk cId="2040534611" sldId="911"/>
        </pc:sldMkLst>
        <pc:spChg chg="mod">
          <ac:chgData name="Sindija Kirsteine (LV)" userId="5f25501a-2215-4bb3-9d9c-8d1484ffa7c1" providerId="ADAL" clId="{DF8FB14C-655D-4BA6-ACF6-D90558E95229}" dt="2024-06-05T07:59:31.565" v="347"/>
          <ac:spMkLst>
            <pc:docMk/>
            <pc:sldMk cId="2040534611" sldId="911"/>
            <ac:spMk id="2" creationId="{9E458C61-554D-06B9-D7BB-AE586E6578F7}"/>
          </ac:spMkLst>
        </pc:spChg>
        <pc:spChg chg="mod">
          <ac:chgData name="Sindija Kirsteine (LV)" userId="5f25501a-2215-4bb3-9d9c-8d1484ffa7c1" providerId="ADAL" clId="{DF8FB14C-655D-4BA6-ACF6-D90558E95229}" dt="2024-06-05T07:55:23.517" v="170"/>
          <ac:spMkLst>
            <pc:docMk/>
            <pc:sldMk cId="2040534611" sldId="911"/>
            <ac:spMk id="18" creationId="{BF8E15BF-BFE3-1DCD-1637-E8CF4E53E481}"/>
          </ac:spMkLst>
        </pc:spChg>
        <pc:spChg chg="mod">
          <ac:chgData name="Sindija Kirsteine (LV)" userId="5f25501a-2215-4bb3-9d9c-8d1484ffa7c1" providerId="ADAL" clId="{DF8FB14C-655D-4BA6-ACF6-D90558E95229}" dt="2024-06-05T07:55:23.517" v="170"/>
          <ac:spMkLst>
            <pc:docMk/>
            <pc:sldMk cId="2040534611" sldId="911"/>
            <ac:spMk id="19" creationId="{CE213D7D-03F3-528B-D63D-E4F8075AF76B}"/>
          </ac:spMkLst>
        </pc:spChg>
        <pc:spChg chg="mod">
          <ac:chgData name="Sindija Kirsteine (LV)" userId="5f25501a-2215-4bb3-9d9c-8d1484ffa7c1" providerId="ADAL" clId="{DF8FB14C-655D-4BA6-ACF6-D90558E95229}" dt="2024-06-05T07:55:23.517" v="170"/>
          <ac:spMkLst>
            <pc:docMk/>
            <pc:sldMk cId="2040534611" sldId="911"/>
            <ac:spMk id="20" creationId="{FFBF72AB-588D-E7EF-4A67-213B82EC5C5B}"/>
          </ac:spMkLst>
        </pc:spChg>
        <pc:spChg chg="mod">
          <ac:chgData name="Sindija Kirsteine (LV)" userId="5f25501a-2215-4bb3-9d9c-8d1484ffa7c1" providerId="ADAL" clId="{DF8FB14C-655D-4BA6-ACF6-D90558E95229}" dt="2024-06-05T07:55:23.517" v="170"/>
          <ac:spMkLst>
            <pc:docMk/>
            <pc:sldMk cId="2040534611" sldId="911"/>
            <ac:spMk id="21" creationId="{303B0FFD-6FC7-62A7-9781-72DDD56524D5}"/>
          </ac:spMkLst>
        </pc:spChg>
        <pc:spChg chg="mod">
          <ac:chgData name="Sindija Kirsteine (LV)" userId="5f25501a-2215-4bb3-9d9c-8d1484ffa7c1" providerId="ADAL" clId="{DF8FB14C-655D-4BA6-ACF6-D90558E95229}" dt="2024-06-05T07:55:23.517" v="170"/>
          <ac:spMkLst>
            <pc:docMk/>
            <pc:sldMk cId="2040534611" sldId="911"/>
            <ac:spMk id="24" creationId="{EE8B03B1-8B3F-2F02-3A31-462735761E16}"/>
          </ac:spMkLst>
        </pc:spChg>
        <pc:spChg chg="mod">
          <ac:chgData name="Sindija Kirsteine (LV)" userId="5f25501a-2215-4bb3-9d9c-8d1484ffa7c1" providerId="ADAL" clId="{DF8FB14C-655D-4BA6-ACF6-D90558E95229}" dt="2024-06-05T07:55:23.517" v="170"/>
          <ac:spMkLst>
            <pc:docMk/>
            <pc:sldMk cId="2040534611" sldId="911"/>
            <ac:spMk id="25" creationId="{BA6EEC3A-F03E-AB89-B824-7F3C579D957D}"/>
          </ac:spMkLst>
        </pc:spChg>
        <pc:grpChg chg="del">
          <ac:chgData name="Sindija Kirsteine (LV)" userId="5f25501a-2215-4bb3-9d9c-8d1484ffa7c1" providerId="ADAL" clId="{DF8FB14C-655D-4BA6-ACF6-D90558E95229}" dt="2024-06-05T07:55:23.102" v="169" actId="478"/>
          <ac:grpSpMkLst>
            <pc:docMk/>
            <pc:sldMk cId="2040534611" sldId="911"/>
            <ac:grpSpMk id="5" creationId="{1CBE48A8-B29B-B92B-CE38-ED8235AAE14D}"/>
          </ac:grpSpMkLst>
        </pc:grpChg>
        <pc:grpChg chg="add mod">
          <ac:chgData name="Sindija Kirsteine (LV)" userId="5f25501a-2215-4bb3-9d9c-8d1484ffa7c1" providerId="ADAL" clId="{DF8FB14C-655D-4BA6-ACF6-D90558E95229}" dt="2024-06-05T07:55:23.517" v="170"/>
          <ac:grpSpMkLst>
            <pc:docMk/>
            <pc:sldMk cId="2040534611" sldId="911"/>
            <ac:grpSpMk id="14" creationId="{0E7F843F-4114-269C-A3C1-FD85DD3E86FD}"/>
          </ac:grpSpMkLst>
        </pc:grpChg>
      </pc:sldChg>
      <pc:sldChg chg="addSp delSp modSp mod">
        <pc:chgData name="Sindija Kirsteine (LV)" userId="5f25501a-2215-4bb3-9d9c-8d1484ffa7c1" providerId="ADAL" clId="{DF8FB14C-655D-4BA6-ACF6-D90558E95229}" dt="2024-06-05T07:59:34.664" v="349"/>
        <pc:sldMkLst>
          <pc:docMk/>
          <pc:sldMk cId="3429470186" sldId="914"/>
        </pc:sldMkLst>
        <pc:spChg chg="mod">
          <ac:chgData name="Sindija Kirsteine (LV)" userId="5f25501a-2215-4bb3-9d9c-8d1484ffa7c1" providerId="ADAL" clId="{DF8FB14C-655D-4BA6-ACF6-D90558E95229}" dt="2024-06-05T07:59:34.664" v="349"/>
          <ac:spMkLst>
            <pc:docMk/>
            <pc:sldMk cId="3429470186" sldId="914"/>
            <ac:spMk id="2" creationId="{30AAC524-3205-5590-45B9-6037C0A5DBDE}"/>
          </ac:spMkLst>
        </pc:spChg>
        <pc:spChg chg="mod">
          <ac:chgData name="Sindija Kirsteine (LV)" userId="5f25501a-2215-4bb3-9d9c-8d1484ffa7c1" providerId="ADAL" clId="{DF8FB14C-655D-4BA6-ACF6-D90558E95229}" dt="2024-06-05T07:55:28.526" v="173"/>
          <ac:spMkLst>
            <pc:docMk/>
            <pc:sldMk cId="3429470186" sldId="914"/>
            <ac:spMk id="21" creationId="{7B1BB4A5-3141-1196-CFA4-50272DB76E57}"/>
          </ac:spMkLst>
        </pc:spChg>
        <pc:spChg chg="mod">
          <ac:chgData name="Sindija Kirsteine (LV)" userId="5f25501a-2215-4bb3-9d9c-8d1484ffa7c1" providerId="ADAL" clId="{DF8FB14C-655D-4BA6-ACF6-D90558E95229}" dt="2024-06-05T07:55:28.526" v="173"/>
          <ac:spMkLst>
            <pc:docMk/>
            <pc:sldMk cId="3429470186" sldId="914"/>
            <ac:spMk id="22" creationId="{78C6E0CE-4EE4-C6D2-EB4E-8112BA265A52}"/>
          </ac:spMkLst>
        </pc:spChg>
        <pc:spChg chg="mod">
          <ac:chgData name="Sindija Kirsteine (LV)" userId="5f25501a-2215-4bb3-9d9c-8d1484ffa7c1" providerId="ADAL" clId="{DF8FB14C-655D-4BA6-ACF6-D90558E95229}" dt="2024-06-05T07:55:28.526" v="173"/>
          <ac:spMkLst>
            <pc:docMk/>
            <pc:sldMk cId="3429470186" sldId="914"/>
            <ac:spMk id="23" creationId="{BC321E48-2634-0BE5-6802-6F57CBC9896D}"/>
          </ac:spMkLst>
        </pc:spChg>
        <pc:spChg chg="mod">
          <ac:chgData name="Sindija Kirsteine (LV)" userId="5f25501a-2215-4bb3-9d9c-8d1484ffa7c1" providerId="ADAL" clId="{DF8FB14C-655D-4BA6-ACF6-D90558E95229}" dt="2024-06-05T07:55:28.526" v="173"/>
          <ac:spMkLst>
            <pc:docMk/>
            <pc:sldMk cId="3429470186" sldId="914"/>
            <ac:spMk id="45" creationId="{45D39117-FF95-CEB1-22AC-A944FCC7ED53}"/>
          </ac:spMkLst>
        </pc:spChg>
        <pc:spChg chg="mod">
          <ac:chgData name="Sindija Kirsteine (LV)" userId="5f25501a-2215-4bb3-9d9c-8d1484ffa7c1" providerId="ADAL" clId="{DF8FB14C-655D-4BA6-ACF6-D90558E95229}" dt="2024-06-05T07:55:28.526" v="173"/>
          <ac:spMkLst>
            <pc:docMk/>
            <pc:sldMk cId="3429470186" sldId="914"/>
            <ac:spMk id="46" creationId="{B94635AF-4CB8-B780-FD3D-55995FF672BB}"/>
          </ac:spMkLst>
        </pc:spChg>
        <pc:spChg chg="mod">
          <ac:chgData name="Sindija Kirsteine (LV)" userId="5f25501a-2215-4bb3-9d9c-8d1484ffa7c1" providerId="ADAL" clId="{DF8FB14C-655D-4BA6-ACF6-D90558E95229}" dt="2024-06-05T07:55:28.526" v="173"/>
          <ac:spMkLst>
            <pc:docMk/>
            <pc:sldMk cId="3429470186" sldId="914"/>
            <ac:spMk id="60" creationId="{F0CBCE12-F8EB-A08E-44AB-13F9BDF70244}"/>
          </ac:spMkLst>
        </pc:spChg>
        <pc:grpChg chg="del">
          <ac:chgData name="Sindija Kirsteine (LV)" userId="5f25501a-2215-4bb3-9d9c-8d1484ffa7c1" providerId="ADAL" clId="{DF8FB14C-655D-4BA6-ACF6-D90558E95229}" dt="2024-06-05T07:55:28.256" v="172" actId="478"/>
          <ac:grpSpMkLst>
            <pc:docMk/>
            <pc:sldMk cId="3429470186" sldId="914"/>
            <ac:grpSpMk id="5" creationId="{9F4D49DA-C160-44B0-4B22-9D2075362CB6}"/>
          </ac:grpSpMkLst>
        </pc:grpChg>
        <pc:grpChg chg="add mod">
          <ac:chgData name="Sindija Kirsteine (LV)" userId="5f25501a-2215-4bb3-9d9c-8d1484ffa7c1" providerId="ADAL" clId="{DF8FB14C-655D-4BA6-ACF6-D90558E95229}" dt="2024-06-05T07:55:28.526" v="173"/>
          <ac:grpSpMkLst>
            <pc:docMk/>
            <pc:sldMk cId="3429470186" sldId="914"/>
            <ac:grpSpMk id="15" creationId="{64CAE25B-E0D4-03B3-2D95-930F60A4D771}"/>
          </ac:grpSpMkLst>
        </pc:grpChg>
      </pc:sldChg>
      <pc:sldChg chg="addSp delSp modSp mod">
        <pc:chgData name="Sindija Kirsteine (LV)" userId="5f25501a-2215-4bb3-9d9c-8d1484ffa7c1" providerId="ADAL" clId="{DF8FB14C-655D-4BA6-ACF6-D90558E95229}" dt="2024-06-05T07:59:38.104" v="351"/>
        <pc:sldMkLst>
          <pc:docMk/>
          <pc:sldMk cId="1981412866" sldId="915"/>
        </pc:sldMkLst>
        <pc:spChg chg="mod">
          <ac:chgData name="Sindija Kirsteine (LV)" userId="5f25501a-2215-4bb3-9d9c-8d1484ffa7c1" providerId="ADAL" clId="{DF8FB14C-655D-4BA6-ACF6-D90558E95229}" dt="2024-06-05T07:59:38.104" v="351"/>
          <ac:spMkLst>
            <pc:docMk/>
            <pc:sldMk cId="1981412866" sldId="915"/>
            <ac:spMk id="17" creationId="{68D4BE07-EE77-6573-3961-3389F961B1B0}"/>
          </ac:spMkLst>
        </pc:spChg>
        <pc:spChg chg="mod">
          <ac:chgData name="Sindija Kirsteine (LV)" userId="5f25501a-2215-4bb3-9d9c-8d1484ffa7c1" providerId="ADAL" clId="{DF8FB14C-655D-4BA6-ACF6-D90558E95229}" dt="2024-06-05T07:55:32.519" v="176"/>
          <ac:spMkLst>
            <pc:docMk/>
            <pc:sldMk cId="1981412866" sldId="915"/>
            <ac:spMk id="38" creationId="{A967A15F-505C-37E7-D008-23DDD9B067C4}"/>
          </ac:spMkLst>
        </pc:spChg>
        <pc:spChg chg="mod">
          <ac:chgData name="Sindija Kirsteine (LV)" userId="5f25501a-2215-4bb3-9d9c-8d1484ffa7c1" providerId="ADAL" clId="{DF8FB14C-655D-4BA6-ACF6-D90558E95229}" dt="2024-06-05T07:55:32.519" v="176"/>
          <ac:spMkLst>
            <pc:docMk/>
            <pc:sldMk cId="1981412866" sldId="915"/>
            <ac:spMk id="39" creationId="{AE8A89F2-E00B-5D5B-54DB-7D40A015464E}"/>
          </ac:spMkLst>
        </pc:spChg>
        <pc:spChg chg="mod">
          <ac:chgData name="Sindija Kirsteine (LV)" userId="5f25501a-2215-4bb3-9d9c-8d1484ffa7c1" providerId="ADAL" clId="{DF8FB14C-655D-4BA6-ACF6-D90558E95229}" dt="2024-06-05T07:55:32.519" v="176"/>
          <ac:spMkLst>
            <pc:docMk/>
            <pc:sldMk cId="1981412866" sldId="915"/>
            <ac:spMk id="43" creationId="{085D23F0-C4D6-BFDF-B5AC-252FF5FDB797}"/>
          </ac:spMkLst>
        </pc:spChg>
        <pc:spChg chg="mod">
          <ac:chgData name="Sindija Kirsteine (LV)" userId="5f25501a-2215-4bb3-9d9c-8d1484ffa7c1" providerId="ADAL" clId="{DF8FB14C-655D-4BA6-ACF6-D90558E95229}" dt="2024-06-05T07:55:32.519" v="176"/>
          <ac:spMkLst>
            <pc:docMk/>
            <pc:sldMk cId="1981412866" sldId="915"/>
            <ac:spMk id="44" creationId="{5DE331D2-E6D5-8093-4FEF-32BD7332CEAC}"/>
          </ac:spMkLst>
        </pc:spChg>
        <pc:spChg chg="mod">
          <ac:chgData name="Sindija Kirsteine (LV)" userId="5f25501a-2215-4bb3-9d9c-8d1484ffa7c1" providerId="ADAL" clId="{DF8FB14C-655D-4BA6-ACF6-D90558E95229}" dt="2024-06-05T07:55:32.519" v="176"/>
          <ac:spMkLst>
            <pc:docMk/>
            <pc:sldMk cId="1981412866" sldId="915"/>
            <ac:spMk id="52" creationId="{452ADE97-FBAD-E1D4-DDF4-6E748D28E9D3}"/>
          </ac:spMkLst>
        </pc:spChg>
        <pc:spChg chg="mod">
          <ac:chgData name="Sindija Kirsteine (LV)" userId="5f25501a-2215-4bb3-9d9c-8d1484ffa7c1" providerId="ADAL" clId="{DF8FB14C-655D-4BA6-ACF6-D90558E95229}" dt="2024-06-05T07:55:32.519" v="176"/>
          <ac:spMkLst>
            <pc:docMk/>
            <pc:sldMk cId="1981412866" sldId="915"/>
            <ac:spMk id="53" creationId="{F0591311-5355-C666-427D-900A4F166158}"/>
          </ac:spMkLst>
        </pc:spChg>
        <pc:grpChg chg="del">
          <ac:chgData name="Sindija Kirsteine (LV)" userId="5f25501a-2215-4bb3-9d9c-8d1484ffa7c1" providerId="ADAL" clId="{DF8FB14C-655D-4BA6-ACF6-D90558E95229}" dt="2024-06-05T07:55:32.311" v="175" actId="478"/>
          <ac:grpSpMkLst>
            <pc:docMk/>
            <pc:sldMk cId="1981412866" sldId="915"/>
            <ac:grpSpMk id="18" creationId="{A49FE20D-FD8B-8459-9736-4ADAB34854A3}"/>
          </ac:grpSpMkLst>
        </pc:grpChg>
        <pc:grpChg chg="add mod">
          <ac:chgData name="Sindija Kirsteine (LV)" userId="5f25501a-2215-4bb3-9d9c-8d1484ffa7c1" providerId="ADAL" clId="{DF8FB14C-655D-4BA6-ACF6-D90558E95229}" dt="2024-06-05T07:55:32.519" v="176"/>
          <ac:grpSpMkLst>
            <pc:docMk/>
            <pc:sldMk cId="1981412866" sldId="915"/>
            <ac:grpSpMk id="31" creationId="{944A3A02-F23A-8251-02DA-CB0DE2E39945}"/>
          </ac:grpSpMkLst>
        </pc:grpChg>
      </pc:sldChg>
      <pc:sldChg chg="addSp delSp modSp mod">
        <pc:chgData name="Sindija Kirsteine (LV)" userId="5f25501a-2215-4bb3-9d9c-8d1484ffa7c1" providerId="ADAL" clId="{DF8FB14C-655D-4BA6-ACF6-D90558E95229}" dt="2024-06-05T07:59:40.598" v="353"/>
        <pc:sldMkLst>
          <pc:docMk/>
          <pc:sldMk cId="64855802" sldId="916"/>
        </pc:sldMkLst>
        <pc:spChg chg="mod">
          <ac:chgData name="Sindija Kirsteine (LV)" userId="5f25501a-2215-4bb3-9d9c-8d1484ffa7c1" providerId="ADAL" clId="{DF8FB14C-655D-4BA6-ACF6-D90558E95229}" dt="2024-06-05T07:59:40.598" v="353"/>
          <ac:spMkLst>
            <pc:docMk/>
            <pc:sldMk cId="64855802" sldId="916"/>
            <ac:spMk id="20" creationId="{54EC1F61-FF16-1408-F9A0-76C3203F84CA}"/>
          </ac:spMkLst>
        </pc:spChg>
        <pc:spChg chg="mod">
          <ac:chgData name="Sindija Kirsteine (LV)" userId="5f25501a-2215-4bb3-9d9c-8d1484ffa7c1" providerId="ADAL" clId="{DF8FB14C-655D-4BA6-ACF6-D90558E95229}" dt="2024-06-05T07:55:37.044" v="179"/>
          <ac:spMkLst>
            <pc:docMk/>
            <pc:sldMk cId="64855802" sldId="916"/>
            <ac:spMk id="22" creationId="{61BF4F23-4BF7-3396-AAE2-64CFA9AF1B14}"/>
          </ac:spMkLst>
        </pc:spChg>
        <pc:spChg chg="mod">
          <ac:chgData name="Sindija Kirsteine (LV)" userId="5f25501a-2215-4bb3-9d9c-8d1484ffa7c1" providerId="ADAL" clId="{DF8FB14C-655D-4BA6-ACF6-D90558E95229}" dt="2024-06-05T07:55:37.044" v="179"/>
          <ac:spMkLst>
            <pc:docMk/>
            <pc:sldMk cId="64855802" sldId="916"/>
            <ac:spMk id="23" creationId="{2DA044E2-07EC-7D6F-9D52-F400EB5FA50F}"/>
          </ac:spMkLst>
        </pc:spChg>
        <pc:spChg chg="mod">
          <ac:chgData name="Sindija Kirsteine (LV)" userId="5f25501a-2215-4bb3-9d9c-8d1484ffa7c1" providerId="ADAL" clId="{DF8FB14C-655D-4BA6-ACF6-D90558E95229}" dt="2024-06-05T07:55:37.044" v="179"/>
          <ac:spMkLst>
            <pc:docMk/>
            <pc:sldMk cId="64855802" sldId="916"/>
            <ac:spMk id="24" creationId="{03F0B6EA-1C6B-3E0F-45BD-6F2F70666571}"/>
          </ac:spMkLst>
        </pc:spChg>
        <pc:spChg chg="mod">
          <ac:chgData name="Sindija Kirsteine (LV)" userId="5f25501a-2215-4bb3-9d9c-8d1484ffa7c1" providerId="ADAL" clId="{DF8FB14C-655D-4BA6-ACF6-D90558E95229}" dt="2024-06-05T07:55:37.044" v="179"/>
          <ac:spMkLst>
            <pc:docMk/>
            <pc:sldMk cId="64855802" sldId="916"/>
            <ac:spMk id="30" creationId="{A28C515C-5DF7-2E0E-00C7-91B893B535D1}"/>
          </ac:spMkLst>
        </pc:spChg>
        <pc:spChg chg="mod">
          <ac:chgData name="Sindija Kirsteine (LV)" userId="5f25501a-2215-4bb3-9d9c-8d1484ffa7c1" providerId="ADAL" clId="{DF8FB14C-655D-4BA6-ACF6-D90558E95229}" dt="2024-06-05T07:55:37.044" v="179"/>
          <ac:spMkLst>
            <pc:docMk/>
            <pc:sldMk cId="64855802" sldId="916"/>
            <ac:spMk id="31" creationId="{BFB90A7F-87AB-9BD2-AA8D-8C1F147C9E28}"/>
          </ac:spMkLst>
        </pc:spChg>
        <pc:spChg chg="mod">
          <ac:chgData name="Sindija Kirsteine (LV)" userId="5f25501a-2215-4bb3-9d9c-8d1484ffa7c1" providerId="ADAL" clId="{DF8FB14C-655D-4BA6-ACF6-D90558E95229}" dt="2024-06-05T07:55:37.044" v="179"/>
          <ac:spMkLst>
            <pc:docMk/>
            <pc:sldMk cId="64855802" sldId="916"/>
            <ac:spMk id="32" creationId="{7C06E624-B10D-961E-BF22-38973AA0DA67}"/>
          </ac:spMkLst>
        </pc:spChg>
        <pc:grpChg chg="add mod">
          <ac:chgData name="Sindija Kirsteine (LV)" userId="5f25501a-2215-4bb3-9d9c-8d1484ffa7c1" providerId="ADAL" clId="{DF8FB14C-655D-4BA6-ACF6-D90558E95229}" dt="2024-06-05T07:55:37.044" v="179"/>
          <ac:grpSpMkLst>
            <pc:docMk/>
            <pc:sldMk cId="64855802" sldId="916"/>
            <ac:grpSpMk id="9" creationId="{540EF730-41B6-E8D7-0D13-EB3F748BA4BA}"/>
          </ac:grpSpMkLst>
        </pc:grpChg>
        <pc:grpChg chg="del">
          <ac:chgData name="Sindija Kirsteine (LV)" userId="5f25501a-2215-4bb3-9d9c-8d1484ffa7c1" providerId="ADAL" clId="{DF8FB14C-655D-4BA6-ACF6-D90558E95229}" dt="2024-06-05T07:55:36.568" v="178" actId="478"/>
          <ac:grpSpMkLst>
            <pc:docMk/>
            <pc:sldMk cId="64855802" sldId="916"/>
            <ac:grpSpMk id="10" creationId="{5BE53770-39DA-EF55-A7D3-DDA3519DA828}"/>
          </ac:grpSpMkLst>
        </pc:grpChg>
      </pc:sldChg>
      <pc:sldChg chg="addSp delSp modSp mod">
        <pc:chgData name="Sindija Kirsteine (LV)" userId="5f25501a-2215-4bb3-9d9c-8d1484ffa7c1" providerId="ADAL" clId="{DF8FB14C-655D-4BA6-ACF6-D90558E95229}" dt="2024-06-05T07:59:48.519" v="359"/>
        <pc:sldMkLst>
          <pc:docMk/>
          <pc:sldMk cId="4273639525" sldId="917"/>
        </pc:sldMkLst>
        <pc:spChg chg="mod">
          <ac:chgData name="Sindija Kirsteine (LV)" userId="5f25501a-2215-4bb3-9d9c-8d1484ffa7c1" providerId="ADAL" clId="{DF8FB14C-655D-4BA6-ACF6-D90558E95229}" dt="2024-06-05T07:59:48.519" v="359"/>
          <ac:spMkLst>
            <pc:docMk/>
            <pc:sldMk cId="4273639525" sldId="917"/>
            <ac:spMk id="2" creationId="{D7DBFC3E-020C-9EFD-28EB-4631D3580F32}"/>
          </ac:spMkLst>
        </pc:spChg>
        <pc:spChg chg="mod">
          <ac:chgData name="Sindija Kirsteine (LV)" userId="5f25501a-2215-4bb3-9d9c-8d1484ffa7c1" providerId="ADAL" clId="{DF8FB14C-655D-4BA6-ACF6-D90558E95229}" dt="2024-06-05T07:55:45.492" v="185"/>
          <ac:spMkLst>
            <pc:docMk/>
            <pc:sldMk cId="4273639525" sldId="917"/>
            <ac:spMk id="17" creationId="{18BCCD71-17D7-53CA-6E4B-B1B2BD886E26}"/>
          </ac:spMkLst>
        </pc:spChg>
        <pc:spChg chg="mod">
          <ac:chgData name="Sindija Kirsteine (LV)" userId="5f25501a-2215-4bb3-9d9c-8d1484ffa7c1" providerId="ADAL" clId="{DF8FB14C-655D-4BA6-ACF6-D90558E95229}" dt="2024-06-05T07:55:45.492" v="185"/>
          <ac:spMkLst>
            <pc:docMk/>
            <pc:sldMk cId="4273639525" sldId="917"/>
            <ac:spMk id="18" creationId="{3D062579-4045-835E-F7F1-D66AD090002E}"/>
          </ac:spMkLst>
        </pc:spChg>
        <pc:spChg chg="mod">
          <ac:chgData name="Sindija Kirsteine (LV)" userId="5f25501a-2215-4bb3-9d9c-8d1484ffa7c1" providerId="ADAL" clId="{DF8FB14C-655D-4BA6-ACF6-D90558E95229}" dt="2024-06-05T07:55:45.492" v="185"/>
          <ac:spMkLst>
            <pc:docMk/>
            <pc:sldMk cId="4273639525" sldId="917"/>
            <ac:spMk id="19" creationId="{B9803F70-1BB6-43EF-370C-42AB87319850}"/>
          </ac:spMkLst>
        </pc:spChg>
        <pc:spChg chg="mod">
          <ac:chgData name="Sindija Kirsteine (LV)" userId="5f25501a-2215-4bb3-9d9c-8d1484ffa7c1" providerId="ADAL" clId="{DF8FB14C-655D-4BA6-ACF6-D90558E95229}" dt="2024-06-05T07:55:45.492" v="185"/>
          <ac:spMkLst>
            <pc:docMk/>
            <pc:sldMk cId="4273639525" sldId="917"/>
            <ac:spMk id="30" creationId="{9A4EA780-F963-D72E-14B8-0F2877B7F488}"/>
          </ac:spMkLst>
        </pc:spChg>
        <pc:spChg chg="mod">
          <ac:chgData name="Sindija Kirsteine (LV)" userId="5f25501a-2215-4bb3-9d9c-8d1484ffa7c1" providerId="ADAL" clId="{DF8FB14C-655D-4BA6-ACF6-D90558E95229}" dt="2024-06-05T07:55:45.492" v="185"/>
          <ac:spMkLst>
            <pc:docMk/>
            <pc:sldMk cId="4273639525" sldId="917"/>
            <ac:spMk id="31" creationId="{6BEBA8D5-24BB-0A09-A5BA-5938C943A15E}"/>
          </ac:spMkLst>
        </pc:spChg>
        <pc:spChg chg="mod">
          <ac:chgData name="Sindija Kirsteine (LV)" userId="5f25501a-2215-4bb3-9d9c-8d1484ffa7c1" providerId="ADAL" clId="{DF8FB14C-655D-4BA6-ACF6-D90558E95229}" dt="2024-06-05T07:55:45.492" v="185"/>
          <ac:spMkLst>
            <pc:docMk/>
            <pc:sldMk cId="4273639525" sldId="917"/>
            <ac:spMk id="32" creationId="{D558D00A-70FE-1698-DDC5-DF43C6633F43}"/>
          </ac:spMkLst>
        </pc:spChg>
        <pc:grpChg chg="del">
          <ac:chgData name="Sindija Kirsteine (LV)" userId="5f25501a-2215-4bb3-9d9c-8d1484ffa7c1" providerId="ADAL" clId="{DF8FB14C-655D-4BA6-ACF6-D90558E95229}" dt="2024-06-05T07:55:45.252" v="184" actId="478"/>
          <ac:grpSpMkLst>
            <pc:docMk/>
            <pc:sldMk cId="4273639525" sldId="917"/>
            <ac:grpSpMk id="5" creationId="{02753959-1A41-D792-A20B-C72D5DDDD89F}"/>
          </ac:grpSpMkLst>
        </pc:grpChg>
        <pc:grpChg chg="add mod">
          <ac:chgData name="Sindija Kirsteine (LV)" userId="5f25501a-2215-4bb3-9d9c-8d1484ffa7c1" providerId="ADAL" clId="{DF8FB14C-655D-4BA6-ACF6-D90558E95229}" dt="2024-06-05T07:55:45.492" v="185"/>
          <ac:grpSpMkLst>
            <pc:docMk/>
            <pc:sldMk cId="4273639525" sldId="917"/>
            <ac:grpSpMk id="13" creationId="{3AF1940E-1BD7-00C5-86AA-AF152D8A4BFE}"/>
          </ac:grpSpMkLst>
        </pc:grpChg>
      </pc:sldChg>
      <pc:sldChg chg="addSp delSp modSp mod">
        <pc:chgData name="Sindija Kirsteine (LV)" userId="5f25501a-2215-4bb3-9d9c-8d1484ffa7c1" providerId="ADAL" clId="{DF8FB14C-655D-4BA6-ACF6-D90558E95229}" dt="2024-06-05T07:59:43.898" v="355"/>
        <pc:sldMkLst>
          <pc:docMk/>
          <pc:sldMk cId="785221003" sldId="918"/>
        </pc:sldMkLst>
        <pc:spChg chg="mod">
          <ac:chgData name="Sindija Kirsteine (LV)" userId="5f25501a-2215-4bb3-9d9c-8d1484ffa7c1" providerId="ADAL" clId="{DF8FB14C-655D-4BA6-ACF6-D90558E95229}" dt="2024-06-05T07:59:43.898" v="355"/>
          <ac:spMkLst>
            <pc:docMk/>
            <pc:sldMk cId="785221003" sldId="918"/>
            <ac:spMk id="18" creationId="{8718CE4C-95ED-99AC-270C-360B29FB6AD4}"/>
          </ac:spMkLst>
        </pc:spChg>
        <pc:spChg chg="mod">
          <ac:chgData name="Sindija Kirsteine (LV)" userId="5f25501a-2215-4bb3-9d9c-8d1484ffa7c1" providerId="ADAL" clId="{DF8FB14C-655D-4BA6-ACF6-D90558E95229}" dt="2024-06-05T07:55:41.357" v="182"/>
          <ac:spMkLst>
            <pc:docMk/>
            <pc:sldMk cId="785221003" sldId="918"/>
            <ac:spMk id="36" creationId="{42F10A0A-7B59-68DD-5B50-9DB700FCB6FE}"/>
          </ac:spMkLst>
        </pc:spChg>
        <pc:spChg chg="mod">
          <ac:chgData name="Sindija Kirsteine (LV)" userId="5f25501a-2215-4bb3-9d9c-8d1484ffa7c1" providerId="ADAL" clId="{DF8FB14C-655D-4BA6-ACF6-D90558E95229}" dt="2024-06-05T07:55:41.357" v="182"/>
          <ac:spMkLst>
            <pc:docMk/>
            <pc:sldMk cId="785221003" sldId="918"/>
            <ac:spMk id="37" creationId="{41FA3FE3-0466-5CEF-4F7D-5A7C22A93AFD}"/>
          </ac:spMkLst>
        </pc:spChg>
        <pc:spChg chg="mod">
          <ac:chgData name="Sindija Kirsteine (LV)" userId="5f25501a-2215-4bb3-9d9c-8d1484ffa7c1" providerId="ADAL" clId="{DF8FB14C-655D-4BA6-ACF6-D90558E95229}" dt="2024-06-05T07:55:41.357" v="182"/>
          <ac:spMkLst>
            <pc:docMk/>
            <pc:sldMk cId="785221003" sldId="918"/>
            <ac:spMk id="38" creationId="{A4A6DDC8-482C-6A00-A247-FB0FFE612012}"/>
          </ac:spMkLst>
        </pc:spChg>
        <pc:spChg chg="mod">
          <ac:chgData name="Sindija Kirsteine (LV)" userId="5f25501a-2215-4bb3-9d9c-8d1484ffa7c1" providerId="ADAL" clId="{DF8FB14C-655D-4BA6-ACF6-D90558E95229}" dt="2024-06-05T07:55:41.357" v="182"/>
          <ac:spMkLst>
            <pc:docMk/>
            <pc:sldMk cId="785221003" sldId="918"/>
            <ac:spMk id="39" creationId="{CFBF7985-97DB-8C91-5E9D-2BC067C64486}"/>
          </ac:spMkLst>
        </pc:spChg>
        <pc:spChg chg="mod">
          <ac:chgData name="Sindija Kirsteine (LV)" userId="5f25501a-2215-4bb3-9d9c-8d1484ffa7c1" providerId="ADAL" clId="{DF8FB14C-655D-4BA6-ACF6-D90558E95229}" dt="2024-06-05T07:55:41.357" v="182"/>
          <ac:spMkLst>
            <pc:docMk/>
            <pc:sldMk cId="785221003" sldId="918"/>
            <ac:spMk id="54" creationId="{A8D6DF6B-56B5-21FF-E211-1DB8960C3ED2}"/>
          </ac:spMkLst>
        </pc:spChg>
        <pc:spChg chg="mod">
          <ac:chgData name="Sindija Kirsteine (LV)" userId="5f25501a-2215-4bb3-9d9c-8d1484ffa7c1" providerId="ADAL" clId="{DF8FB14C-655D-4BA6-ACF6-D90558E95229}" dt="2024-06-05T07:55:41.357" v="182"/>
          <ac:spMkLst>
            <pc:docMk/>
            <pc:sldMk cId="785221003" sldId="918"/>
            <ac:spMk id="59" creationId="{BB31CF24-FC59-16DB-B5B3-227C95C64065}"/>
          </ac:spMkLst>
        </pc:spChg>
        <pc:grpChg chg="add mod">
          <ac:chgData name="Sindija Kirsteine (LV)" userId="5f25501a-2215-4bb3-9d9c-8d1484ffa7c1" providerId="ADAL" clId="{DF8FB14C-655D-4BA6-ACF6-D90558E95229}" dt="2024-06-05T07:55:41.357" v="182"/>
          <ac:grpSpMkLst>
            <pc:docMk/>
            <pc:sldMk cId="785221003" sldId="918"/>
            <ac:grpSpMk id="9" creationId="{1B34D71C-D43B-FCFC-9A2F-61ADCF605046}"/>
          </ac:grpSpMkLst>
        </pc:grpChg>
        <pc:grpChg chg="del">
          <ac:chgData name="Sindija Kirsteine (LV)" userId="5f25501a-2215-4bb3-9d9c-8d1484ffa7c1" providerId="ADAL" clId="{DF8FB14C-655D-4BA6-ACF6-D90558E95229}" dt="2024-06-05T07:55:41.089" v="181" actId="478"/>
          <ac:grpSpMkLst>
            <pc:docMk/>
            <pc:sldMk cId="785221003" sldId="918"/>
            <ac:grpSpMk id="10" creationId="{0A9E14BE-BB67-3821-9712-D3263A75FD11}"/>
          </ac:grpSpMkLst>
        </pc:grpChg>
      </pc:sldChg>
      <pc:sldChg chg="addSp delSp modSp mod">
        <pc:chgData name="Sindija Kirsteine (LV)" userId="5f25501a-2215-4bb3-9d9c-8d1484ffa7c1" providerId="ADAL" clId="{DF8FB14C-655D-4BA6-ACF6-D90558E95229}" dt="2024-06-05T07:59:51.086" v="361"/>
        <pc:sldMkLst>
          <pc:docMk/>
          <pc:sldMk cId="2008209705" sldId="919"/>
        </pc:sldMkLst>
        <pc:spChg chg="mod">
          <ac:chgData name="Sindija Kirsteine (LV)" userId="5f25501a-2215-4bb3-9d9c-8d1484ffa7c1" providerId="ADAL" clId="{DF8FB14C-655D-4BA6-ACF6-D90558E95229}" dt="2024-06-05T07:59:51.086" v="361"/>
          <ac:spMkLst>
            <pc:docMk/>
            <pc:sldMk cId="2008209705" sldId="919"/>
            <ac:spMk id="2" creationId="{1A11DA6D-DA25-ED8D-5C57-8D2D2452FA26}"/>
          </ac:spMkLst>
        </pc:spChg>
        <pc:spChg chg="mod">
          <ac:chgData name="Sindija Kirsteine (LV)" userId="5f25501a-2215-4bb3-9d9c-8d1484ffa7c1" providerId="ADAL" clId="{DF8FB14C-655D-4BA6-ACF6-D90558E95229}" dt="2024-06-05T07:55:51.071" v="188"/>
          <ac:spMkLst>
            <pc:docMk/>
            <pc:sldMk cId="2008209705" sldId="919"/>
            <ac:spMk id="23" creationId="{D17F2348-553D-3B36-AB93-74F779BDA6EE}"/>
          </ac:spMkLst>
        </pc:spChg>
        <pc:spChg chg="mod">
          <ac:chgData name="Sindija Kirsteine (LV)" userId="5f25501a-2215-4bb3-9d9c-8d1484ffa7c1" providerId="ADAL" clId="{DF8FB14C-655D-4BA6-ACF6-D90558E95229}" dt="2024-06-05T07:55:51.071" v="188"/>
          <ac:spMkLst>
            <pc:docMk/>
            <pc:sldMk cId="2008209705" sldId="919"/>
            <ac:spMk id="24" creationId="{AF0C7620-5B15-822C-90C4-A35CB9E0917E}"/>
          </ac:spMkLst>
        </pc:spChg>
        <pc:spChg chg="mod">
          <ac:chgData name="Sindija Kirsteine (LV)" userId="5f25501a-2215-4bb3-9d9c-8d1484ffa7c1" providerId="ADAL" clId="{DF8FB14C-655D-4BA6-ACF6-D90558E95229}" dt="2024-06-05T07:55:51.071" v="188"/>
          <ac:spMkLst>
            <pc:docMk/>
            <pc:sldMk cId="2008209705" sldId="919"/>
            <ac:spMk id="25" creationId="{E48E0221-D8C1-D56A-5064-92C38BE6AA1C}"/>
          </ac:spMkLst>
        </pc:spChg>
        <pc:spChg chg="mod">
          <ac:chgData name="Sindija Kirsteine (LV)" userId="5f25501a-2215-4bb3-9d9c-8d1484ffa7c1" providerId="ADAL" clId="{DF8FB14C-655D-4BA6-ACF6-D90558E95229}" dt="2024-06-05T07:55:51.071" v="188"/>
          <ac:spMkLst>
            <pc:docMk/>
            <pc:sldMk cId="2008209705" sldId="919"/>
            <ac:spMk id="34" creationId="{324BC699-8BBF-8DF2-E263-DBCFC7798B07}"/>
          </ac:spMkLst>
        </pc:spChg>
        <pc:spChg chg="mod">
          <ac:chgData name="Sindija Kirsteine (LV)" userId="5f25501a-2215-4bb3-9d9c-8d1484ffa7c1" providerId="ADAL" clId="{DF8FB14C-655D-4BA6-ACF6-D90558E95229}" dt="2024-06-05T07:55:51.071" v="188"/>
          <ac:spMkLst>
            <pc:docMk/>
            <pc:sldMk cId="2008209705" sldId="919"/>
            <ac:spMk id="41" creationId="{6F218B91-9383-BD7E-BC80-5B4C22BAE23B}"/>
          </ac:spMkLst>
        </pc:spChg>
        <pc:spChg chg="mod">
          <ac:chgData name="Sindija Kirsteine (LV)" userId="5f25501a-2215-4bb3-9d9c-8d1484ffa7c1" providerId="ADAL" clId="{DF8FB14C-655D-4BA6-ACF6-D90558E95229}" dt="2024-06-05T07:55:51.071" v="188"/>
          <ac:spMkLst>
            <pc:docMk/>
            <pc:sldMk cId="2008209705" sldId="919"/>
            <ac:spMk id="42" creationId="{6356538A-15B5-1084-6957-DA785F8D4355}"/>
          </ac:spMkLst>
        </pc:spChg>
        <pc:grpChg chg="del">
          <ac:chgData name="Sindija Kirsteine (LV)" userId="5f25501a-2215-4bb3-9d9c-8d1484ffa7c1" providerId="ADAL" clId="{DF8FB14C-655D-4BA6-ACF6-D90558E95229}" dt="2024-06-05T07:55:50.787" v="187" actId="478"/>
          <ac:grpSpMkLst>
            <pc:docMk/>
            <pc:sldMk cId="2008209705" sldId="919"/>
            <ac:grpSpMk id="5" creationId="{C6AB7A3D-ED4C-D6A5-8418-660206F05726}"/>
          </ac:grpSpMkLst>
        </pc:grpChg>
        <pc:grpChg chg="add mod">
          <ac:chgData name="Sindija Kirsteine (LV)" userId="5f25501a-2215-4bb3-9d9c-8d1484ffa7c1" providerId="ADAL" clId="{DF8FB14C-655D-4BA6-ACF6-D90558E95229}" dt="2024-06-05T07:55:51.071" v="188"/>
          <ac:grpSpMkLst>
            <pc:docMk/>
            <pc:sldMk cId="2008209705" sldId="919"/>
            <ac:grpSpMk id="15" creationId="{8F7D8F48-1EA6-5FCA-0986-6333EDB3231E}"/>
          </ac:grpSpMkLst>
        </pc:grpChg>
      </pc:sldChg>
      <pc:sldChg chg="addSp delSp modSp mod">
        <pc:chgData name="Sindija Kirsteine (LV)" userId="5f25501a-2215-4bb3-9d9c-8d1484ffa7c1" providerId="ADAL" clId="{DF8FB14C-655D-4BA6-ACF6-D90558E95229}" dt="2024-06-05T07:59:57.409" v="365"/>
        <pc:sldMkLst>
          <pc:docMk/>
          <pc:sldMk cId="2755231185" sldId="920"/>
        </pc:sldMkLst>
        <pc:spChg chg="mod">
          <ac:chgData name="Sindija Kirsteine (LV)" userId="5f25501a-2215-4bb3-9d9c-8d1484ffa7c1" providerId="ADAL" clId="{DF8FB14C-655D-4BA6-ACF6-D90558E95229}" dt="2024-06-05T07:59:57.409" v="365"/>
          <ac:spMkLst>
            <pc:docMk/>
            <pc:sldMk cId="2755231185" sldId="920"/>
            <ac:spMk id="6" creationId="{B43CD9A4-2C97-7D6A-7A53-C7898F589C28}"/>
          </ac:spMkLst>
        </pc:spChg>
        <pc:spChg chg="mod">
          <ac:chgData name="Sindija Kirsteine (LV)" userId="5f25501a-2215-4bb3-9d9c-8d1484ffa7c1" providerId="ADAL" clId="{DF8FB14C-655D-4BA6-ACF6-D90558E95229}" dt="2024-06-05T07:55:59.813" v="194"/>
          <ac:spMkLst>
            <pc:docMk/>
            <pc:sldMk cId="2755231185" sldId="920"/>
            <ac:spMk id="23" creationId="{04AACD79-FFE2-2A73-959F-170936309D0B}"/>
          </ac:spMkLst>
        </pc:spChg>
        <pc:spChg chg="mod">
          <ac:chgData name="Sindija Kirsteine (LV)" userId="5f25501a-2215-4bb3-9d9c-8d1484ffa7c1" providerId="ADAL" clId="{DF8FB14C-655D-4BA6-ACF6-D90558E95229}" dt="2024-06-05T07:55:59.813" v="194"/>
          <ac:spMkLst>
            <pc:docMk/>
            <pc:sldMk cId="2755231185" sldId="920"/>
            <ac:spMk id="24" creationId="{EB9AC966-DF98-B2D1-62F1-2D3B4969C2FD}"/>
          </ac:spMkLst>
        </pc:spChg>
        <pc:spChg chg="mod">
          <ac:chgData name="Sindija Kirsteine (LV)" userId="5f25501a-2215-4bb3-9d9c-8d1484ffa7c1" providerId="ADAL" clId="{DF8FB14C-655D-4BA6-ACF6-D90558E95229}" dt="2024-06-05T07:55:59.813" v="194"/>
          <ac:spMkLst>
            <pc:docMk/>
            <pc:sldMk cId="2755231185" sldId="920"/>
            <ac:spMk id="25" creationId="{7264A36B-4380-867C-68B2-D7B3E1E6D017}"/>
          </ac:spMkLst>
        </pc:spChg>
        <pc:spChg chg="mod">
          <ac:chgData name="Sindija Kirsteine (LV)" userId="5f25501a-2215-4bb3-9d9c-8d1484ffa7c1" providerId="ADAL" clId="{DF8FB14C-655D-4BA6-ACF6-D90558E95229}" dt="2024-06-05T07:55:59.813" v="194"/>
          <ac:spMkLst>
            <pc:docMk/>
            <pc:sldMk cId="2755231185" sldId="920"/>
            <ac:spMk id="26" creationId="{71FF3738-E1CB-298C-AFEF-4B405098F2B2}"/>
          </ac:spMkLst>
        </pc:spChg>
        <pc:spChg chg="mod">
          <ac:chgData name="Sindija Kirsteine (LV)" userId="5f25501a-2215-4bb3-9d9c-8d1484ffa7c1" providerId="ADAL" clId="{DF8FB14C-655D-4BA6-ACF6-D90558E95229}" dt="2024-06-05T07:55:59.813" v="194"/>
          <ac:spMkLst>
            <pc:docMk/>
            <pc:sldMk cId="2755231185" sldId="920"/>
            <ac:spMk id="27" creationId="{8F8A258D-9275-95D4-758B-036F143DC905}"/>
          </ac:spMkLst>
        </pc:spChg>
        <pc:spChg chg="mod">
          <ac:chgData name="Sindija Kirsteine (LV)" userId="5f25501a-2215-4bb3-9d9c-8d1484ffa7c1" providerId="ADAL" clId="{DF8FB14C-655D-4BA6-ACF6-D90558E95229}" dt="2024-06-05T07:55:59.813" v="194"/>
          <ac:spMkLst>
            <pc:docMk/>
            <pc:sldMk cId="2755231185" sldId="920"/>
            <ac:spMk id="28" creationId="{2B08BC66-C00C-A92C-6EBD-5CEBA026389C}"/>
          </ac:spMkLst>
        </pc:spChg>
        <pc:grpChg chg="del">
          <ac:chgData name="Sindija Kirsteine (LV)" userId="5f25501a-2215-4bb3-9d9c-8d1484ffa7c1" providerId="ADAL" clId="{DF8FB14C-655D-4BA6-ACF6-D90558E95229}" dt="2024-06-05T07:55:59.561" v="193" actId="478"/>
          <ac:grpSpMkLst>
            <pc:docMk/>
            <pc:sldMk cId="2755231185" sldId="920"/>
            <ac:grpSpMk id="7" creationId="{0D90173C-1A66-88E3-6A08-37FDF4EE86D4}"/>
          </ac:grpSpMkLst>
        </pc:grpChg>
        <pc:grpChg chg="add mod">
          <ac:chgData name="Sindija Kirsteine (LV)" userId="5f25501a-2215-4bb3-9d9c-8d1484ffa7c1" providerId="ADAL" clId="{DF8FB14C-655D-4BA6-ACF6-D90558E95229}" dt="2024-06-05T07:55:59.813" v="194"/>
          <ac:grpSpMkLst>
            <pc:docMk/>
            <pc:sldMk cId="2755231185" sldId="920"/>
            <ac:grpSpMk id="15" creationId="{B7D6516D-C7D7-0365-5562-E2E5FA6EB832}"/>
          </ac:grpSpMkLst>
        </pc:grpChg>
      </pc:sldChg>
      <pc:sldChg chg="addSp delSp modSp mod">
        <pc:chgData name="Sindija Kirsteine (LV)" userId="5f25501a-2215-4bb3-9d9c-8d1484ffa7c1" providerId="ADAL" clId="{DF8FB14C-655D-4BA6-ACF6-D90558E95229}" dt="2024-06-05T07:59:54.107" v="363"/>
        <pc:sldMkLst>
          <pc:docMk/>
          <pc:sldMk cId="1632897735" sldId="921"/>
        </pc:sldMkLst>
        <pc:spChg chg="mod">
          <ac:chgData name="Sindija Kirsteine (LV)" userId="5f25501a-2215-4bb3-9d9c-8d1484ffa7c1" providerId="ADAL" clId="{DF8FB14C-655D-4BA6-ACF6-D90558E95229}" dt="2024-06-05T07:59:54.107" v="363"/>
          <ac:spMkLst>
            <pc:docMk/>
            <pc:sldMk cId="1632897735" sldId="921"/>
            <ac:spMk id="6" creationId="{4C448523-D199-838D-0012-DA39AE2F2FF6}"/>
          </ac:spMkLst>
        </pc:spChg>
        <pc:spChg chg="mod">
          <ac:chgData name="Sindija Kirsteine (LV)" userId="5f25501a-2215-4bb3-9d9c-8d1484ffa7c1" providerId="ADAL" clId="{DF8FB14C-655D-4BA6-ACF6-D90558E95229}" dt="2024-06-05T07:55:56.185" v="191"/>
          <ac:spMkLst>
            <pc:docMk/>
            <pc:sldMk cId="1632897735" sldId="921"/>
            <ac:spMk id="19" creationId="{E7853A7E-BDE3-83FE-C2D8-F1A6E1E7E2BC}"/>
          </ac:spMkLst>
        </pc:spChg>
        <pc:spChg chg="mod">
          <ac:chgData name="Sindija Kirsteine (LV)" userId="5f25501a-2215-4bb3-9d9c-8d1484ffa7c1" providerId="ADAL" clId="{DF8FB14C-655D-4BA6-ACF6-D90558E95229}" dt="2024-06-05T07:55:56.185" v="191"/>
          <ac:spMkLst>
            <pc:docMk/>
            <pc:sldMk cId="1632897735" sldId="921"/>
            <ac:spMk id="20" creationId="{34DB2373-6962-966D-2E31-FBDC74A74A26}"/>
          </ac:spMkLst>
        </pc:spChg>
        <pc:spChg chg="mod">
          <ac:chgData name="Sindija Kirsteine (LV)" userId="5f25501a-2215-4bb3-9d9c-8d1484ffa7c1" providerId="ADAL" clId="{DF8FB14C-655D-4BA6-ACF6-D90558E95229}" dt="2024-06-05T07:55:56.185" v="191"/>
          <ac:spMkLst>
            <pc:docMk/>
            <pc:sldMk cId="1632897735" sldId="921"/>
            <ac:spMk id="21" creationId="{F326C066-B176-1789-6317-1FD154AA778B}"/>
          </ac:spMkLst>
        </pc:spChg>
        <pc:spChg chg="mod">
          <ac:chgData name="Sindija Kirsteine (LV)" userId="5f25501a-2215-4bb3-9d9c-8d1484ffa7c1" providerId="ADAL" clId="{DF8FB14C-655D-4BA6-ACF6-D90558E95229}" dt="2024-06-05T07:55:56.185" v="191"/>
          <ac:spMkLst>
            <pc:docMk/>
            <pc:sldMk cId="1632897735" sldId="921"/>
            <ac:spMk id="22" creationId="{ADBA13AA-1181-730D-243C-3E9D0268D3F1}"/>
          </ac:spMkLst>
        </pc:spChg>
        <pc:spChg chg="mod">
          <ac:chgData name="Sindija Kirsteine (LV)" userId="5f25501a-2215-4bb3-9d9c-8d1484ffa7c1" providerId="ADAL" clId="{DF8FB14C-655D-4BA6-ACF6-D90558E95229}" dt="2024-06-05T07:55:56.185" v="191"/>
          <ac:spMkLst>
            <pc:docMk/>
            <pc:sldMk cId="1632897735" sldId="921"/>
            <ac:spMk id="23" creationId="{2BF695FC-594B-DC08-6D11-09E183D4C49C}"/>
          </ac:spMkLst>
        </pc:spChg>
        <pc:spChg chg="mod">
          <ac:chgData name="Sindija Kirsteine (LV)" userId="5f25501a-2215-4bb3-9d9c-8d1484ffa7c1" providerId="ADAL" clId="{DF8FB14C-655D-4BA6-ACF6-D90558E95229}" dt="2024-06-05T07:55:56.185" v="191"/>
          <ac:spMkLst>
            <pc:docMk/>
            <pc:sldMk cId="1632897735" sldId="921"/>
            <ac:spMk id="24" creationId="{529C2E11-11AF-E176-F6EA-036B6343F54A}"/>
          </ac:spMkLst>
        </pc:spChg>
        <pc:grpChg chg="del">
          <ac:chgData name="Sindija Kirsteine (LV)" userId="5f25501a-2215-4bb3-9d9c-8d1484ffa7c1" providerId="ADAL" clId="{DF8FB14C-655D-4BA6-ACF6-D90558E95229}" dt="2024-06-05T07:55:55.947" v="190" actId="478"/>
          <ac:grpSpMkLst>
            <pc:docMk/>
            <pc:sldMk cId="1632897735" sldId="921"/>
            <ac:grpSpMk id="7" creationId="{0E16886F-1660-D9CA-AF41-13EDD241F0BC}"/>
          </ac:grpSpMkLst>
        </pc:grpChg>
        <pc:grpChg chg="add mod">
          <ac:chgData name="Sindija Kirsteine (LV)" userId="5f25501a-2215-4bb3-9d9c-8d1484ffa7c1" providerId="ADAL" clId="{DF8FB14C-655D-4BA6-ACF6-D90558E95229}" dt="2024-06-05T07:55:56.185" v="191"/>
          <ac:grpSpMkLst>
            <pc:docMk/>
            <pc:sldMk cId="1632897735" sldId="921"/>
            <ac:grpSpMk id="15" creationId="{68965794-8979-B64D-006A-977C00378C26}"/>
          </ac:grpSpMkLst>
        </pc:grpChg>
      </pc:sldChg>
      <pc:sldChg chg="addSp delSp modSp mod">
        <pc:chgData name="Sindija Kirsteine (LV)" userId="5f25501a-2215-4bb3-9d9c-8d1484ffa7c1" providerId="ADAL" clId="{DF8FB14C-655D-4BA6-ACF6-D90558E95229}" dt="2024-06-05T08:00:00.099" v="367"/>
        <pc:sldMkLst>
          <pc:docMk/>
          <pc:sldMk cId="3183596888" sldId="922"/>
        </pc:sldMkLst>
        <pc:spChg chg="mod">
          <ac:chgData name="Sindija Kirsteine (LV)" userId="5f25501a-2215-4bb3-9d9c-8d1484ffa7c1" providerId="ADAL" clId="{DF8FB14C-655D-4BA6-ACF6-D90558E95229}" dt="2024-06-05T08:00:00.099" v="367"/>
          <ac:spMkLst>
            <pc:docMk/>
            <pc:sldMk cId="3183596888" sldId="922"/>
            <ac:spMk id="5" creationId="{1806521B-FB80-1F07-D596-6A488A95DE31}"/>
          </ac:spMkLst>
        </pc:spChg>
        <pc:spChg chg="mod">
          <ac:chgData name="Sindija Kirsteine (LV)" userId="5f25501a-2215-4bb3-9d9c-8d1484ffa7c1" providerId="ADAL" clId="{DF8FB14C-655D-4BA6-ACF6-D90558E95229}" dt="2024-06-05T07:56:06.702" v="197"/>
          <ac:spMkLst>
            <pc:docMk/>
            <pc:sldMk cId="3183596888" sldId="922"/>
            <ac:spMk id="14" creationId="{D62D9DA4-837D-5F20-8E6A-4B96BCD29AE9}"/>
          </ac:spMkLst>
        </pc:spChg>
        <pc:spChg chg="mod">
          <ac:chgData name="Sindija Kirsteine (LV)" userId="5f25501a-2215-4bb3-9d9c-8d1484ffa7c1" providerId="ADAL" clId="{DF8FB14C-655D-4BA6-ACF6-D90558E95229}" dt="2024-06-05T07:56:06.702" v="197"/>
          <ac:spMkLst>
            <pc:docMk/>
            <pc:sldMk cId="3183596888" sldId="922"/>
            <ac:spMk id="15" creationId="{EE16BCCB-510E-28A1-C615-D77891ED4EAD}"/>
          </ac:spMkLst>
        </pc:spChg>
        <pc:spChg chg="mod">
          <ac:chgData name="Sindija Kirsteine (LV)" userId="5f25501a-2215-4bb3-9d9c-8d1484ffa7c1" providerId="ADAL" clId="{DF8FB14C-655D-4BA6-ACF6-D90558E95229}" dt="2024-06-05T07:56:06.702" v="197"/>
          <ac:spMkLst>
            <pc:docMk/>
            <pc:sldMk cId="3183596888" sldId="922"/>
            <ac:spMk id="21" creationId="{652E9F50-7052-761E-8B22-800DB17BBB76}"/>
          </ac:spMkLst>
        </pc:spChg>
        <pc:spChg chg="mod">
          <ac:chgData name="Sindija Kirsteine (LV)" userId="5f25501a-2215-4bb3-9d9c-8d1484ffa7c1" providerId="ADAL" clId="{DF8FB14C-655D-4BA6-ACF6-D90558E95229}" dt="2024-06-05T07:56:06.702" v="197"/>
          <ac:spMkLst>
            <pc:docMk/>
            <pc:sldMk cId="3183596888" sldId="922"/>
            <ac:spMk id="22" creationId="{AB637F11-D195-13E5-BF30-4EA840F544D4}"/>
          </ac:spMkLst>
        </pc:spChg>
        <pc:spChg chg="mod">
          <ac:chgData name="Sindija Kirsteine (LV)" userId="5f25501a-2215-4bb3-9d9c-8d1484ffa7c1" providerId="ADAL" clId="{DF8FB14C-655D-4BA6-ACF6-D90558E95229}" dt="2024-06-05T07:56:06.702" v="197"/>
          <ac:spMkLst>
            <pc:docMk/>
            <pc:sldMk cId="3183596888" sldId="922"/>
            <ac:spMk id="23" creationId="{CC4D1803-A45D-3636-584E-5636AE521710}"/>
          </ac:spMkLst>
        </pc:spChg>
        <pc:spChg chg="mod">
          <ac:chgData name="Sindija Kirsteine (LV)" userId="5f25501a-2215-4bb3-9d9c-8d1484ffa7c1" providerId="ADAL" clId="{DF8FB14C-655D-4BA6-ACF6-D90558E95229}" dt="2024-06-05T07:56:06.702" v="197"/>
          <ac:spMkLst>
            <pc:docMk/>
            <pc:sldMk cId="3183596888" sldId="922"/>
            <ac:spMk id="24" creationId="{5C57F09C-4DB9-1C81-6846-56E4AD89016A}"/>
          </ac:spMkLst>
        </pc:spChg>
        <pc:grpChg chg="add mod">
          <ac:chgData name="Sindija Kirsteine (LV)" userId="5f25501a-2215-4bb3-9d9c-8d1484ffa7c1" providerId="ADAL" clId="{DF8FB14C-655D-4BA6-ACF6-D90558E95229}" dt="2024-06-05T07:56:06.702" v="197"/>
          <ac:grpSpMkLst>
            <pc:docMk/>
            <pc:sldMk cId="3183596888" sldId="922"/>
            <ac:grpSpMk id="2" creationId="{FC907EB6-2D6E-5404-FCE3-B63637740A9A}"/>
          </ac:grpSpMkLst>
        </pc:grpChg>
        <pc:grpChg chg="del">
          <ac:chgData name="Sindija Kirsteine (LV)" userId="5f25501a-2215-4bb3-9d9c-8d1484ffa7c1" providerId="ADAL" clId="{DF8FB14C-655D-4BA6-ACF6-D90558E95229}" dt="2024-06-05T07:56:06.400" v="196" actId="478"/>
          <ac:grpSpMkLst>
            <pc:docMk/>
            <pc:sldMk cId="3183596888" sldId="922"/>
            <ac:grpSpMk id="6" creationId="{27F631B7-D1E2-9A31-F9B7-579A31B91DFE}"/>
          </ac:grpSpMkLst>
        </pc:grpChg>
      </pc:sldChg>
      <pc:sldChg chg="addSp delSp modSp mod">
        <pc:chgData name="Sindija Kirsteine (LV)" userId="5f25501a-2215-4bb3-9d9c-8d1484ffa7c1" providerId="ADAL" clId="{DF8FB14C-655D-4BA6-ACF6-D90558E95229}" dt="2024-06-05T07:58:56.632" v="325"/>
        <pc:sldMkLst>
          <pc:docMk/>
          <pc:sldMk cId="2333946943" sldId="924"/>
        </pc:sldMkLst>
        <pc:spChg chg="mod">
          <ac:chgData name="Sindija Kirsteine (LV)" userId="5f25501a-2215-4bb3-9d9c-8d1484ffa7c1" providerId="ADAL" clId="{DF8FB14C-655D-4BA6-ACF6-D90558E95229}" dt="2024-06-05T07:58:56.632" v="325"/>
          <ac:spMkLst>
            <pc:docMk/>
            <pc:sldMk cId="2333946943" sldId="924"/>
            <ac:spMk id="28" creationId="{09F96A6C-BCF7-C92F-10B0-3D0AC98F2671}"/>
          </ac:spMkLst>
        </pc:spChg>
        <pc:spChg chg="mod">
          <ac:chgData name="Sindija Kirsteine (LV)" userId="5f25501a-2215-4bb3-9d9c-8d1484ffa7c1" providerId="ADAL" clId="{DF8FB14C-655D-4BA6-ACF6-D90558E95229}" dt="2024-06-05T07:52:47.277" v="91"/>
          <ac:spMkLst>
            <pc:docMk/>
            <pc:sldMk cId="2333946943" sldId="924"/>
            <ac:spMk id="30" creationId="{E6F8326B-3D4E-0B89-EE95-099A56ED6BDB}"/>
          </ac:spMkLst>
        </pc:spChg>
        <pc:spChg chg="mod">
          <ac:chgData name="Sindija Kirsteine (LV)" userId="5f25501a-2215-4bb3-9d9c-8d1484ffa7c1" providerId="ADAL" clId="{DF8FB14C-655D-4BA6-ACF6-D90558E95229}" dt="2024-06-05T07:52:47.277" v="91"/>
          <ac:spMkLst>
            <pc:docMk/>
            <pc:sldMk cId="2333946943" sldId="924"/>
            <ac:spMk id="31" creationId="{01F6CAB6-CEC4-CB22-3662-0539D622474F}"/>
          </ac:spMkLst>
        </pc:spChg>
        <pc:spChg chg="mod">
          <ac:chgData name="Sindija Kirsteine (LV)" userId="5f25501a-2215-4bb3-9d9c-8d1484ffa7c1" providerId="ADAL" clId="{DF8FB14C-655D-4BA6-ACF6-D90558E95229}" dt="2024-06-05T07:52:47.277" v="91"/>
          <ac:spMkLst>
            <pc:docMk/>
            <pc:sldMk cId="2333946943" sldId="924"/>
            <ac:spMk id="32" creationId="{28FDF051-D269-54AA-868D-A82964E3AF4A}"/>
          </ac:spMkLst>
        </pc:spChg>
        <pc:spChg chg="mod">
          <ac:chgData name="Sindija Kirsteine (LV)" userId="5f25501a-2215-4bb3-9d9c-8d1484ffa7c1" providerId="ADAL" clId="{DF8FB14C-655D-4BA6-ACF6-D90558E95229}" dt="2024-06-05T07:52:47.277" v="91"/>
          <ac:spMkLst>
            <pc:docMk/>
            <pc:sldMk cId="2333946943" sldId="924"/>
            <ac:spMk id="33" creationId="{956F20C5-72B9-E2B4-EF9B-3EAB382D895A}"/>
          </ac:spMkLst>
        </pc:spChg>
        <pc:spChg chg="mod">
          <ac:chgData name="Sindija Kirsteine (LV)" userId="5f25501a-2215-4bb3-9d9c-8d1484ffa7c1" providerId="ADAL" clId="{DF8FB14C-655D-4BA6-ACF6-D90558E95229}" dt="2024-06-05T07:52:47.277" v="91"/>
          <ac:spMkLst>
            <pc:docMk/>
            <pc:sldMk cId="2333946943" sldId="924"/>
            <ac:spMk id="34" creationId="{B7AA819F-F0A4-5DE1-396B-5AD4DEEE406B}"/>
          </ac:spMkLst>
        </pc:spChg>
        <pc:spChg chg="mod">
          <ac:chgData name="Sindija Kirsteine (LV)" userId="5f25501a-2215-4bb3-9d9c-8d1484ffa7c1" providerId="ADAL" clId="{DF8FB14C-655D-4BA6-ACF6-D90558E95229}" dt="2024-06-05T07:52:47.277" v="91"/>
          <ac:spMkLst>
            <pc:docMk/>
            <pc:sldMk cId="2333946943" sldId="924"/>
            <ac:spMk id="35" creationId="{115A1F77-6EBA-675E-F712-63F6F60ED78D}"/>
          </ac:spMkLst>
        </pc:spChg>
        <pc:grpChg chg="add mod">
          <ac:chgData name="Sindija Kirsteine (LV)" userId="5f25501a-2215-4bb3-9d9c-8d1484ffa7c1" providerId="ADAL" clId="{DF8FB14C-655D-4BA6-ACF6-D90558E95229}" dt="2024-06-05T07:52:47.277" v="91"/>
          <ac:grpSpMkLst>
            <pc:docMk/>
            <pc:sldMk cId="2333946943" sldId="924"/>
            <ac:grpSpMk id="29" creationId="{C757F6D4-BE65-DD50-7A44-5DB2724C49D6}"/>
          </ac:grpSpMkLst>
        </pc:grpChg>
        <pc:grpChg chg="del">
          <ac:chgData name="Sindija Kirsteine (LV)" userId="5f25501a-2215-4bb3-9d9c-8d1484ffa7c1" providerId="ADAL" clId="{DF8FB14C-655D-4BA6-ACF6-D90558E95229}" dt="2024-06-05T07:52:46.862" v="90" actId="478"/>
          <ac:grpSpMkLst>
            <pc:docMk/>
            <pc:sldMk cId="2333946943" sldId="924"/>
            <ac:grpSpMk id="41" creationId="{92E09775-7CA5-5BE9-AF26-CCEC6FC9FEF4}"/>
          </ac:grpSpMkLst>
        </pc:grpChg>
      </pc:sldChg>
      <pc:sldChg chg="modSp mod">
        <pc:chgData name="Sindija Kirsteine (LV)" userId="5f25501a-2215-4bb3-9d9c-8d1484ffa7c1" providerId="ADAL" clId="{DF8FB14C-655D-4BA6-ACF6-D90558E95229}" dt="2024-06-05T07:50:40.520" v="8" actId="20577"/>
        <pc:sldMkLst>
          <pc:docMk/>
          <pc:sldMk cId="4107124933" sldId="925"/>
        </pc:sldMkLst>
        <pc:spChg chg="mod">
          <ac:chgData name="Sindija Kirsteine (LV)" userId="5f25501a-2215-4bb3-9d9c-8d1484ffa7c1" providerId="ADAL" clId="{DF8FB14C-655D-4BA6-ACF6-D90558E95229}" dt="2024-06-05T07:50:40.520" v="8" actId="20577"/>
          <ac:spMkLst>
            <pc:docMk/>
            <pc:sldMk cId="4107124933" sldId="925"/>
            <ac:spMk id="2" creationId="{00000000-0000-0000-0000-000000000000}"/>
          </ac:spMkLst>
        </pc:spChg>
      </pc:sldChg>
      <pc:sldChg chg="modSp mod">
        <pc:chgData name="Sindija Kirsteine (LV)" userId="5f25501a-2215-4bb3-9d9c-8d1484ffa7c1" providerId="ADAL" clId="{DF8FB14C-655D-4BA6-ACF6-D90558E95229}" dt="2024-06-05T07:50:49.367" v="16" actId="20577"/>
        <pc:sldMkLst>
          <pc:docMk/>
          <pc:sldMk cId="76717427" sldId="926"/>
        </pc:sldMkLst>
        <pc:spChg chg="mod">
          <ac:chgData name="Sindija Kirsteine (LV)" userId="5f25501a-2215-4bb3-9d9c-8d1484ffa7c1" providerId="ADAL" clId="{DF8FB14C-655D-4BA6-ACF6-D90558E95229}" dt="2024-06-05T07:50:49.367" v="16" actId="20577"/>
          <ac:spMkLst>
            <pc:docMk/>
            <pc:sldMk cId="76717427" sldId="926"/>
            <ac:spMk id="2" creationId="{00000000-0000-0000-0000-000000000000}"/>
          </ac:spMkLst>
        </pc:spChg>
      </pc:sldChg>
      <pc:sldChg chg="modSp mod">
        <pc:chgData name="Sindija Kirsteine (LV)" userId="5f25501a-2215-4bb3-9d9c-8d1484ffa7c1" providerId="ADAL" clId="{DF8FB14C-655D-4BA6-ACF6-D90558E95229}" dt="2024-06-05T07:50:44.892" v="12" actId="20577"/>
        <pc:sldMkLst>
          <pc:docMk/>
          <pc:sldMk cId="4266541344" sldId="927"/>
        </pc:sldMkLst>
        <pc:spChg chg="mod">
          <ac:chgData name="Sindija Kirsteine (LV)" userId="5f25501a-2215-4bb3-9d9c-8d1484ffa7c1" providerId="ADAL" clId="{DF8FB14C-655D-4BA6-ACF6-D90558E95229}" dt="2024-06-05T07:50:44.892" v="12" actId="20577"/>
          <ac:spMkLst>
            <pc:docMk/>
            <pc:sldMk cId="4266541344" sldId="927"/>
            <ac:spMk id="2" creationId="{00000000-0000-0000-0000-000000000000}"/>
          </ac:spMkLst>
        </pc:spChg>
      </pc:sldChg>
      <pc:sldChg chg="modSp mod">
        <pc:chgData name="Sindija Kirsteine (LV)" userId="5f25501a-2215-4bb3-9d9c-8d1484ffa7c1" providerId="ADAL" clId="{DF8FB14C-655D-4BA6-ACF6-D90558E95229}" dt="2024-06-05T07:55:06.025" v="163" actId="20577"/>
        <pc:sldMkLst>
          <pc:docMk/>
          <pc:sldMk cId="2463822678" sldId="928"/>
        </pc:sldMkLst>
        <pc:spChg chg="mod">
          <ac:chgData name="Sindija Kirsteine (LV)" userId="5f25501a-2215-4bb3-9d9c-8d1484ffa7c1" providerId="ADAL" clId="{DF8FB14C-655D-4BA6-ACF6-D90558E95229}" dt="2024-06-05T07:55:06.025" v="163" actId="20577"/>
          <ac:spMkLst>
            <pc:docMk/>
            <pc:sldMk cId="2463822678" sldId="928"/>
            <ac:spMk id="2" creationId="{00000000-0000-0000-0000-000000000000}"/>
          </ac:spMkLst>
        </pc:spChg>
      </pc:sldChg>
      <pc:sldChg chg="addSp delSp modSp mod">
        <pc:chgData name="Sindija Kirsteine (LV)" userId="5f25501a-2215-4bb3-9d9c-8d1484ffa7c1" providerId="ADAL" clId="{DF8FB14C-655D-4BA6-ACF6-D90558E95229}" dt="2024-06-05T07:59:28.887" v="345"/>
        <pc:sldMkLst>
          <pc:docMk/>
          <pc:sldMk cId="3431578971" sldId="931"/>
        </pc:sldMkLst>
        <pc:spChg chg="mod">
          <ac:chgData name="Sindija Kirsteine (LV)" userId="5f25501a-2215-4bb3-9d9c-8d1484ffa7c1" providerId="ADAL" clId="{DF8FB14C-655D-4BA6-ACF6-D90558E95229}" dt="2024-06-05T07:59:28.887" v="345"/>
          <ac:spMkLst>
            <pc:docMk/>
            <pc:sldMk cId="3431578971" sldId="931"/>
            <ac:spMk id="8" creationId="{3E1B33AD-40C6-3992-E0C2-7519E160295A}"/>
          </ac:spMkLst>
        </pc:spChg>
        <pc:spChg chg="mod">
          <ac:chgData name="Sindija Kirsteine (LV)" userId="5f25501a-2215-4bb3-9d9c-8d1484ffa7c1" providerId="ADAL" clId="{DF8FB14C-655D-4BA6-ACF6-D90558E95229}" dt="2024-06-05T07:55:18.476" v="167"/>
          <ac:spMkLst>
            <pc:docMk/>
            <pc:sldMk cId="3431578971" sldId="931"/>
            <ac:spMk id="32" creationId="{9F3A2225-0E7F-BA60-975D-1ABE6FD6B0BC}"/>
          </ac:spMkLst>
        </pc:spChg>
        <pc:spChg chg="mod">
          <ac:chgData name="Sindija Kirsteine (LV)" userId="5f25501a-2215-4bb3-9d9c-8d1484ffa7c1" providerId="ADAL" clId="{DF8FB14C-655D-4BA6-ACF6-D90558E95229}" dt="2024-06-05T07:55:18.476" v="167"/>
          <ac:spMkLst>
            <pc:docMk/>
            <pc:sldMk cId="3431578971" sldId="931"/>
            <ac:spMk id="33" creationId="{DA0CB55B-FBB6-65D8-E66E-4BE74BE1C3B6}"/>
          </ac:spMkLst>
        </pc:spChg>
        <pc:spChg chg="mod">
          <ac:chgData name="Sindija Kirsteine (LV)" userId="5f25501a-2215-4bb3-9d9c-8d1484ffa7c1" providerId="ADAL" clId="{DF8FB14C-655D-4BA6-ACF6-D90558E95229}" dt="2024-06-05T07:55:18.476" v="167"/>
          <ac:spMkLst>
            <pc:docMk/>
            <pc:sldMk cId="3431578971" sldId="931"/>
            <ac:spMk id="34" creationId="{AAC30472-230D-6CB1-DB13-9A04D287058B}"/>
          </ac:spMkLst>
        </pc:spChg>
        <pc:spChg chg="mod">
          <ac:chgData name="Sindija Kirsteine (LV)" userId="5f25501a-2215-4bb3-9d9c-8d1484ffa7c1" providerId="ADAL" clId="{DF8FB14C-655D-4BA6-ACF6-D90558E95229}" dt="2024-06-05T07:55:18.476" v="167"/>
          <ac:spMkLst>
            <pc:docMk/>
            <pc:sldMk cId="3431578971" sldId="931"/>
            <ac:spMk id="35" creationId="{FA6775AC-41E6-90A1-7287-8DC337D54C9C}"/>
          </ac:spMkLst>
        </pc:spChg>
        <pc:spChg chg="mod">
          <ac:chgData name="Sindija Kirsteine (LV)" userId="5f25501a-2215-4bb3-9d9c-8d1484ffa7c1" providerId="ADAL" clId="{DF8FB14C-655D-4BA6-ACF6-D90558E95229}" dt="2024-06-05T07:55:18.476" v="167"/>
          <ac:spMkLst>
            <pc:docMk/>
            <pc:sldMk cId="3431578971" sldId="931"/>
            <ac:spMk id="54" creationId="{231A6CC3-1D35-0AC0-F766-8DCD389AA15C}"/>
          </ac:spMkLst>
        </pc:spChg>
        <pc:spChg chg="mod">
          <ac:chgData name="Sindija Kirsteine (LV)" userId="5f25501a-2215-4bb3-9d9c-8d1484ffa7c1" providerId="ADAL" clId="{DF8FB14C-655D-4BA6-ACF6-D90558E95229}" dt="2024-06-05T07:55:18.476" v="167"/>
          <ac:spMkLst>
            <pc:docMk/>
            <pc:sldMk cId="3431578971" sldId="931"/>
            <ac:spMk id="55" creationId="{9513FB66-655B-B37B-0E48-995781F71245}"/>
          </ac:spMkLst>
        </pc:spChg>
        <pc:grpChg chg="del">
          <ac:chgData name="Sindija Kirsteine (LV)" userId="5f25501a-2215-4bb3-9d9c-8d1484ffa7c1" providerId="ADAL" clId="{DF8FB14C-655D-4BA6-ACF6-D90558E95229}" dt="2024-06-05T07:55:18.188" v="166" actId="478"/>
          <ac:grpSpMkLst>
            <pc:docMk/>
            <pc:sldMk cId="3431578971" sldId="931"/>
            <ac:grpSpMk id="10" creationId="{829B9916-9D35-631D-748F-F9A64E3DB324}"/>
          </ac:grpSpMkLst>
        </pc:grpChg>
        <pc:grpChg chg="add mod">
          <ac:chgData name="Sindija Kirsteine (LV)" userId="5f25501a-2215-4bb3-9d9c-8d1484ffa7c1" providerId="ADAL" clId="{DF8FB14C-655D-4BA6-ACF6-D90558E95229}" dt="2024-06-05T07:55:18.476" v="167"/>
          <ac:grpSpMkLst>
            <pc:docMk/>
            <pc:sldMk cId="3431578971" sldId="931"/>
            <ac:grpSpMk id="31" creationId="{383F900E-4D4A-7C00-FF90-3ABB566ACC11}"/>
          </ac:grpSpMkLst>
        </pc:grpChg>
      </pc:sldChg>
      <pc:sldChg chg="addSp delSp modSp mod">
        <pc:chgData name="Sindija Kirsteine (LV)" userId="5f25501a-2215-4bb3-9d9c-8d1484ffa7c1" providerId="ADAL" clId="{DF8FB14C-655D-4BA6-ACF6-D90558E95229}" dt="2024-06-05T08:00:04.216" v="369"/>
        <pc:sldMkLst>
          <pc:docMk/>
          <pc:sldMk cId="2630099657" sldId="933"/>
        </pc:sldMkLst>
        <pc:spChg chg="mod">
          <ac:chgData name="Sindija Kirsteine (LV)" userId="5f25501a-2215-4bb3-9d9c-8d1484ffa7c1" providerId="ADAL" clId="{DF8FB14C-655D-4BA6-ACF6-D90558E95229}" dt="2024-06-05T08:00:04.216" v="369"/>
          <ac:spMkLst>
            <pc:docMk/>
            <pc:sldMk cId="2630099657" sldId="933"/>
            <ac:spMk id="2" creationId="{68CC9B95-24B4-F548-79EA-0FC37F46459D}"/>
          </ac:spMkLst>
        </pc:spChg>
        <pc:spChg chg="mod">
          <ac:chgData name="Sindija Kirsteine (LV)" userId="5f25501a-2215-4bb3-9d9c-8d1484ffa7c1" providerId="ADAL" clId="{DF8FB14C-655D-4BA6-ACF6-D90558E95229}" dt="2024-06-05T07:56:10.115" v="200"/>
          <ac:spMkLst>
            <pc:docMk/>
            <pc:sldMk cId="2630099657" sldId="933"/>
            <ac:spMk id="30" creationId="{0ACE784C-9643-4E34-2C76-AB0B91BBD56A}"/>
          </ac:spMkLst>
        </pc:spChg>
        <pc:spChg chg="mod">
          <ac:chgData name="Sindija Kirsteine (LV)" userId="5f25501a-2215-4bb3-9d9c-8d1484ffa7c1" providerId="ADAL" clId="{DF8FB14C-655D-4BA6-ACF6-D90558E95229}" dt="2024-06-05T07:56:10.115" v="200"/>
          <ac:spMkLst>
            <pc:docMk/>
            <pc:sldMk cId="2630099657" sldId="933"/>
            <ac:spMk id="31" creationId="{EFD13C4D-4450-F771-E774-94B59D7D0BAB}"/>
          </ac:spMkLst>
        </pc:spChg>
        <pc:spChg chg="mod">
          <ac:chgData name="Sindija Kirsteine (LV)" userId="5f25501a-2215-4bb3-9d9c-8d1484ffa7c1" providerId="ADAL" clId="{DF8FB14C-655D-4BA6-ACF6-D90558E95229}" dt="2024-06-05T07:56:10.115" v="200"/>
          <ac:spMkLst>
            <pc:docMk/>
            <pc:sldMk cId="2630099657" sldId="933"/>
            <ac:spMk id="35" creationId="{0F48C417-784C-0034-A5B2-CE742ADC1FB5}"/>
          </ac:spMkLst>
        </pc:spChg>
        <pc:spChg chg="mod">
          <ac:chgData name="Sindija Kirsteine (LV)" userId="5f25501a-2215-4bb3-9d9c-8d1484ffa7c1" providerId="ADAL" clId="{DF8FB14C-655D-4BA6-ACF6-D90558E95229}" dt="2024-06-05T07:56:10.115" v="200"/>
          <ac:spMkLst>
            <pc:docMk/>
            <pc:sldMk cId="2630099657" sldId="933"/>
            <ac:spMk id="40" creationId="{7A2A40D2-701B-C463-7D2C-EA911A2E890C}"/>
          </ac:spMkLst>
        </pc:spChg>
        <pc:spChg chg="mod">
          <ac:chgData name="Sindija Kirsteine (LV)" userId="5f25501a-2215-4bb3-9d9c-8d1484ffa7c1" providerId="ADAL" clId="{DF8FB14C-655D-4BA6-ACF6-D90558E95229}" dt="2024-06-05T07:56:10.115" v="200"/>
          <ac:spMkLst>
            <pc:docMk/>
            <pc:sldMk cId="2630099657" sldId="933"/>
            <ac:spMk id="41" creationId="{232A0F99-25A5-7805-5CDC-762BE5A433F5}"/>
          </ac:spMkLst>
        </pc:spChg>
        <pc:spChg chg="mod">
          <ac:chgData name="Sindija Kirsteine (LV)" userId="5f25501a-2215-4bb3-9d9c-8d1484ffa7c1" providerId="ADAL" clId="{DF8FB14C-655D-4BA6-ACF6-D90558E95229}" dt="2024-06-05T07:56:10.115" v="200"/>
          <ac:spMkLst>
            <pc:docMk/>
            <pc:sldMk cId="2630099657" sldId="933"/>
            <ac:spMk id="51" creationId="{60918515-4152-10AE-F7B4-27C77C1F3DE5}"/>
          </ac:spMkLst>
        </pc:spChg>
        <pc:grpChg chg="del">
          <ac:chgData name="Sindija Kirsteine (LV)" userId="5f25501a-2215-4bb3-9d9c-8d1484ffa7c1" providerId="ADAL" clId="{DF8FB14C-655D-4BA6-ACF6-D90558E95229}" dt="2024-06-05T07:56:09.860" v="199" actId="478"/>
          <ac:grpSpMkLst>
            <pc:docMk/>
            <pc:sldMk cId="2630099657" sldId="933"/>
            <ac:grpSpMk id="21" creationId="{E645861B-A73D-39F5-6B88-95506436C0F5}"/>
          </ac:grpSpMkLst>
        </pc:grpChg>
        <pc:grpChg chg="add mod">
          <ac:chgData name="Sindija Kirsteine (LV)" userId="5f25501a-2215-4bb3-9d9c-8d1484ffa7c1" providerId="ADAL" clId="{DF8FB14C-655D-4BA6-ACF6-D90558E95229}" dt="2024-06-05T07:56:10.115" v="200"/>
          <ac:grpSpMkLst>
            <pc:docMk/>
            <pc:sldMk cId="2630099657" sldId="933"/>
            <ac:grpSpMk id="23" creationId="{CB62257A-DFA7-C5AC-81EB-42FA29E186E1}"/>
          </ac:grpSpMkLst>
        </pc:grpChg>
      </pc:sldChg>
      <pc:sldChg chg="addSp delSp modSp mod">
        <pc:chgData name="Sindija Kirsteine (LV)" userId="5f25501a-2215-4bb3-9d9c-8d1484ffa7c1" providerId="ADAL" clId="{DF8FB14C-655D-4BA6-ACF6-D90558E95229}" dt="2024-06-05T08:00:06.427" v="371"/>
        <pc:sldMkLst>
          <pc:docMk/>
          <pc:sldMk cId="156182905" sldId="934"/>
        </pc:sldMkLst>
        <pc:spChg chg="mod">
          <ac:chgData name="Sindija Kirsteine (LV)" userId="5f25501a-2215-4bb3-9d9c-8d1484ffa7c1" providerId="ADAL" clId="{DF8FB14C-655D-4BA6-ACF6-D90558E95229}" dt="2024-06-05T08:00:06.427" v="371"/>
          <ac:spMkLst>
            <pc:docMk/>
            <pc:sldMk cId="156182905" sldId="934"/>
            <ac:spMk id="2" creationId="{D1D6AC03-28D5-6F25-B774-213412140BFB}"/>
          </ac:spMkLst>
        </pc:spChg>
        <pc:spChg chg="mod">
          <ac:chgData name="Sindija Kirsteine (LV)" userId="5f25501a-2215-4bb3-9d9c-8d1484ffa7c1" providerId="ADAL" clId="{DF8FB14C-655D-4BA6-ACF6-D90558E95229}" dt="2024-06-05T07:56:14.256" v="203"/>
          <ac:spMkLst>
            <pc:docMk/>
            <pc:sldMk cId="156182905" sldId="934"/>
            <ac:spMk id="33" creationId="{5C2874F9-D8C6-887C-E1EA-11F77DA653D6}"/>
          </ac:spMkLst>
        </pc:spChg>
        <pc:spChg chg="mod">
          <ac:chgData name="Sindija Kirsteine (LV)" userId="5f25501a-2215-4bb3-9d9c-8d1484ffa7c1" providerId="ADAL" clId="{DF8FB14C-655D-4BA6-ACF6-D90558E95229}" dt="2024-06-05T07:56:14.256" v="203"/>
          <ac:spMkLst>
            <pc:docMk/>
            <pc:sldMk cId="156182905" sldId="934"/>
            <ac:spMk id="34" creationId="{5223CBAF-7A63-BCAC-510F-10D5585B9BB3}"/>
          </ac:spMkLst>
        </pc:spChg>
        <pc:spChg chg="mod">
          <ac:chgData name="Sindija Kirsteine (LV)" userId="5f25501a-2215-4bb3-9d9c-8d1484ffa7c1" providerId="ADAL" clId="{DF8FB14C-655D-4BA6-ACF6-D90558E95229}" dt="2024-06-05T07:56:14.256" v="203"/>
          <ac:spMkLst>
            <pc:docMk/>
            <pc:sldMk cId="156182905" sldId="934"/>
            <ac:spMk id="35" creationId="{F08F99D6-421A-10B7-0530-A21AA7636244}"/>
          </ac:spMkLst>
        </pc:spChg>
        <pc:spChg chg="mod">
          <ac:chgData name="Sindija Kirsteine (LV)" userId="5f25501a-2215-4bb3-9d9c-8d1484ffa7c1" providerId="ADAL" clId="{DF8FB14C-655D-4BA6-ACF6-D90558E95229}" dt="2024-06-05T07:56:14.256" v="203"/>
          <ac:spMkLst>
            <pc:docMk/>
            <pc:sldMk cId="156182905" sldId="934"/>
            <ac:spMk id="40" creationId="{806B46B4-806A-3701-D59F-2019028C52E0}"/>
          </ac:spMkLst>
        </pc:spChg>
        <pc:spChg chg="mod">
          <ac:chgData name="Sindija Kirsteine (LV)" userId="5f25501a-2215-4bb3-9d9c-8d1484ffa7c1" providerId="ADAL" clId="{DF8FB14C-655D-4BA6-ACF6-D90558E95229}" dt="2024-06-05T07:56:14.256" v="203"/>
          <ac:spMkLst>
            <pc:docMk/>
            <pc:sldMk cId="156182905" sldId="934"/>
            <ac:spMk id="41" creationId="{31E79E96-A186-A7B3-914A-AB85A56D63B1}"/>
          </ac:spMkLst>
        </pc:spChg>
        <pc:spChg chg="mod">
          <ac:chgData name="Sindija Kirsteine (LV)" userId="5f25501a-2215-4bb3-9d9c-8d1484ffa7c1" providerId="ADAL" clId="{DF8FB14C-655D-4BA6-ACF6-D90558E95229}" dt="2024-06-05T07:56:14.256" v="203"/>
          <ac:spMkLst>
            <pc:docMk/>
            <pc:sldMk cId="156182905" sldId="934"/>
            <ac:spMk id="42" creationId="{818B4649-1B8B-DF2A-AE4C-A046164ECF62}"/>
          </ac:spMkLst>
        </pc:spChg>
        <pc:grpChg chg="del">
          <ac:chgData name="Sindija Kirsteine (LV)" userId="5f25501a-2215-4bb3-9d9c-8d1484ffa7c1" providerId="ADAL" clId="{DF8FB14C-655D-4BA6-ACF6-D90558E95229}" dt="2024-06-05T07:56:14.033" v="202" actId="478"/>
          <ac:grpSpMkLst>
            <pc:docMk/>
            <pc:sldMk cId="156182905" sldId="934"/>
            <ac:grpSpMk id="21" creationId="{339DCDBE-C394-66D0-0228-6B91B0EE7864}"/>
          </ac:grpSpMkLst>
        </pc:grpChg>
        <pc:grpChg chg="add mod">
          <ac:chgData name="Sindija Kirsteine (LV)" userId="5f25501a-2215-4bb3-9d9c-8d1484ffa7c1" providerId="ADAL" clId="{DF8FB14C-655D-4BA6-ACF6-D90558E95229}" dt="2024-06-05T07:56:14.256" v="203"/>
          <ac:grpSpMkLst>
            <pc:docMk/>
            <pc:sldMk cId="156182905" sldId="934"/>
            <ac:grpSpMk id="30" creationId="{2E04678C-E2CD-36D9-1DAA-A4A61AD37794}"/>
          </ac:grpSpMkLst>
        </pc:grpChg>
      </pc:sldChg>
      <pc:sldChg chg="addSp delSp modSp mod">
        <pc:chgData name="Sindija Kirsteine (LV)" userId="5f25501a-2215-4bb3-9d9c-8d1484ffa7c1" providerId="ADAL" clId="{DF8FB14C-655D-4BA6-ACF6-D90558E95229}" dt="2024-06-05T08:00:09.268" v="373"/>
        <pc:sldMkLst>
          <pc:docMk/>
          <pc:sldMk cId="2803239078" sldId="935"/>
        </pc:sldMkLst>
        <pc:spChg chg="mod">
          <ac:chgData name="Sindija Kirsteine (LV)" userId="5f25501a-2215-4bb3-9d9c-8d1484ffa7c1" providerId="ADAL" clId="{DF8FB14C-655D-4BA6-ACF6-D90558E95229}" dt="2024-06-05T08:00:09.268" v="373"/>
          <ac:spMkLst>
            <pc:docMk/>
            <pc:sldMk cId="2803239078" sldId="935"/>
            <ac:spMk id="2" creationId="{CFDF6535-C156-7ADE-BFD5-5D34028DCE11}"/>
          </ac:spMkLst>
        </pc:spChg>
        <pc:spChg chg="mod">
          <ac:chgData name="Sindija Kirsteine (LV)" userId="5f25501a-2215-4bb3-9d9c-8d1484ffa7c1" providerId="ADAL" clId="{DF8FB14C-655D-4BA6-ACF6-D90558E95229}" dt="2024-06-05T07:56:16.977" v="206"/>
          <ac:spMkLst>
            <pc:docMk/>
            <pc:sldMk cId="2803239078" sldId="935"/>
            <ac:spMk id="34" creationId="{9D77A928-D2F5-965A-FD2A-227FA38B2A07}"/>
          </ac:spMkLst>
        </pc:spChg>
        <pc:spChg chg="mod">
          <ac:chgData name="Sindija Kirsteine (LV)" userId="5f25501a-2215-4bb3-9d9c-8d1484ffa7c1" providerId="ADAL" clId="{DF8FB14C-655D-4BA6-ACF6-D90558E95229}" dt="2024-06-05T07:56:16.977" v="206"/>
          <ac:spMkLst>
            <pc:docMk/>
            <pc:sldMk cId="2803239078" sldId="935"/>
            <ac:spMk id="35" creationId="{4B64B090-1266-864E-76E9-FD4A9A5919DB}"/>
          </ac:spMkLst>
        </pc:spChg>
        <pc:spChg chg="mod">
          <ac:chgData name="Sindija Kirsteine (LV)" userId="5f25501a-2215-4bb3-9d9c-8d1484ffa7c1" providerId="ADAL" clId="{DF8FB14C-655D-4BA6-ACF6-D90558E95229}" dt="2024-06-05T07:56:16.977" v="206"/>
          <ac:spMkLst>
            <pc:docMk/>
            <pc:sldMk cId="2803239078" sldId="935"/>
            <ac:spMk id="37" creationId="{03ABC941-F115-184E-FF84-D19F0E5859F8}"/>
          </ac:spMkLst>
        </pc:spChg>
        <pc:spChg chg="mod">
          <ac:chgData name="Sindija Kirsteine (LV)" userId="5f25501a-2215-4bb3-9d9c-8d1484ffa7c1" providerId="ADAL" clId="{DF8FB14C-655D-4BA6-ACF6-D90558E95229}" dt="2024-06-05T07:56:16.977" v="206"/>
          <ac:spMkLst>
            <pc:docMk/>
            <pc:sldMk cId="2803239078" sldId="935"/>
            <ac:spMk id="39" creationId="{465C949B-20EE-4625-D64A-C83F8F2CD0A1}"/>
          </ac:spMkLst>
        </pc:spChg>
        <pc:spChg chg="mod">
          <ac:chgData name="Sindija Kirsteine (LV)" userId="5f25501a-2215-4bb3-9d9c-8d1484ffa7c1" providerId="ADAL" clId="{DF8FB14C-655D-4BA6-ACF6-D90558E95229}" dt="2024-06-05T07:56:16.977" v="206"/>
          <ac:spMkLst>
            <pc:docMk/>
            <pc:sldMk cId="2803239078" sldId="935"/>
            <ac:spMk id="40" creationId="{92F5BE1F-C615-E500-B43F-A8B038A2EB7E}"/>
          </ac:spMkLst>
        </pc:spChg>
        <pc:spChg chg="mod">
          <ac:chgData name="Sindija Kirsteine (LV)" userId="5f25501a-2215-4bb3-9d9c-8d1484ffa7c1" providerId="ADAL" clId="{DF8FB14C-655D-4BA6-ACF6-D90558E95229}" dt="2024-06-05T07:56:16.977" v="206"/>
          <ac:spMkLst>
            <pc:docMk/>
            <pc:sldMk cId="2803239078" sldId="935"/>
            <ac:spMk id="41" creationId="{627BD7FD-87D7-5EFA-E978-6B2B92D650DB}"/>
          </ac:spMkLst>
        </pc:spChg>
        <pc:grpChg chg="del">
          <ac:chgData name="Sindija Kirsteine (LV)" userId="5f25501a-2215-4bb3-9d9c-8d1484ffa7c1" providerId="ADAL" clId="{DF8FB14C-655D-4BA6-ACF6-D90558E95229}" dt="2024-06-05T07:56:16.706" v="205" actId="478"/>
          <ac:grpSpMkLst>
            <pc:docMk/>
            <pc:sldMk cId="2803239078" sldId="935"/>
            <ac:grpSpMk id="19" creationId="{43AAED9D-0E77-8125-D204-8BFB0EC176D1}"/>
          </ac:grpSpMkLst>
        </pc:grpChg>
        <pc:grpChg chg="add mod">
          <ac:chgData name="Sindija Kirsteine (LV)" userId="5f25501a-2215-4bb3-9d9c-8d1484ffa7c1" providerId="ADAL" clId="{DF8FB14C-655D-4BA6-ACF6-D90558E95229}" dt="2024-06-05T07:56:16.977" v="206"/>
          <ac:grpSpMkLst>
            <pc:docMk/>
            <pc:sldMk cId="2803239078" sldId="935"/>
            <ac:grpSpMk id="30" creationId="{E04BE93A-A62B-318B-CB18-2704A57A9BED}"/>
          </ac:grpSpMkLst>
        </pc:grpChg>
      </pc:sldChg>
      <pc:sldChg chg="addSp delSp modSp mod">
        <pc:chgData name="Sindija Kirsteine (LV)" userId="5f25501a-2215-4bb3-9d9c-8d1484ffa7c1" providerId="ADAL" clId="{DF8FB14C-655D-4BA6-ACF6-D90558E95229}" dt="2024-06-05T08:00:14.167" v="377"/>
        <pc:sldMkLst>
          <pc:docMk/>
          <pc:sldMk cId="1939332489" sldId="936"/>
        </pc:sldMkLst>
        <pc:spChg chg="mod">
          <ac:chgData name="Sindija Kirsteine (LV)" userId="5f25501a-2215-4bb3-9d9c-8d1484ffa7c1" providerId="ADAL" clId="{DF8FB14C-655D-4BA6-ACF6-D90558E95229}" dt="2024-06-05T08:00:14.167" v="377"/>
          <ac:spMkLst>
            <pc:docMk/>
            <pc:sldMk cId="1939332489" sldId="936"/>
            <ac:spMk id="22" creationId="{DA3782D5-EFBB-96B7-5592-6EB524123095}"/>
          </ac:spMkLst>
        </pc:spChg>
        <pc:spChg chg="mod">
          <ac:chgData name="Sindija Kirsteine (LV)" userId="5f25501a-2215-4bb3-9d9c-8d1484ffa7c1" providerId="ADAL" clId="{DF8FB14C-655D-4BA6-ACF6-D90558E95229}" dt="2024-06-05T07:56:24.690" v="212"/>
          <ac:spMkLst>
            <pc:docMk/>
            <pc:sldMk cId="1939332489" sldId="936"/>
            <ac:spMk id="33" creationId="{7BBEC147-4DF4-33C4-F9C1-E1E417A030A4}"/>
          </ac:spMkLst>
        </pc:spChg>
        <pc:spChg chg="mod">
          <ac:chgData name="Sindija Kirsteine (LV)" userId="5f25501a-2215-4bb3-9d9c-8d1484ffa7c1" providerId="ADAL" clId="{DF8FB14C-655D-4BA6-ACF6-D90558E95229}" dt="2024-06-05T07:56:24.690" v="212"/>
          <ac:spMkLst>
            <pc:docMk/>
            <pc:sldMk cId="1939332489" sldId="936"/>
            <ac:spMk id="34" creationId="{C78E635E-4CE3-9395-B885-E5E96A46A453}"/>
          </ac:spMkLst>
        </pc:spChg>
        <pc:spChg chg="mod">
          <ac:chgData name="Sindija Kirsteine (LV)" userId="5f25501a-2215-4bb3-9d9c-8d1484ffa7c1" providerId="ADAL" clId="{DF8FB14C-655D-4BA6-ACF6-D90558E95229}" dt="2024-06-05T07:56:24.690" v="212"/>
          <ac:spMkLst>
            <pc:docMk/>
            <pc:sldMk cId="1939332489" sldId="936"/>
            <ac:spMk id="35" creationId="{968B6462-0D67-ADF1-C732-BD99D128107A}"/>
          </ac:spMkLst>
        </pc:spChg>
        <pc:spChg chg="mod">
          <ac:chgData name="Sindija Kirsteine (LV)" userId="5f25501a-2215-4bb3-9d9c-8d1484ffa7c1" providerId="ADAL" clId="{DF8FB14C-655D-4BA6-ACF6-D90558E95229}" dt="2024-06-05T07:56:24.690" v="212"/>
          <ac:spMkLst>
            <pc:docMk/>
            <pc:sldMk cId="1939332489" sldId="936"/>
            <ac:spMk id="36" creationId="{AFA961AC-15B7-59DD-7CD4-142871A3F869}"/>
          </ac:spMkLst>
        </pc:spChg>
        <pc:spChg chg="mod">
          <ac:chgData name="Sindija Kirsteine (LV)" userId="5f25501a-2215-4bb3-9d9c-8d1484ffa7c1" providerId="ADAL" clId="{DF8FB14C-655D-4BA6-ACF6-D90558E95229}" dt="2024-06-05T07:56:24.690" v="212"/>
          <ac:spMkLst>
            <pc:docMk/>
            <pc:sldMk cId="1939332489" sldId="936"/>
            <ac:spMk id="37" creationId="{AE18859D-8D20-C532-A736-54CF56392030}"/>
          </ac:spMkLst>
        </pc:spChg>
        <pc:spChg chg="mod">
          <ac:chgData name="Sindija Kirsteine (LV)" userId="5f25501a-2215-4bb3-9d9c-8d1484ffa7c1" providerId="ADAL" clId="{DF8FB14C-655D-4BA6-ACF6-D90558E95229}" dt="2024-06-05T07:56:24.690" v="212"/>
          <ac:spMkLst>
            <pc:docMk/>
            <pc:sldMk cId="1939332489" sldId="936"/>
            <ac:spMk id="38" creationId="{3E53F455-7571-FEE3-E491-7339CC00AF4A}"/>
          </ac:spMkLst>
        </pc:spChg>
        <pc:grpChg chg="del">
          <ac:chgData name="Sindija Kirsteine (LV)" userId="5f25501a-2215-4bb3-9d9c-8d1484ffa7c1" providerId="ADAL" clId="{DF8FB14C-655D-4BA6-ACF6-D90558E95229}" dt="2024-06-05T07:56:24.500" v="211" actId="478"/>
          <ac:grpSpMkLst>
            <pc:docMk/>
            <pc:sldMk cId="1939332489" sldId="936"/>
            <ac:grpSpMk id="23" creationId="{1B02D641-624D-2306-FFFE-629A1EC17C8B}"/>
          </ac:grpSpMkLst>
        </pc:grpChg>
        <pc:grpChg chg="add mod">
          <ac:chgData name="Sindija Kirsteine (LV)" userId="5f25501a-2215-4bb3-9d9c-8d1484ffa7c1" providerId="ADAL" clId="{DF8FB14C-655D-4BA6-ACF6-D90558E95229}" dt="2024-06-05T07:56:24.690" v="212"/>
          <ac:grpSpMkLst>
            <pc:docMk/>
            <pc:sldMk cId="1939332489" sldId="936"/>
            <ac:grpSpMk id="32" creationId="{5CEEE1A4-B3FB-19B1-C038-46B9F27EEE2A}"/>
          </ac:grpSpMkLst>
        </pc:grpChg>
      </pc:sldChg>
      <pc:sldChg chg="addSp delSp modSp mod">
        <pc:chgData name="Sindija Kirsteine (LV)" userId="5f25501a-2215-4bb3-9d9c-8d1484ffa7c1" providerId="ADAL" clId="{DF8FB14C-655D-4BA6-ACF6-D90558E95229}" dt="2024-06-05T08:00:11.738" v="375"/>
        <pc:sldMkLst>
          <pc:docMk/>
          <pc:sldMk cId="1263375755" sldId="937"/>
        </pc:sldMkLst>
        <pc:spChg chg="mod">
          <ac:chgData name="Sindija Kirsteine (LV)" userId="5f25501a-2215-4bb3-9d9c-8d1484ffa7c1" providerId="ADAL" clId="{DF8FB14C-655D-4BA6-ACF6-D90558E95229}" dt="2024-06-05T08:00:11.738" v="375"/>
          <ac:spMkLst>
            <pc:docMk/>
            <pc:sldMk cId="1263375755" sldId="937"/>
            <ac:spMk id="2" creationId="{ED2943CD-16EE-91FE-30AA-1E91969505A6}"/>
          </ac:spMkLst>
        </pc:spChg>
        <pc:spChg chg="mod">
          <ac:chgData name="Sindija Kirsteine (LV)" userId="5f25501a-2215-4bb3-9d9c-8d1484ffa7c1" providerId="ADAL" clId="{DF8FB14C-655D-4BA6-ACF6-D90558E95229}" dt="2024-06-05T07:56:19.926" v="209"/>
          <ac:spMkLst>
            <pc:docMk/>
            <pc:sldMk cId="1263375755" sldId="937"/>
            <ac:spMk id="28" creationId="{A582EB2B-3A9D-10BC-C47B-27C4515FE590}"/>
          </ac:spMkLst>
        </pc:spChg>
        <pc:spChg chg="mod">
          <ac:chgData name="Sindija Kirsteine (LV)" userId="5f25501a-2215-4bb3-9d9c-8d1484ffa7c1" providerId="ADAL" clId="{DF8FB14C-655D-4BA6-ACF6-D90558E95229}" dt="2024-06-05T07:56:19.926" v="209"/>
          <ac:spMkLst>
            <pc:docMk/>
            <pc:sldMk cId="1263375755" sldId="937"/>
            <ac:spMk id="29" creationId="{7EE8127F-9B99-BFB3-312E-B358FAC3DAA8}"/>
          </ac:spMkLst>
        </pc:spChg>
        <pc:spChg chg="mod">
          <ac:chgData name="Sindija Kirsteine (LV)" userId="5f25501a-2215-4bb3-9d9c-8d1484ffa7c1" providerId="ADAL" clId="{DF8FB14C-655D-4BA6-ACF6-D90558E95229}" dt="2024-06-05T07:56:19.926" v="209"/>
          <ac:spMkLst>
            <pc:docMk/>
            <pc:sldMk cId="1263375755" sldId="937"/>
            <ac:spMk id="31" creationId="{D8045CAE-425A-DE7A-000A-ED6C47CD5D0E}"/>
          </ac:spMkLst>
        </pc:spChg>
        <pc:spChg chg="mod">
          <ac:chgData name="Sindija Kirsteine (LV)" userId="5f25501a-2215-4bb3-9d9c-8d1484ffa7c1" providerId="ADAL" clId="{DF8FB14C-655D-4BA6-ACF6-D90558E95229}" dt="2024-06-05T07:56:19.926" v="209"/>
          <ac:spMkLst>
            <pc:docMk/>
            <pc:sldMk cId="1263375755" sldId="937"/>
            <ac:spMk id="32" creationId="{D726BE2B-DEF3-01BE-7B5A-7286072FF61C}"/>
          </ac:spMkLst>
        </pc:spChg>
        <pc:spChg chg="mod">
          <ac:chgData name="Sindija Kirsteine (LV)" userId="5f25501a-2215-4bb3-9d9c-8d1484ffa7c1" providerId="ADAL" clId="{DF8FB14C-655D-4BA6-ACF6-D90558E95229}" dt="2024-06-05T07:56:19.926" v="209"/>
          <ac:spMkLst>
            <pc:docMk/>
            <pc:sldMk cId="1263375755" sldId="937"/>
            <ac:spMk id="33" creationId="{278C7383-9023-E105-A0F7-36688B28E577}"/>
          </ac:spMkLst>
        </pc:spChg>
        <pc:spChg chg="mod">
          <ac:chgData name="Sindija Kirsteine (LV)" userId="5f25501a-2215-4bb3-9d9c-8d1484ffa7c1" providerId="ADAL" clId="{DF8FB14C-655D-4BA6-ACF6-D90558E95229}" dt="2024-06-05T07:56:19.926" v="209"/>
          <ac:spMkLst>
            <pc:docMk/>
            <pc:sldMk cId="1263375755" sldId="937"/>
            <ac:spMk id="34" creationId="{5BCED1B1-0937-900F-EF67-BC0723945E82}"/>
          </ac:spMkLst>
        </pc:spChg>
        <pc:grpChg chg="del">
          <ac:chgData name="Sindija Kirsteine (LV)" userId="5f25501a-2215-4bb3-9d9c-8d1484ffa7c1" providerId="ADAL" clId="{DF8FB14C-655D-4BA6-ACF6-D90558E95229}" dt="2024-06-05T07:56:19.752" v="208" actId="478"/>
          <ac:grpSpMkLst>
            <pc:docMk/>
            <pc:sldMk cId="1263375755" sldId="937"/>
            <ac:grpSpMk id="13" creationId="{46B64CA6-3A20-6C92-0131-A301C30EF6AF}"/>
          </ac:grpSpMkLst>
        </pc:grpChg>
        <pc:grpChg chg="add mod">
          <ac:chgData name="Sindija Kirsteine (LV)" userId="5f25501a-2215-4bb3-9d9c-8d1484ffa7c1" providerId="ADAL" clId="{DF8FB14C-655D-4BA6-ACF6-D90558E95229}" dt="2024-06-05T07:56:19.926" v="209"/>
          <ac:grpSpMkLst>
            <pc:docMk/>
            <pc:sldMk cId="1263375755" sldId="937"/>
            <ac:grpSpMk id="23" creationId="{6F4A342F-833F-BCE6-2FA2-C36CFED03E35}"/>
          </ac:grpSpMkLst>
        </pc:grpChg>
      </pc:sldChg>
      <pc:sldChg chg="addSp delSp modSp mod">
        <pc:chgData name="Sindija Kirsteine (LV)" userId="5f25501a-2215-4bb3-9d9c-8d1484ffa7c1" providerId="ADAL" clId="{DF8FB14C-655D-4BA6-ACF6-D90558E95229}" dt="2024-06-05T08:00:17.152" v="379"/>
        <pc:sldMkLst>
          <pc:docMk/>
          <pc:sldMk cId="2976985460" sldId="938"/>
        </pc:sldMkLst>
        <pc:spChg chg="mod">
          <ac:chgData name="Sindija Kirsteine (LV)" userId="5f25501a-2215-4bb3-9d9c-8d1484ffa7c1" providerId="ADAL" clId="{DF8FB14C-655D-4BA6-ACF6-D90558E95229}" dt="2024-06-05T08:00:17.152" v="379"/>
          <ac:spMkLst>
            <pc:docMk/>
            <pc:sldMk cId="2976985460" sldId="938"/>
            <ac:spMk id="2" creationId="{522041E8-8E88-02C5-E03A-E769C521DA8E}"/>
          </ac:spMkLst>
        </pc:spChg>
        <pc:spChg chg="mod">
          <ac:chgData name="Sindija Kirsteine (LV)" userId="5f25501a-2215-4bb3-9d9c-8d1484ffa7c1" providerId="ADAL" clId="{DF8FB14C-655D-4BA6-ACF6-D90558E95229}" dt="2024-06-05T07:56:29.585" v="215"/>
          <ac:spMkLst>
            <pc:docMk/>
            <pc:sldMk cId="2976985460" sldId="938"/>
            <ac:spMk id="28" creationId="{A7B01F1A-0326-65F2-59DB-B4309093BE5A}"/>
          </ac:spMkLst>
        </pc:spChg>
        <pc:spChg chg="mod">
          <ac:chgData name="Sindija Kirsteine (LV)" userId="5f25501a-2215-4bb3-9d9c-8d1484ffa7c1" providerId="ADAL" clId="{DF8FB14C-655D-4BA6-ACF6-D90558E95229}" dt="2024-06-05T07:56:29.585" v="215"/>
          <ac:spMkLst>
            <pc:docMk/>
            <pc:sldMk cId="2976985460" sldId="938"/>
            <ac:spMk id="29" creationId="{296DEB4A-97C4-EE64-2881-C1351345C39F}"/>
          </ac:spMkLst>
        </pc:spChg>
        <pc:spChg chg="mod">
          <ac:chgData name="Sindija Kirsteine (LV)" userId="5f25501a-2215-4bb3-9d9c-8d1484ffa7c1" providerId="ADAL" clId="{DF8FB14C-655D-4BA6-ACF6-D90558E95229}" dt="2024-06-05T07:56:29.585" v="215"/>
          <ac:spMkLst>
            <pc:docMk/>
            <pc:sldMk cId="2976985460" sldId="938"/>
            <ac:spMk id="31" creationId="{68AE335D-1A02-CD5E-014E-5570F70C1042}"/>
          </ac:spMkLst>
        </pc:spChg>
        <pc:spChg chg="mod">
          <ac:chgData name="Sindija Kirsteine (LV)" userId="5f25501a-2215-4bb3-9d9c-8d1484ffa7c1" providerId="ADAL" clId="{DF8FB14C-655D-4BA6-ACF6-D90558E95229}" dt="2024-06-05T07:56:29.585" v="215"/>
          <ac:spMkLst>
            <pc:docMk/>
            <pc:sldMk cId="2976985460" sldId="938"/>
            <ac:spMk id="32" creationId="{54CE0D09-1CA8-F51C-D546-222203127FAB}"/>
          </ac:spMkLst>
        </pc:spChg>
        <pc:spChg chg="mod">
          <ac:chgData name="Sindija Kirsteine (LV)" userId="5f25501a-2215-4bb3-9d9c-8d1484ffa7c1" providerId="ADAL" clId="{DF8FB14C-655D-4BA6-ACF6-D90558E95229}" dt="2024-06-05T07:56:29.585" v="215"/>
          <ac:spMkLst>
            <pc:docMk/>
            <pc:sldMk cId="2976985460" sldId="938"/>
            <ac:spMk id="33" creationId="{353C3FDD-0CBC-9A91-7A7A-CAE44863E4D1}"/>
          </ac:spMkLst>
        </pc:spChg>
        <pc:spChg chg="mod">
          <ac:chgData name="Sindija Kirsteine (LV)" userId="5f25501a-2215-4bb3-9d9c-8d1484ffa7c1" providerId="ADAL" clId="{DF8FB14C-655D-4BA6-ACF6-D90558E95229}" dt="2024-06-05T07:56:29.585" v="215"/>
          <ac:spMkLst>
            <pc:docMk/>
            <pc:sldMk cId="2976985460" sldId="938"/>
            <ac:spMk id="34" creationId="{4C1300F5-CF3F-75DE-D6D0-D95F924D364A}"/>
          </ac:spMkLst>
        </pc:spChg>
        <pc:grpChg chg="del">
          <ac:chgData name="Sindija Kirsteine (LV)" userId="5f25501a-2215-4bb3-9d9c-8d1484ffa7c1" providerId="ADAL" clId="{DF8FB14C-655D-4BA6-ACF6-D90558E95229}" dt="2024-06-05T07:56:29.316" v="214" actId="478"/>
          <ac:grpSpMkLst>
            <pc:docMk/>
            <pc:sldMk cId="2976985460" sldId="938"/>
            <ac:grpSpMk id="13" creationId="{EACCD0CA-A4A4-B42D-94BB-2CF3BBB24F90}"/>
          </ac:grpSpMkLst>
        </pc:grpChg>
        <pc:grpChg chg="add mod">
          <ac:chgData name="Sindija Kirsteine (LV)" userId="5f25501a-2215-4bb3-9d9c-8d1484ffa7c1" providerId="ADAL" clId="{DF8FB14C-655D-4BA6-ACF6-D90558E95229}" dt="2024-06-05T07:56:29.585" v="215"/>
          <ac:grpSpMkLst>
            <pc:docMk/>
            <pc:sldMk cId="2976985460" sldId="938"/>
            <ac:grpSpMk id="23" creationId="{AD3C0535-B947-8E79-1764-D021F94A1A9C}"/>
          </ac:grpSpMkLst>
        </pc:grpChg>
      </pc:sldChg>
      <pc:sldChg chg="addSp delSp modSp mod">
        <pc:chgData name="Sindija Kirsteine (LV)" userId="5f25501a-2215-4bb3-9d9c-8d1484ffa7c1" providerId="ADAL" clId="{DF8FB14C-655D-4BA6-ACF6-D90558E95229}" dt="2024-06-05T08:00:19.392" v="381"/>
        <pc:sldMkLst>
          <pc:docMk/>
          <pc:sldMk cId="558100583" sldId="939"/>
        </pc:sldMkLst>
        <pc:spChg chg="mod">
          <ac:chgData name="Sindija Kirsteine (LV)" userId="5f25501a-2215-4bb3-9d9c-8d1484ffa7c1" providerId="ADAL" clId="{DF8FB14C-655D-4BA6-ACF6-D90558E95229}" dt="2024-06-05T08:00:19.392" v="381"/>
          <ac:spMkLst>
            <pc:docMk/>
            <pc:sldMk cId="558100583" sldId="939"/>
            <ac:spMk id="2" creationId="{1E225718-E008-467A-5BFC-8A08C55E0544}"/>
          </ac:spMkLst>
        </pc:spChg>
        <pc:spChg chg="mod">
          <ac:chgData name="Sindija Kirsteine (LV)" userId="5f25501a-2215-4bb3-9d9c-8d1484ffa7c1" providerId="ADAL" clId="{DF8FB14C-655D-4BA6-ACF6-D90558E95229}" dt="2024-06-05T07:56:34.001" v="218"/>
          <ac:spMkLst>
            <pc:docMk/>
            <pc:sldMk cId="558100583" sldId="939"/>
            <ac:spMk id="32" creationId="{713DA2F0-DF34-3BA0-EEE6-C18313FBF93E}"/>
          </ac:spMkLst>
        </pc:spChg>
        <pc:spChg chg="mod">
          <ac:chgData name="Sindija Kirsteine (LV)" userId="5f25501a-2215-4bb3-9d9c-8d1484ffa7c1" providerId="ADAL" clId="{DF8FB14C-655D-4BA6-ACF6-D90558E95229}" dt="2024-06-05T07:56:34.001" v="218"/>
          <ac:spMkLst>
            <pc:docMk/>
            <pc:sldMk cId="558100583" sldId="939"/>
            <ac:spMk id="40" creationId="{DEA87F17-3718-B70A-92A6-0615B778444A}"/>
          </ac:spMkLst>
        </pc:spChg>
        <pc:spChg chg="mod">
          <ac:chgData name="Sindija Kirsteine (LV)" userId="5f25501a-2215-4bb3-9d9c-8d1484ffa7c1" providerId="ADAL" clId="{DF8FB14C-655D-4BA6-ACF6-D90558E95229}" dt="2024-06-05T07:56:34.001" v="218"/>
          <ac:spMkLst>
            <pc:docMk/>
            <pc:sldMk cId="558100583" sldId="939"/>
            <ac:spMk id="44" creationId="{933EE748-5B97-DEF6-C394-71DFC5B91965}"/>
          </ac:spMkLst>
        </pc:spChg>
        <pc:spChg chg="mod">
          <ac:chgData name="Sindija Kirsteine (LV)" userId="5f25501a-2215-4bb3-9d9c-8d1484ffa7c1" providerId="ADAL" clId="{DF8FB14C-655D-4BA6-ACF6-D90558E95229}" dt="2024-06-05T07:56:34.001" v="218"/>
          <ac:spMkLst>
            <pc:docMk/>
            <pc:sldMk cId="558100583" sldId="939"/>
            <ac:spMk id="45" creationId="{A156B9C3-AB03-215D-B392-08FCED2FAA89}"/>
          </ac:spMkLst>
        </pc:spChg>
        <pc:spChg chg="mod">
          <ac:chgData name="Sindija Kirsteine (LV)" userId="5f25501a-2215-4bb3-9d9c-8d1484ffa7c1" providerId="ADAL" clId="{DF8FB14C-655D-4BA6-ACF6-D90558E95229}" dt="2024-06-05T07:56:34.001" v="218"/>
          <ac:spMkLst>
            <pc:docMk/>
            <pc:sldMk cId="558100583" sldId="939"/>
            <ac:spMk id="51" creationId="{396B2A41-A32B-3767-D397-8F137853D52C}"/>
          </ac:spMkLst>
        </pc:spChg>
        <pc:spChg chg="mod">
          <ac:chgData name="Sindija Kirsteine (LV)" userId="5f25501a-2215-4bb3-9d9c-8d1484ffa7c1" providerId="ADAL" clId="{DF8FB14C-655D-4BA6-ACF6-D90558E95229}" dt="2024-06-05T07:56:34.001" v="218"/>
          <ac:spMkLst>
            <pc:docMk/>
            <pc:sldMk cId="558100583" sldId="939"/>
            <ac:spMk id="53" creationId="{DEE7AE8F-5214-D020-3F9B-7617EAE6D1C7}"/>
          </ac:spMkLst>
        </pc:spChg>
        <pc:grpChg chg="del">
          <ac:chgData name="Sindija Kirsteine (LV)" userId="5f25501a-2215-4bb3-9d9c-8d1484ffa7c1" providerId="ADAL" clId="{DF8FB14C-655D-4BA6-ACF6-D90558E95229}" dt="2024-06-05T07:56:33.680" v="217" actId="478"/>
          <ac:grpSpMkLst>
            <pc:docMk/>
            <pc:sldMk cId="558100583" sldId="939"/>
            <ac:grpSpMk id="21" creationId="{EC58A2CF-A26E-B828-6C32-A58A4D256527}"/>
          </ac:grpSpMkLst>
        </pc:grpChg>
        <pc:grpChg chg="add mod">
          <ac:chgData name="Sindija Kirsteine (LV)" userId="5f25501a-2215-4bb3-9d9c-8d1484ffa7c1" providerId="ADAL" clId="{DF8FB14C-655D-4BA6-ACF6-D90558E95229}" dt="2024-06-05T07:56:34.001" v="218"/>
          <ac:grpSpMkLst>
            <pc:docMk/>
            <pc:sldMk cId="558100583" sldId="939"/>
            <ac:grpSpMk id="30" creationId="{7BBA1A08-09E5-8D6D-9A4D-BA719D524B8A}"/>
          </ac:grpSpMkLst>
        </pc:grpChg>
      </pc:sldChg>
      <pc:sldChg chg="addSp delSp modSp mod">
        <pc:chgData name="Sindija Kirsteine (LV)" userId="5f25501a-2215-4bb3-9d9c-8d1484ffa7c1" providerId="ADAL" clId="{DF8FB14C-655D-4BA6-ACF6-D90558E95229}" dt="2024-06-05T08:00:22.021" v="383"/>
        <pc:sldMkLst>
          <pc:docMk/>
          <pc:sldMk cId="2169785454" sldId="940"/>
        </pc:sldMkLst>
        <pc:spChg chg="mod">
          <ac:chgData name="Sindija Kirsteine (LV)" userId="5f25501a-2215-4bb3-9d9c-8d1484ffa7c1" providerId="ADAL" clId="{DF8FB14C-655D-4BA6-ACF6-D90558E95229}" dt="2024-06-05T08:00:22.021" v="383"/>
          <ac:spMkLst>
            <pc:docMk/>
            <pc:sldMk cId="2169785454" sldId="940"/>
            <ac:spMk id="2" creationId="{26CBEC25-69EE-FABD-D9B3-821EC29127F9}"/>
          </ac:spMkLst>
        </pc:spChg>
        <pc:spChg chg="mod">
          <ac:chgData name="Sindija Kirsteine (LV)" userId="5f25501a-2215-4bb3-9d9c-8d1484ffa7c1" providerId="ADAL" clId="{DF8FB14C-655D-4BA6-ACF6-D90558E95229}" dt="2024-06-05T07:56:37.219" v="221"/>
          <ac:spMkLst>
            <pc:docMk/>
            <pc:sldMk cId="2169785454" sldId="940"/>
            <ac:spMk id="22" creationId="{9BC09C63-04F8-C961-AB24-C7A1746ECCF8}"/>
          </ac:spMkLst>
        </pc:spChg>
        <pc:spChg chg="mod">
          <ac:chgData name="Sindija Kirsteine (LV)" userId="5f25501a-2215-4bb3-9d9c-8d1484ffa7c1" providerId="ADAL" clId="{DF8FB14C-655D-4BA6-ACF6-D90558E95229}" dt="2024-06-05T07:56:37.219" v="221"/>
          <ac:spMkLst>
            <pc:docMk/>
            <pc:sldMk cId="2169785454" sldId="940"/>
            <ac:spMk id="23" creationId="{8CD13DE2-B636-72D7-41F4-2FD6D8DC8B5D}"/>
          </ac:spMkLst>
        </pc:spChg>
        <pc:spChg chg="mod">
          <ac:chgData name="Sindija Kirsteine (LV)" userId="5f25501a-2215-4bb3-9d9c-8d1484ffa7c1" providerId="ADAL" clId="{DF8FB14C-655D-4BA6-ACF6-D90558E95229}" dt="2024-06-05T07:56:37.219" v="221"/>
          <ac:spMkLst>
            <pc:docMk/>
            <pc:sldMk cId="2169785454" sldId="940"/>
            <ac:spMk id="24" creationId="{FA38FC6C-86BB-5EC3-478A-9C8DC916F5B6}"/>
          </ac:spMkLst>
        </pc:spChg>
        <pc:spChg chg="mod">
          <ac:chgData name="Sindija Kirsteine (LV)" userId="5f25501a-2215-4bb3-9d9c-8d1484ffa7c1" providerId="ADAL" clId="{DF8FB14C-655D-4BA6-ACF6-D90558E95229}" dt="2024-06-05T07:56:37.219" v="221"/>
          <ac:spMkLst>
            <pc:docMk/>
            <pc:sldMk cId="2169785454" sldId="940"/>
            <ac:spMk id="29" creationId="{4147C813-DC08-2FA6-4D39-0006A51AB31F}"/>
          </ac:spMkLst>
        </pc:spChg>
        <pc:spChg chg="mod">
          <ac:chgData name="Sindija Kirsteine (LV)" userId="5f25501a-2215-4bb3-9d9c-8d1484ffa7c1" providerId="ADAL" clId="{DF8FB14C-655D-4BA6-ACF6-D90558E95229}" dt="2024-06-05T07:56:37.219" v="221"/>
          <ac:spMkLst>
            <pc:docMk/>
            <pc:sldMk cId="2169785454" sldId="940"/>
            <ac:spMk id="31" creationId="{F32F51E3-94CC-50FB-7AA1-4823CB2F89F8}"/>
          </ac:spMkLst>
        </pc:spChg>
        <pc:spChg chg="mod">
          <ac:chgData name="Sindija Kirsteine (LV)" userId="5f25501a-2215-4bb3-9d9c-8d1484ffa7c1" providerId="ADAL" clId="{DF8FB14C-655D-4BA6-ACF6-D90558E95229}" dt="2024-06-05T07:56:37.219" v="221"/>
          <ac:spMkLst>
            <pc:docMk/>
            <pc:sldMk cId="2169785454" sldId="940"/>
            <ac:spMk id="32" creationId="{78F609E0-569B-B1C3-7EDE-B5EB7AA5694E}"/>
          </ac:spMkLst>
        </pc:spChg>
        <pc:grpChg chg="del">
          <ac:chgData name="Sindija Kirsteine (LV)" userId="5f25501a-2215-4bb3-9d9c-8d1484ffa7c1" providerId="ADAL" clId="{DF8FB14C-655D-4BA6-ACF6-D90558E95229}" dt="2024-06-05T07:56:36.933" v="220" actId="478"/>
          <ac:grpSpMkLst>
            <pc:docMk/>
            <pc:sldMk cId="2169785454" sldId="940"/>
            <ac:grpSpMk id="5" creationId="{D7F287C2-4448-7719-74D8-2072D2FC122D}"/>
          </ac:grpSpMkLst>
        </pc:grpChg>
        <pc:grpChg chg="add mod">
          <ac:chgData name="Sindija Kirsteine (LV)" userId="5f25501a-2215-4bb3-9d9c-8d1484ffa7c1" providerId="ADAL" clId="{DF8FB14C-655D-4BA6-ACF6-D90558E95229}" dt="2024-06-05T07:56:37.219" v="221"/>
          <ac:grpSpMkLst>
            <pc:docMk/>
            <pc:sldMk cId="2169785454" sldId="940"/>
            <ac:grpSpMk id="21" creationId="{D1E048D0-E6F3-9F74-475B-C14176FF331B}"/>
          </ac:grpSpMkLst>
        </pc:grpChg>
      </pc:sldChg>
      <pc:sldChg chg="addSp delSp modSp mod">
        <pc:chgData name="Sindija Kirsteine (LV)" userId="5f25501a-2215-4bb3-9d9c-8d1484ffa7c1" providerId="ADAL" clId="{DF8FB14C-655D-4BA6-ACF6-D90558E95229}" dt="2024-06-05T08:00:24.272" v="385"/>
        <pc:sldMkLst>
          <pc:docMk/>
          <pc:sldMk cId="4229434319" sldId="941"/>
        </pc:sldMkLst>
        <pc:spChg chg="mod">
          <ac:chgData name="Sindija Kirsteine (LV)" userId="5f25501a-2215-4bb3-9d9c-8d1484ffa7c1" providerId="ADAL" clId="{DF8FB14C-655D-4BA6-ACF6-D90558E95229}" dt="2024-06-05T08:00:24.272" v="385"/>
          <ac:spMkLst>
            <pc:docMk/>
            <pc:sldMk cId="4229434319" sldId="941"/>
            <ac:spMk id="5" creationId="{3EE9A8D7-974A-0CF9-3140-9CBC7B279E05}"/>
          </ac:spMkLst>
        </pc:spChg>
        <pc:spChg chg="mod">
          <ac:chgData name="Sindija Kirsteine (LV)" userId="5f25501a-2215-4bb3-9d9c-8d1484ffa7c1" providerId="ADAL" clId="{DF8FB14C-655D-4BA6-ACF6-D90558E95229}" dt="2024-06-05T07:56:40.624" v="224"/>
          <ac:spMkLst>
            <pc:docMk/>
            <pc:sldMk cId="4229434319" sldId="941"/>
            <ac:spMk id="32" creationId="{505D855B-1B31-586B-31CB-3EB835AF04E3}"/>
          </ac:spMkLst>
        </pc:spChg>
        <pc:spChg chg="mod">
          <ac:chgData name="Sindija Kirsteine (LV)" userId="5f25501a-2215-4bb3-9d9c-8d1484ffa7c1" providerId="ADAL" clId="{DF8FB14C-655D-4BA6-ACF6-D90558E95229}" dt="2024-06-05T07:56:40.624" v="224"/>
          <ac:spMkLst>
            <pc:docMk/>
            <pc:sldMk cId="4229434319" sldId="941"/>
            <ac:spMk id="33" creationId="{44F1245A-ADC4-80D9-1597-6BC77517D6FE}"/>
          </ac:spMkLst>
        </pc:spChg>
        <pc:spChg chg="mod">
          <ac:chgData name="Sindija Kirsteine (LV)" userId="5f25501a-2215-4bb3-9d9c-8d1484ffa7c1" providerId="ADAL" clId="{DF8FB14C-655D-4BA6-ACF6-D90558E95229}" dt="2024-06-05T07:56:40.624" v="224"/>
          <ac:spMkLst>
            <pc:docMk/>
            <pc:sldMk cId="4229434319" sldId="941"/>
            <ac:spMk id="34" creationId="{B225B6CA-07C5-CFD0-A8A6-0114BB0461AE}"/>
          </ac:spMkLst>
        </pc:spChg>
        <pc:spChg chg="mod">
          <ac:chgData name="Sindija Kirsteine (LV)" userId="5f25501a-2215-4bb3-9d9c-8d1484ffa7c1" providerId="ADAL" clId="{DF8FB14C-655D-4BA6-ACF6-D90558E95229}" dt="2024-06-05T07:56:40.624" v="224"/>
          <ac:spMkLst>
            <pc:docMk/>
            <pc:sldMk cId="4229434319" sldId="941"/>
            <ac:spMk id="35" creationId="{B13D1DD2-1E41-B1FD-953D-735D0463FE45}"/>
          </ac:spMkLst>
        </pc:spChg>
        <pc:spChg chg="mod">
          <ac:chgData name="Sindija Kirsteine (LV)" userId="5f25501a-2215-4bb3-9d9c-8d1484ffa7c1" providerId="ADAL" clId="{DF8FB14C-655D-4BA6-ACF6-D90558E95229}" dt="2024-06-05T07:56:40.624" v="224"/>
          <ac:spMkLst>
            <pc:docMk/>
            <pc:sldMk cId="4229434319" sldId="941"/>
            <ac:spMk id="43" creationId="{DCFD6FB4-B411-DB1D-EF62-25922747D7BB}"/>
          </ac:spMkLst>
        </pc:spChg>
        <pc:spChg chg="mod">
          <ac:chgData name="Sindija Kirsteine (LV)" userId="5f25501a-2215-4bb3-9d9c-8d1484ffa7c1" providerId="ADAL" clId="{DF8FB14C-655D-4BA6-ACF6-D90558E95229}" dt="2024-06-05T07:56:40.624" v="224"/>
          <ac:spMkLst>
            <pc:docMk/>
            <pc:sldMk cId="4229434319" sldId="941"/>
            <ac:spMk id="44" creationId="{87F395C1-16E0-1A92-C23B-70A8CC8A0BE0}"/>
          </ac:spMkLst>
        </pc:spChg>
        <pc:grpChg chg="del">
          <ac:chgData name="Sindija Kirsteine (LV)" userId="5f25501a-2215-4bb3-9d9c-8d1484ffa7c1" providerId="ADAL" clId="{DF8FB14C-655D-4BA6-ACF6-D90558E95229}" dt="2024-06-05T07:56:40.306" v="223" actId="478"/>
          <ac:grpSpMkLst>
            <pc:docMk/>
            <pc:sldMk cId="4229434319" sldId="941"/>
            <ac:grpSpMk id="20" creationId="{1476811F-6F80-556F-F119-B8BF7156FE00}"/>
          </ac:grpSpMkLst>
        </pc:grpChg>
        <pc:grpChg chg="add mod">
          <ac:chgData name="Sindija Kirsteine (LV)" userId="5f25501a-2215-4bb3-9d9c-8d1484ffa7c1" providerId="ADAL" clId="{DF8FB14C-655D-4BA6-ACF6-D90558E95229}" dt="2024-06-05T07:56:40.624" v="224"/>
          <ac:grpSpMkLst>
            <pc:docMk/>
            <pc:sldMk cId="4229434319" sldId="941"/>
            <ac:grpSpMk id="29" creationId="{50318D11-40E2-C660-3AF1-C6ADEAAD7014}"/>
          </ac:grpSpMkLst>
        </pc:grpChg>
      </pc:sldChg>
      <pc:sldChg chg="addSp delSp modSp mod">
        <pc:chgData name="Sindija Kirsteine (LV)" userId="5f25501a-2215-4bb3-9d9c-8d1484ffa7c1" providerId="ADAL" clId="{DF8FB14C-655D-4BA6-ACF6-D90558E95229}" dt="2024-06-05T08:00:27.856" v="387"/>
        <pc:sldMkLst>
          <pc:docMk/>
          <pc:sldMk cId="3615584869" sldId="942"/>
        </pc:sldMkLst>
        <pc:spChg chg="mod">
          <ac:chgData name="Sindija Kirsteine (LV)" userId="5f25501a-2215-4bb3-9d9c-8d1484ffa7c1" providerId="ADAL" clId="{DF8FB14C-655D-4BA6-ACF6-D90558E95229}" dt="2024-06-05T08:00:27.856" v="387"/>
          <ac:spMkLst>
            <pc:docMk/>
            <pc:sldMk cId="3615584869" sldId="942"/>
            <ac:spMk id="2" creationId="{8EE1DE98-DB4B-314F-4BB5-97B8B97A8B14}"/>
          </ac:spMkLst>
        </pc:spChg>
        <pc:spChg chg="mod">
          <ac:chgData name="Sindija Kirsteine (LV)" userId="5f25501a-2215-4bb3-9d9c-8d1484ffa7c1" providerId="ADAL" clId="{DF8FB14C-655D-4BA6-ACF6-D90558E95229}" dt="2024-06-05T07:56:43.402" v="227"/>
          <ac:spMkLst>
            <pc:docMk/>
            <pc:sldMk cId="3615584869" sldId="942"/>
            <ac:spMk id="35" creationId="{B0128A2A-174D-9C28-C12C-A03690B7EA70}"/>
          </ac:spMkLst>
        </pc:spChg>
        <pc:spChg chg="mod">
          <ac:chgData name="Sindija Kirsteine (LV)" userId="5f25501a-2215-4bb3-9d9c-8d1484ffa7c1" providerId="ADAL" clId="{DF8FB14C-655D-4BA6-ACF6-D90558E95229}" dt="2024-06-05T07:56:43.402" v="227"/>
          <ac:spMkLst>
            <pc:docMk/>
            <pc:sldMk cId="3615584869" sldId="942"/>
            <ac:spMk id="37" creationId="{21315DA5-F168-0876-6AA7-51F441A8A084}"/>
          </ac:spMkLst>
        </pc:spChg>
        <pc:spChg chg="mod">
          <ac:chgData name="Sindija Kirsteine (LV)" userId="5f25501a-2215-4bb3-9d9c-8d1484ffa7c1" providerId="ADAL" clId="{DF8FB14C-655D-4BA6-ACF6-D90558E95229}" dt="2024-06-05T07:56:43.402" v="227"/>
          <ac:spMkLst>
            <pc:docMk/>
            <pc:sldMk cId="3615584869" sldId="942"/>
            <ac:spMk id="39" creationId="{38A16CC7-923A-03F6-6146-6BAAA3497B10}"/>
          </ac:spMkLst>
        </pc:spChg>
        <pc:spChg chg="mod">
          <ac:chgData name="Sindija Kirsteine (LV)" userId="5f25501a-2215-4bb3-9d9c-8d1484ffa7c1" providerId="ADAL" clId="{DF8FB14C-655D-4BA6-ACF6-D90558E95229}" dt="2024-06-05T07:56:43.402" v="227"/>
          <ac:spMkLst>
            <pc:docMk/>
            <pc:sldMk cId="3615584869" sldId="942"/>
            <ac:spMk id="40" creationId="{1072B6B1-853F-7106-48A7-77C35D077B1F}"/>
          </ac:spMkLst>
        </pc:spChg>
        <pc:spChg chg="mod">
          <ac:chgData name="Sindija Kirsteine (LV)" userId="5f25501a-2215-4bb3-9d9c-8d1484ffa7c1" providerId="ADAL" clId="{DF8FB14C-655D-4BA6-ACF6-D90558E95229}" dt="2024-06-05T07:56:43.402" v="227"/>
          <ac:spMkLst>
            <pc:docMk/>
            <pc:sldMk cId="3615584869" sldId="942"/>
            <ac:spMk id="41" creationId="{586D5336-A2A8-A8DC-76FE-F912B04A69CD}"/>
          </ac:spMkLst>
        </pc:spChg>
        <pc:spChg chg="mod">
          <ac:chgData name="Sindija Kirsteine (LV)" userId="5f25501a-2215-4bb3-9d9c-8d1484ffa7c1" providerId="ADAL" clId="{DF8FB14C-655D-4BA6-ACF6-D90558E95229}" dt="2024-06-05T07:56:43.402" v="227"/>
          <ac:spMkLst>
            <pc:docMk/>
            <pc:sldMk cId="3615584869" sldId="942"/>
            <ac:spMk id="42" creationId="{AC0ABADD-DE86-759E-B676-D308EE3BEFAF}"/>
          </ac:spMkLst>
        </pc:spChg>
        <pc:grpChg chg="del">
          <ac:chgData name="Sindija Kirsteine (LV)" userId="5f25501a-2215-4bb3-9d9c-8d1484ffa7c1" providerId="ADAL" clId="{DF8FB14C-655D-4BA6-ACF6-D90558E95229}" dt="2024-06-05T07:56:43.179" v="226" actId="478"/>
          <ac:grpSpMkLst>
            <pc:docMk/>
            <pc:sldMk cId="3615584869" sldId="942"/>
            <ac:grpSpMk id="5" creationId="{74E10E71-FC9E-C3E7-772E-8D76294CF3F6}"/>
          </ac:grpSpMkLst>
        </pc:grpChg>
        <pc:grpChg chg="add mod">
          <ac:chgData name="Sindija Kirsteine (LV)" userId="5f25501a-2215-4bb3-9d9c-8d1484ffa7c1" providerId="ADAL" clId="{DF8FB14C-655D-4BA6-ACF6-D90558E95229}" dt="2024-06-05T07:56:43.402" v="227"/>
          <ac:grpSpMkLst>
            <pc:docMk/>
            <pc:sldMk cId="3615584869" sldId="942"/>
            <ac:grpSpMk id="25" creationId="{0FA2201A-B784-505E-1592-10257CFF97A7}"/>
          </ac:grpSpMkLst>
        </pc:grpChg>
      </pc:sldChg>
      <pc:sldChg chg="addSp delSp modSp mod">
        <pc:chgData name="Sindija Kirsteine (LV)" userId="5f25501a-2215-4bb3-9d9c-8d1484ffa7c1" providerId="ADAL" clId="{DF8FB14C-655D-4BA6-ACF6-D90558E95229}" dt="2024-06-05T08:00:42.153" v="397"/>
        <pc:sldMkLst>
          <pc:docMk/>
          <pc:sldMk cId="2603595337" sldId="945"/>
        </pc:sldMkLst>
        <pc:spChg chg="mod">
          <ac:chgData name="Sindija Kirsteine (LV)" userId="5f25501a-2215-4bb3-9d9c-8d1484ffa7c1" providerId="ADAL" clId="{DF8FB14C-655D-4BA6-ACF6-D90558E95229}" dt="2024-06-05T08:00:42.153" v="397"/>
          <ac:spMkLst>
            <pc:docMk/>
            <pc:sldMk cId="2603595337" sldId="945"/>
            <ac:spMk id="2" creationId="{4C2946A7-6CE6-A78A-F248-0C0A646E970B}"/>
          </ac:spMkLst>
        </pc:spChg>
        <pc:spChg chg="mod">
          <ac:chgData name="Sindija Kirsteine (LV)" userId="5f25501a-2215-4bb3-9d9c-8d1484ffa7c1" providerId="ADAL" clId="{DF8FB14C-655D-4BA6-ACF6-D90558E95229}" dt="2024-06-05T07:57:05.386" v="239"/>
          <ac:spMkLst>
            <pc:docMk/>
            <pc:sldMk cId="2603595337" sldId="945"/>
            <ac:spMk id="24" creationId="{8B0BAACD-49F1-F651-28CE-02B57C5A6436}"/>
          </ac:spMkLst>
        </pc:spChg>
        <pc:spChg chg="mod">
          <ac:chgData name="Sindija Kirsteine (LV)" userId="5f25501a-2215-4bb3-9d9c-8d1484ffa7c1" providerId="ADAL" clId="{DF8FB14C-655D-4BA6-ACF6-D90558E95229}" dt="2024-06-05T07:57:05.386" v="239"/>
          <ac:spMkLst>
            <pc:docMk/>
            <pc:sldMk cId="2603595337" sldId="945"/>
            <ac:spMk id="25" creationId="{8CD5F17D-766C-D19E-7B8C-3DAADB7DDC36}"/>
          </ac:spMkLst>
        </pc:spChg>
        <pc:spChg chg="mod">
          <ac:chgData name="Sindija Kirsteine (LV)" userId="5f25501a-2215-4bb3-9d9c-8d1484ffa7c1" providerId="ADAL" clId="{DF8FB14C-655D-4BA6-ACF6-D90558E95229}" dt="2024-06-05T07:57:05.386" v="239"/>
          <ac:spMkLst>
            <pc:docMk/>
            <pc:sldMk cId="2603595337" sldId="945"/>
            <ac:spMk id="27" creationId="{DCB5CD63-0850-83F0-DA11-942078B43FA9}"/>
          </ac:spMkLst>
        </pc:spChg>
        <pc:spChg chg="mod">
          <ac:chgData name="Sindija Kirsteine (LV)" userId="5f25501a-2215-4bb3-9d9c-8d1484ffa7c1" providerId="ADAL" clId="{DF8FB14C-655D-4BA6-ACF6-D90558E95229}" dt="2024-06-05T07:57:05.386" v="239"/>
          <ac:spMkLst>
            <pc:docMk/>
            <pc:sldMk cId="2603595337" sldId="945"/>
            <ac:spMk id="28" creationId="{E30B6976-7B3D-9E48-2A5A-614ED746F191}"/>
          </ac:spMkLst>
        </pc:spChg>
        <pc:spChg chg="mod">
          <ac:chgData name="Sindija Kirsteine (LV)" userId="5f25501a-2215-4bb3-9d9c-8d1484ffa7c1" providerId="ADAL" clId="{DF8FB14C-655D-4BA6-ACF6-D90558E95229}" dt="2024-06-05T07:57:05.386" v="239"/>
          <ac:spMkLst>
            <pc:docMk/>
            <pc:sldMk cId="2603595337" sldId="945"/>
            <ac:spMk id="31" creationId="{B514DBC8-2F9E-7BF7-384B-C32C27F9378C}"/>
          </ac:spMkLst>
        </pc:spChg>
        <pc:spChg chg="mod">
          <ac:chgData name="Sindija Kirsteine (LV)" userId="5f25501a-2215-4bb3-9d9c-8d1484ffa7c1" providerId="ADAL" clId="{DF8FB14C-655D-4BA6-ACF6-D90558E95229}" dt="2024-06-05T07:57:05.386" v="239"/>
          <ac:spMkLst>
            <pc:docMk/>
            <pc:sldMk cId="2603595337" sldId="945"/>
            <ac:spMk id="32" creationId="{1EDDF72C-3014-9776-9828-BC94198CCA8F}"/>
          </ac:spMkLst>
        </pc:spChg>
        <pc:grpChg chg="del">
          <ac:chgData name="Sindija Kirsteine (LV)" userId="5f25501a-2215-4bb3-9d9c-8d1484ffa7c1" providerId="ADAL" clId="{DF8FB14C-655D-4BA6-ACF6-D90558E95229}" dt="2024-06-05T07:57:05.165" v="238" actId="478"/>
          <ac:grpSpMkLst>
            <pc:docMk/>
            <pc:sldMk cId="2603595337" sldId="945"/>
            <ac:grpSpMk id="10" creationId="{6B5D52A4-21DD-4358-FD66-F303B98D1CF7}"/>
          </ac:grpSpMkLst>
        </pc:grpChg>
        <pc:grpChg chg="add mod">
          <ac:chgData name="Sindija Kirsteine (LV)" userId="5f25501a-2215-4bb3-9d9c-8d1484ffa7c1" providerId="ADAL" clId="{DF8FB14C-655D-4BA6-ACF6-D90558E95229}" dt="2024-06-05T07:57:05.386" v="239"/>
          <ac:grpSpMkLst>
            <pc:docMk/>
            <pc:sldMk cId="2603595337" sldId="945"/>
            <ac:grpSpMk id="22" creationId="{B554D50F-33AA-D6DA-25FA-3A9EEB9D3339}"/>
          </ac:grpSpMkLst>
        </pc:grpChg>
      </pc:sldChg>
      <pc:sldChg chg="addSp delSp modSp mod">
        <pc:chgData name="Sindija Kirsteine (LV)" userId="5f25501a-2215-4bb3-9d9c-8d1484ffa7c1" providerId="ADAL" clId="{DF8FB14C-655D-4BA6-ACF6-D90558E95229}" dt="2024-06-05T08:00:44.682" v="399"/>
        <pc:sldMkLst>
          <pc:docMk/>
          <pc:sldMk cId="3488828484" sldId="946"/>
        </pc:sldMkLst>
        <pc:spChg chg="mod">
          <ac:chgData name="Sindija Kirsteine (LV)" userId="5f25501a-2215-4bb3-9d9c-8d1484ffa7c1" providerId="ADAL" clId="{DF8FB14C-655D-4BA6-ACF6-D90558E95229}" dt="2024-06-05T08:00:44.682" v="399"/>
          <ac:spMkLst>
            <pc:docMk/>
            <pc:sldMk cId="3488828484" sldId="946"/>
            <ac:spMk id="2" creationId="{8119AA81-D51B-6287-E979-F71003D27C65}"/>
          </ac:spMkLst>
        </pc:spChg>
        <pc:spChg chg="mod">
          <ac:chgData name="Sindija Kirsteine (LV)" userId="5f25501a-2215-4bb3-9d9c-8d1484ffa7c1" providerId="ADAL" clId="{DF8FB14C-655D-4BA6-ACF6-D90558E95229}" dt="2024-06-05T07:57:09.303" v="242"/>
          <ac:spMkLst>
            <pc:docMk/>
            <pc:sldMk cId="3488828484" sldId="946"/>
            <ac:spMk id="17" creationId="{B0B9666E-A862-136A-6F06-92B3EC2F697C}"/>
          </ac:spMkLst>
        </pc:spChg>
        <pc:spChg chg="mod">
          <ac:chgData name="Sindija Kirsteine (LV)" userId="5f25501a-2215-4bb3-9d9c-8d1484ffa7c1" providerId="ADAL" clId="{DF8FB14C-655D-4BA6-ACF6-D90558E95229}" dt="2024-06-05T07:57:09.303" v="242"/>
          <ac:spMkLst>
            <pc:docMk/>
            <pc:sldMk cId="3488828484" sldId="946"/>
            <ac:spMk id="18" creationId="{B2FBABB8-87CE-FED5-A6DA-D677534A97BE}"/>
          </ac:spMkLst>
        </pc:spChg>
        <pc:spChg chg="mod">
          <ac:chgData name="Sindija Kirsteine (LV)" userId="5f25501a-2215-4bb3-9d9c-8d1484ffa7c1" providerId="ADAL" clId="{DF8FB14C-655D-4BA6-ACF6-D90558E95229}" dt="2024-06-05T07:57:09.303" v="242"/>
          <ac:spMkLst>
            <pc:docMk/>
            <pc:sldMk cId="3488828484" sldId="946"/>
            <ac:spMk id="19" creationId="{249473E5-18DE-4649-CDB0-4F0D683461DF}"/>
          </ac:spMkLst>
        </pc:spChg>
        <pc:spChg chg="mod">
          <ac:chgData name="Sindija Kirsteine (LV)" userId="5f25501a-2215-4bb3-9d9c-8d1484ffa7c1" providerId="ADAL" clId="{DF8FB14C-655D-4BA6-ACF6-D90558E95229}" dt="2024-06-05T07:57:09.303" v="242"/>
          <ac:spMkLst>
            <pc:docMk/>
            <pc:sldMk cId="3488828484" sldId="946"/>
            <ac:spMk id="20" creationId="{977527A2-C8AC-E2CA-C1B4-18FF4D066B6B}"/>
          </ac:spMkLst>
        </pc:spChg>
        <pc:spChg chg="mod">
          <ac:chgData name="Sindija Kirsteine (LV)" userId="5f25501a-2215-4bb3-9d9c-8d1484ffa7c1" providerId="ADAL" clId="{DF8FB14C-655D-4BA6-ACF6-D90558E95229}" dt="2024-06-05T07:57:09.303" v="242"/>
          <ac:spMkLst>
            <pc:docMk/>
            <pc:sldMk cId="3488828484" sldId="946"/>
            <ac:spMk id="24" creationId="{183CCE56-9286-B8DD-98FB-591F2AAB54DE}"/>
          </ac:spMkLst>
        </pc:spChg>
        <pc:spChg chg="mod">
          <ac:chgData name="Sindija Kirsteine (LV)" userId="5f25501a-2215-4bb3-9d9c-8d1484ffa7c1" providerId="ADAL" clId="{DF8FB14C-655D-4BA6-ACF6-D90558E95229}" dt="2024-06-05T07:57:09.303" v="242"/>
          <ac:spMkLst>
            <pc:docMk/>
            <pc:sldMk cId="3488828484" sldId="946"/>
            <ac:spMk id="28" creationId="{BCB3CF5C-A1F1-D544-E9AB-3F9C8C325555}"/>
          </ac:spMkLst>
        </pc:spChg>
        <pc:grpChg chg="del">
          <ac:chgData name="Sindija Kirsteine (LV)" userId="5f25501a-2215-4bb3-9d9c-8d1484ffa7c1" providerId="ADAL" clId="{DF8FB14C-655D-4BA6-ACF6-D90558E95229}" dt="2024-06-05T07:57:09.080" v="241" actId="478"/>
          <ac:grpSpMkLst>
            <pc:docMk/>
            <pc:sldMk cId="3488828484" sldId="946"/>
            <ac:grpSpMk id="6" creationId="{62E297C8-1F34-0629-6AFB-E8CB4F61BFA0}"/>
          </ac:grpSpMkLst>
        </pc:grpChg>
        <pc:grpChg chg="add mod">
          <ac:chgData name="Sindija Kirsteine (LV)" userId="5f25501a-2215-4bb3-9d9c-8d1484ffa7c1" providerId="ADAL" clId="{DF8FB14C-655D-4BA6-ACF6-D90558E95229}" dt="2024-06-05T07:57:09.303" v="242"/>
          <ac:grpSpMkLst>
            <pc:docMk/>
            <pc:sldMk cId="3488828484" sldId="946"/>
            <ac:grpSpMk id="16" creationId="{4C84B26D-9DC5-7E20-FAE6-955793FCDBDE}"/>
          </ac:grpSpMkLst>
        </pc:grpChg>
      </pc:sldChg>
      <pc:sldChg chg="addSp delSp modSp mod">
        <pc:chgData name="Sindija Kirsteine (LV)" userId="5f25501a-2215-4bb3-9d9c-8d1484ffa7c1" providerId="ADAL" clId="{DF8FB14C-655D-4BA6-ACF6-D90558E95229}" dt="2024-06-05T08:00:48.602" v="401"/>
        <pc:sldMkLst>
          <pc:docMk/>
          <pc:sldMk cId="201777098" sldId="950"/>
        </pc:sldMkLst>
        <pc:spChg chg="mod">
          <ac:chgData name="Sindija Kirsteine (LV)" userId="5f25501a-2215-4bb3-9d9c-8d1484ffa7c1" providerId="ADAL" clId="{DF8FB14C-655D-4BA6-ACF6-D90558E95229}" dt="2024-06-05T08:00:48.602" v="401"/>
          <ac:spMkLst>
            <pc:docMk/>
            <pc:sldMk cId="201777098" sldId="950"/>
            <ac:spMk id="5" creationId="{CE8DF088-308E-1DA3-B78E-2A403A65AD68}"/>
          </ac:spMkLst>
        </pc:spChg>
        <pc:spChg chg="del">
          <ac:chgData name="Sindija Kirsteine (LV)" userId="5f25501a-2215-4bb3-9d9c-8d1484ffa7c1" providerId="ADAL" clId="{DF8FB14C-655D-4BA6-ACF6-D90558E95229}" dt="2024-06-05T07:57:14.320" v="244" actId="478"/>
          <ac:spMkLst>
            <pc:docMk/>
            <pc:sldMk cId="201777098" sldId="950"/>
            <ac:spMk id="19" creationId="{B05C9408-E38C-6863-5B54-A480778741CA}"/>
          </ac:spMkLst>
        </pc:spChg>
        <pc:spChg chg="mod">
          <ac:chgData name="Sindija Kirsteine (LV)" userId="5f25501a-2215-4bb3-9d9c-8d1484ffa7c1" providerId="ADAL" clId="{DF8FB14C-655D-4BA6-ACF6-D90558E95229}" dt="2024-06-05T07:57:14.573" v="245"/>
          <ac:spMkLst>
            <pc:docMk/>
            <pc:sldMk cId="201777098" sldId="950"/>
            <ac:spMk id="28" creationId="{920ABAB4-3396-DBE7-C511-0EE5EE6730EF}"/>
          </ac:spMkLst>
        </pc:spChg>
        <pc:spChg chg="mod">
          <ac:chgData name="Sindija Kirsteine (LV)" userId="5f25501a-2215-4bb3-9d9c-8d1484ffa7c1" providerId="ADAL" clId="{DF8FB14C-655D-4BA6-ACF6-D90558E95229}" dt="2024-06-05T07:57:14.573" v="245"/>
          <ac:spMkLst>
            <pc:docMk/>
            <pc:sldMk cId="201777098" sldId="950"/>
            <ac:spMk id="31" creationId="{56B9B0AC-243C-113C-F8DD-765F80A90393}"/>
          </ac:spMkLst>
        </pc:spChg>
        <pc:spChg chg="mod">
          <ac:chgData name="Sindija Kirsteine (LV)" userId="5f25501a-2215-4bb3-9d9c-8d1484ffa7c1" providerId="ADAL" clId="{DF8FB14C-655D-4BA6-ACF6-D90558E95229}" dt="2024-06-05T07:57:14.573" v="245"/>
          <ac:spMkLst>
            <pc:docMk/>
            <pc:sldMk cId="201777098" sldId="950"/>
            <ac:spMk id="32" creationId="{DF0D1EF0-E7F6-204F-2182-DD987BA6A215}"/>
          </ac:spMkLst>
        </pc:spChg>
        <pc:spChg chg="mod">
          <ac:chgData name="Sindija Kirsteine (LV)" userId="5f25501a-2215-4bb3-9d9c-8d1484ffa7c1" providerId="ADAL" clId="{DF8FB14C-655D-4BA6-ACF6-D90558E95229}" dt="2024-06-05T07:57:14.573" v="245"/>
          <ac:spMkLst>
            <pc:docMk/>
            <pc:sldMk cId="201777098" sldId="950"/>
            <ac:spMk id="33" creationId="{0321491F-6F33-7D14-5844-53FC88B478E3}"/>
          </ac:spMkLst>
        </pc:spChg>
        <pc:spChg chg="mod">
          <ac:chgData name="Sindija Kirsteine (LV)" userId="5f25501a-2215-4bb3-9d9c-8d1484ffa7c1" providerId="ADAL" clId="{DF8FB14C-655D-4BA6-ACF6-D90558E95229}" dt="2024-06-05T07:57:14.573" v="245"/>
          <ac:spMkLst>
            <pc:docMk/>
            <pc:sldMk cId="201777098" sldId="950"/>
            <ac:spMk id="34" creationId="{236E86D7-00BA-363D-6556-A0E4EFA886FF}"/>
          </ac:spMkLst>
        </pc:spChg>
        <pc:spChg chg="mod">
          <ac:chgData name="Sindija Kirsteine (LV)" userId="5f25501a-2215-4bb3-9d9c-8d1484ffa7c1" providerId="ADAL" clId="{DF8FB14C-655D-4BA6-ACF6-D90558E95229}" dt="2024-06-05T07:57:14.573" v="245"/>
          <ac:spMkLst>
            <pc:docMk/>
            <pc:sldMk cId="201777098" sldId="950"/>
            <ac:spMk id="35" creationId="{6921CA11-B540-0E5A-9630-90E822C69D73}"/>
          </ac:spMkLst>
        </pc:spChg>
        <pc:spChg chg="mod">
          <ac:chgData name="Sindija Kirsteine (LV)" userId="5f25501a-2215-4bb3-9d9c-8d1484ffa7c1" providerId="ADAL" clId="{DF8FB14C-655D-4BA6-ACF6-D90558E95229}" dt="2024-06-05T07:57:18.005" v="248"/>
          <ac:spMkLst>
            <pc:docMk/>
            <pc:sldMk cId="201777098" sldId="950"/>
            <ac:spMk id="37" creationId="{01101845-0932-F9B5-A810-9F3CF51FBBB5}"/>
          </ac:spMkLst>
        </pc:spChg>
        <pc:spChg chg="mod">
          <ac:chgData name="Sindija Kirsteine (LV)" userId="5f25501a-2215-4bb3-9d9c-8d1484ffa7c1" providerId="ADAL" clId="{DF8FB14C-655D-4BA6-ACF6-D90558E95229}" dt="2024-06-05T07:57:18.005" v="248"/>
          <ac:spMkLst>
            <pc:docMk/>
            <pc:sldMk cId="201777098" sldId="950"/>
            <ac:spMk id="38" creationId="{7732B637-2E23-DDE9-3AC7-189C334F7A2D}"/>
          </ac:spMkLst>
        </pc:spChg>
        <pc:spChg chg="mod">
          <ac:chgData name="Sindija Kirsteine (LV)" userId="5f25501a-2215-4bb3-9d9c-8d1484ffa7c1" providerId="ADAL" clId="{DF8FB14C-655D-4BA6-ACF6-D90558E95229}" dt="2024-06-05T07:57:18.005" v="248"/>
          <ac:spMkLst>
            <pc:docMk/>
            <pc:sldMk cId="201777098" sldId="950"/>
            <ac:spMk id="39" creationId="{D0ADB288-1909-9FCC-AEB0-B3A9676482DC}"/>
          </ac:spMkLst>
        </pc:spChg>
        <pc:spChg chg="mod">
          <ac:chgData name="Sindija Kirsteine (LV)" userId="5f25501a-2215-4bb3-9d9c-8d1484ffa7c1" providerId="ADAL" clId="{DF8FB14C-655D-4BA6-ACF6-D90558E95229}" dt="2024-06-05T07:57:18.005" v="248"/>
          <ac:spMkLst>
            <pc:docMk/>
            <pc:sldMk cId="201777098" sldId="950"/>
            <ac:spMk id="40" creationId="{52D3B301-1C56-057F-70C3-599686D5894B}"/>
          </ac:spMkLst>
        </pc:spChg>
        <pc:spChg chg="mod">
          <ac:chgData name="Sindija Kirsteine (LV)" userId="5f25501a-2215-4bb3-9d9c-8d1484ffa7c1" providerId="ADAL" clId="{DF8FB14C-655D-4BA6-ACF6-D90558E95229}" dt="2024-06-05T07:57:18.005" v="248"/>
          <ac:spMkLst>
            <pc:docMk/>
            <pc:sldMk cId="201777098" sldId="950"/>
            <ac:spMk id="41" creationId="{686AE110-8722-2159-9CBF-E99621E4B1B9}"/>
          </ac:spMkLst>
        </pc:spChg>
        <pc:spChg chg="mod">
          <ac:chgData name="Sindija Kirsteine (LV)" userId="5f25501a-2215-4bb3-9d9c-8d1484ffa7c1" providerId="ADAL" clId="{DF8FB14C-655D-4BA6-ACF6-D90558E95229}" dt="2024-06-05T07:57:18.005" v="248"/>
          <ac:spMkLst>
            <pc:docMk/>
            <pc:sldMk cId="201777098" sldId="950"/>
            <ac:spMk id="43" creationId="{230FFF20-0417-CD8C-6D43-4132710D647E}"/>
          </ac:spMkLst>
        </pc:spChg>
        <pc:grpChg chg="del">
          <ac:chgData name="Sindija Kirsteine (LV)" userId="5f25501a-2215-4bb3-9d9c-8d1484ffa7c1" providerId="ADAL" clId="{DF8FB14C-655D-4BA6-ACF6-D90558E95229}" dt="2024-06-05T07:57:17.225" v="247" actId="478"/>
          <ac:grpSpMkLst>
            <pc:docMk/>
            <pc:sldMk cId="201777098" sldId="950"/>
            <ac:grpSpMk id="15" creationId="{66E7844D-92A5-7B2C-98C9-930334E05087}"/>
          </ac:grpSpMkLst>
        </pc:grpChg>
        <pc:grpChg chg="add del mod">
          <ac:chgData name="Sindija Kirsteine (LV)" userId="5f25501a-2215-4bb3-9d9c-8d1484ffa7c1" providerId="ADAL" clId="{DF8FB14C-655D-4BA6-ACF6-D90558E95229}" dt="2024-06-05T07:57:15.746" v="246"/>
          <ac:grpSpMkLst>
            <pc:docMk/>
            <pc:sldMk cId="201777098" sldId="950"/>
            <ac:grpSpMk id="23" creationId="{8E152A95-66C4-69F7-16C0-B28913E81C27}"/>
          </ac:grpSpMkLst>
        </pc:grpChg>
        <pc:grpChg chg="add mod">
          <ac:chgData name="Sindija Kirsteine (LV)" userId="5f25501a-2215-4bb3-9d9c-8d1484ffa7c1" providerId="ADAL" clId="{DF8FB14C-655D-4BA6-ACF6-D90558E95229}" dt="2024-06-05T07:57:18.005" v="248"/>
          <ac:grpSpMkLst>
            <pc:docMk/>
            <pc:sldMk cId="201777098" sldId="950"/>
            <ac:grpSpMk id="36" creationId="{6EB1C011-7FAB-69F0-A456-CC6D290979BB}"/>
          </ac:grpSpMkLst>
        </pc:grpChg>
      </pc:sldChg>
      <pc:sldChg chg="modSp mod">
        <pc:chgData name="Sindija Kirsteine (LV)" userId="5f25501a-2215-4bb3-9d9c-8d1484ffa7c1" providerId="ADAL" clId="{DF8FB14C-655D-4BA6-ACF6-D90558E95229}" dt="2024-06-05T08:00:51.711" v="403"/>
        <pc:sldMkLst>
          <pc:docMk/>
          <pc:sldMk cId="1713450018" sldId="952"/>
        </pc:sldMkLst>
        <pc:spChg chg="mod">
          <ac:chgData name="Sindija Kirsteine (LV)" userId="5f25501a-2215-4bb3-9d9c-8d1484ffa7c1" providerId="ADAL" clId="{DF8FB14C-655D-4BA6-ACF6-D90558E95229}" dt="2024-06-05T08:00:51.711" v="403"/>
          <ac:spMkLst>
            <pc:docMk/>
            <pc:sldMk cId="1713450018" sldId="952"/>
            <ac:spMk id="2" creationId="{8AECEEF7-147C-69E9-7E85-66789CF569A3}"/>
          </ac:spMkLst>
        </pc:spChg>
        <pc:spChg chg="mod">
          <ac:chgData name="Sindija Kirsteine (LV)" userId="5f25501a-2215-4bb3-9d9c-8d1484ffa7c1" providerId="ADAL" clId="{DF8FB14C-655D-4BA6-ACF6-D90558E95229}" dt="2024-06-05T07:57:25.838" v="252" actId="20577"/>
          <ac:spMkLst>
            <pc:docMk/>
            <pc:sldMk cId="1713450018" sldId="952"/>
            <ac:spMk id="5" creationId="{9D24C125-C618-6790-4D00-61A80DDD6B9D}"/>
          </ac:spMkLst>
        </pc:spChg>
        <pc:spChg chg="mod">
          <ac:chgData name="Sindija Kirsteine (LV)" userId="5f25501a-2215-4bb3-9d9c-8d1484ffa7c1" providerId="ADAL" clId="{DF8FB14C-655D-4BA6-ACF6-D90558E95229}" dt="2024-06-05T07:57:27.715" v="254" actId="20577"/>
          <ac:spMkLst>
            <pc:docMk/>
            <pc:sldMk cId="1713450018" sldId="952"/>
            <ac:spMk id="8" creationId="{7644DD63-5811-99E1-647A-595A8918858E}"/>
          </ac:spMkLst>
        </pc:spChg>
        <pc:spChg chg="mod">
          <ac:chgData name="Sindija Kirsteine (LV)" userId="5f25501a-2215-4bb3-9d9c-8d1484ffa7c1" providerId="ADAL" clId="{DF8FB14C-655D-4BA6-ACF6-D90558E95229}" dt="2024-06-05T07:57:29.655" v="256" actId="20577"/>
          <ac:spMkLst>
            <pc:docMk/>
            <pc:sldMk cId="1713450018" sldId="952"/>
            <ac:spMk id="9" creationId="{DBDE7AC3-D08B-9A3D-1C99-C78111D41ABC}"/>
          </ac:spMkLst>
        </pc:spChg>
        <pc:spChg chg="mod">
          <ac:chgData name="Sindija Kirsteine (LV)" userId="5f25501a-2215-4bb3-9d9c-8d1484ffa7c1" providerId="ADAL" clId="{DF8FB14C-655D-4BA6-ACF6-D90558E95229}" dt="2024-06-05T07:57:31.449" v="258" actId="20577"/>
          <ac:spMkLst>
            <pc:docMk/>
            <pc:sldMk cId="1713450018" sldId="952"/>
            <ac:spMk id="12" creationId="{D5A08CA3-F120-5E05-B055-BFCCCC1962A8}"/>
          </ac:spMkLst>
        </pc:spChg>
        <pc:spChg chg="mod">
          <ac:chgData name="Sindija Kirsteine (LV)" userId="5f25501a-2215-4bb3-9d9c-8d1484ffa7c1" providerId="ADAL" clId="{DF8FB14C-655D-4BA6-ACF6-D90558E95229}" dt="2024-06-05T07:57:33.238" v="260" actId="20577"/>
          <ac:spMkLst>
            <pc:docMk/>
            <pc:sldMk cId="1713450018" sldId="952"/>
            <ac:spMk id="13" creationId="{861DE81F-8637-BBE0-7241-48E15C38E7A7}"/>
          </ac:spMkLst>
        </pc:spChg>
      </pc:sldChg>
      <pc:sldChg chg="modSp mod">
        <pc:chgData name="Sindija Kirsteine (LV)" userId="5f25501a-2215-4bb3-9d9c-8d1484ffa7c1" providerId="ADAL" clId="{DF8FB14C-655D-4BA6-ACF6-D90558E95229}" dt="2024-06-05T07:51:01.397" v="23" actId="20577"/>
        <pc:sldMkLst>
          <pc:docMk/>
          <pc:sldMk cId="2937916867" sldId="953"/>
        </pc:sldMkLst>
        <pc:spChg chg="mod">
          <ac:chgData name="Sindija Kirsteine (LV)" userId="5f25501a-2215-4bb3-9d9c-8d1484ffa7c1" providerId="ADAL" clId="{DF8FB14C-655D-4BA6-ACF6-D90558E95229}" dt="2024-06-05T07:51:01.397" v="23" actId="20577"/>
          <ac:spMkLst>
            <pc:docMk/>
            <pc:sldMk cId="2937916867" sldId="953"/>
            <ac:spMk id="2" creationId="{00000000-0000-0000-0000-000000000000}"/>
          </ac:spMkLst>
        </pc:spChg>
      </pc:sldChg>
      <pc:sldChg chg="modSp mod">
        <pc:chgData name="Sindija Kirsteine (LV)" userId="5f25501a-2215-4bb3-9d9c-8d1484ffa7c1" providerId="ADAL" clId="{DF8FB14C-655D-4BA6-ACF6-D90558E95229}" dt="2024-06-05T07:59:26.099" v="343"/>
        <pc:sldMkLst>
          <pc:docMk/>
          <pc:sldMk cId="3292995886" sldId="954"/>
        </pc:sldMkLst>
        <pc:spChg chg="mod">
          <ac:chgData name="Sindija Kirsteine (LV)" userId="5f25501a-2215-4bb3-9d9c-8d1484ffa7c1" providerId="ADAL" clId="{DF8FB14C-655D-4BA6-ACF6-D90558E95229}" dt="2024-06-05T07:59:26.099" v="343"/>
          <ac:spMkLst>
            <pc:docMk/>
            <pc:sldMk cId="3292995886" sldId="954"/>
            <ac:spMk id="3" creationId="{D62443EF-1EFB-C495-F9E8-EE05C6033CA3}"/>
          </ac:spMkLst>
        </pc:spChg>
        <pc:spChg chg="mod">
          <ac:chgData name="Sindija Kirsteine (LV)" userId="5f25501a-2215-4bb3-9d9c-8d1484ffa7c1" providerId="ADAL" clId="{DF8FB14C-655D-4BA6-ACF6-D90558E95229}" dt="2024-06-05T07:54:48.967" v="152" actId="20577"/>
          <ac:spMkLst>
            <pc:docMk/>
            <pc:sldMk cId="3292995886" sldId="954"/>
            <ac:spMk id="6" creationId="{8BA343BD-9605-1DC6-DA98-2F9D3AC08DE4}"/>
          </ac:spMkLst>
        </pc:spChg>
        <pc:spChg chg="mod">
          <ac:chgData name="Sindija Kirsteine (LV)" userId="5f25501a-2215-4bb3-9d9c-8d1484ffa7c1" providerId="ADAL" clId="{DF8FB14C-655D-4BA6-ACF6-D90558E95229}" dt="2024-06-05T07:54:51.202" v="154" actId="20577"/>
          <ac:spMkLst>
            <pc:docMk/>
            <pc:sldMk cId="3292995886" sldId="954"/>
            <ac:spMk id="7" creationId="{3D8E8461-D203-C9FB-A585-EB1E1E7F2337}"/>
          </ac:spMkLst>
        </pc:spChg>
        <pc:spChg chg="mod">
          <ac:chgData name="Sindija Kirsteine (LV)" userId="5f25501a-2215-4bb3-9d9c-8d1484ffa7c1" providerId="ADAL" clId="{DF8FB14C-655D-4BA6-ACF6-D90558E95229}" dt="2024-06-05T07:54:52.995" v="156" actId="20577"/>
          <ac:spMkLst>
            <pc:docMk/>
            <pc:sldMk cId="3292995886" sldId="954"/>
            <ac:spMk id="8" creationId="{4C91119E-C842-62DC-C140-5B1BA09FD901}"/>
          </ac:spMkLst>
        </pc:spChg>
        <pc:spChg chg="mod">
          <ac:chgData name="Sindija Kirsteine (LV)" userId="5f25501a-2215-4bb3-9d9c-8d1484ffa7c1" providerId="ADAL" clId="{DF8FB14C-655D-4BA6-ACF6-D90558E95229}" dt="2024-06-05T07:54:54.919" v="158" actId="20577"/>
          <ac:spMkLst>
            <pc:docMk/>
            <pc:sldMk cId="3292995886" sldId="954"/>
            <ac:spMk id="10" creationId="{C567299E-DFD6-0AB6-D527-CB736DD459CE}"/>
          </ac:spMkLst>
        </pc:spChg>
        <pc:spChg chg="mod">
          <ac:chgData name="Sindija Kirsteine (LV)" userId="5f25501a-2215-4bb3-9d9c-8d1484ffa7c1" providerId="ADAL" clId="{DF8FB14C-655D-4BA6-ACF6-D90558E95229}" dt="2024-06-05T07:54:57.337" v="160" actId="20577"/>
          <ac:spMkLst>
            <pc:docMk/>
            <pc:sldMk cId="3292995886" sldId="954"/>
            <ac:spMk id="11" creationId="{8058A796-545C-68C0-9520-000E351FC181}"/>
          </ac:spMkLst>
        </pc:spChg>
      </pc:sldChg>
      <pc:sldChg chg="addSp delSp modSp mod">
        <pc:chgData name="Sindija Kirsteine (LV)" userId="5f25501a-2215-4bb3-9d9c-8d1484ffa7c1" providerId="ADAL" clId="{DF8FB14C-655D-4BA6-ACF6-D90558E95229}" dt="2024-06-05T08:00:38.997" v="395"/>
        <pc:sldMkLst>
          <pc:docMk/>
          <pc:sldMk cId="425128272" sldId="960"/>
        </pc:sldMkLst>
        <pc:spChg chg="mod">
          <ac:chgData name="Sindija Kirsteine (LV)" userId="5f25501a-2215-4bb3-9d9c-8d1484ffa7c1" providerId="ADAL" clId="{DF8FB14C-655D-4BA6-ACF6-D90558E95229}" dt="2024-06-05T08:00:38.997" v="395"/>
          <ac:spMkLst>
            <pc:docMk/>
            <pc:sldMk cId="425128272" sldId="960"/>
            <ac:spMk id="2" creationId="{34F1EF69-F6E7-494E-E505-1BE8F9572B6E}"/>
          </ac:spMkLst>
        </pc:spChg>
        <pc:spChg chg="mod">
          <ac:chgData name="Sindija Kirsteine (LV)" userId="5f25501a-2215-4bb3-9d9c-8d1484ffa7c1" providerId="ADAL" clId="{DF8FB14C-655D-4BA6-ACF6-D90558E95229}" dt="2024-06-05T07:56:58.595" v="236"/>
          <ac:spMkLst>
            <pc:docMk/>
            <pc:sldMk cId="425128272" sldId="960"/>
            <ac:spMk id="25" creationId="{8DFD0639-E0A6-1482-F96A-D84909B32286}"/>
          </ac:spMkLst>
        </pc:spChg>
        <pc:spChg chg="mod">
          <ac:chgData name="Sindija Kirsteine (LV)" userId="5f25501a-2215-4bb3-9d9c-8d1484ffa7c1" providerId="ADAL" clId="{DF8FB14C-655D-4BA6-ACF6-D90558E95229}" dt="2024-06-05T07:56:58.595" v="236"/>
          <ac:spMkLst>
            <pc:docMk/>
            <pc:sldMk cId="425128272" sldId="960"/>
            <ac:spMk id="27" creationId="{33550B1D-0A47-232A-607D-ACE632E0B026}"/>
          </ac:spMkLst>
        </pc:spChg>
        <pc:spChg chg="mod">
          <ac:chgData name="Sindija Kirsteine (LV)" userId="5f25501a-2215-4bb3-9d9c-8d1484ffa7c1" providerId="ADAL" clId="{DF8FB14C-655D-4BA6-ACF6-D90558E95229}" dt="2024-06-05T07:56:58.595" v="236"/>
          <ac:spMkLst>
            <pc:docMk/>
            <pc:sldMk cId="425128272" sldId="960"/>
            <ac:spMk id="28" creationId="{6AFEBD7E-52F7-7B47-F68A-184F4A9CCEFE}"/>
          </ac:spMkLst>
        </pc:spChg>
        <pc:spChg chg="mod">
          <ac:chgData name="Sindija Kirsteine (LV)" userId="5f25501a-2215-4bb3-9d9c-8d1484ffa7c1" providerId="ADAL" clId="{DF8FB14C-655D-4BA6-ACF6-D90558E95229}" dt="2024-06-05T07:56:58.595" v="236"/>
          <ac:spMkLst>
            <pc:docMk/>
            <pc:sldMk cId="425128272" sldId="960"/>
            <ac:spMk id="31" creationId="{1F75C7C9-9620-7FD2-67BF-FAF7EFB18924}"/>
          </ac:spMkLst>
        </pc:spChg>
        <pc:spChg chg="mod">
          <ac:chgData name="Sindija Kirsteine (LV)" userId="5f25501a-2215-4bb3-9d9c-8d1484ffa7c1" providerId="ADAL" clId="{DF8FB14C-655D-4BA6-ACF6-D90558E95229}" dt="2024-06-05T07:56:58.595" v="236"/>
          <ac:spMkLst>
            <pc:docMk/>
            <pc:sldMk cId="425128272" sldId="960"/>
            <ac:spMk id="32" creationId="{BE8CBFB7-FBA1-EFA4-D940-4F75E912D6C9}"/>
          </ac:spMkLst>
        </pc:spChg>
        <pc:spChg chg="mod">
          <ac:chgData name="Sindija Kirsteine (LV)" userId="5f25501a-2215-4bb3-9d9c-8d1484ffa7c1" providerId="ADAL" clId="{DF8FB14C-655D-4BA6-ACF6-D90558E95229}" dt="2024-06-05T07:56:58.595" v="236"/>
          <ac:spMkLst>
            <pc:docMk/>
            <pc:sldMk cId="425128272" sldId="960"/>
            <ac:spMk id="33" creationId="{8226868D-98A4-29A2-4326-22B5E3B7DA75}"/>
          </ac:spMkLst>
        </pc:spChg>
        <pc:grpChg chg="del">
          <ac:chgData name="Sindija Kirsteine (LV)" userId="5f25501a-2215-4bb3-9d9c-8d1484ffa7c1" providerId="ADAL" clId="{DF8FB14C-655D-4BA6-ACF6-D90558E95229}" dt="2024-06-05T07:56:58.327" v="235" actId="478"/>
          <ac:grpSpMkLst>
            <pc:docMk/>
            <pc:sldMk cId="425128272" sldId="960"/>
            <ac:grpSpMk id="9" creationId="{17CB9501-EA3A-2E37-3C33-CDC8718984BE}"/>
          </ac:grpSpMkLst>
        </pc:grpChg>
        <pc:grpChg chg="add mod">
          <ac:chgData name="Sindija Kirsteine (LV)" userId="5f25501a-2215-4bb3-9d9c-8d1484ffa7c1" providerId="ADAL" clId="{DF8FB14C-655D-4BA6-ACF6-D90558E95229}" dt="2024-06-05T07:56:58.595" v="236"/>
          <ac:grpSpMkLst>
            <pc:docMk/>
            <pc:sldMk cId="425128272" sldId="960"/>
            <ac:grpSpMk id="23" creationId="{01D0352C-5EFF-8890-A8CD-7A69E06720E7}"/>
          </ac:grpSpMkLst>
        </pc:grpChg>
      </pc:sldChg>
      <pc:sldChg chg="addSp delSp modSp mod">
        <pc:chgData name="Sindija Kirsteine (LV)" userId="5f25501a-2215-4bb3-9d9c-8d1484ffa7c1" providerId="ADAL" clId="{DF8FB14C-655D-4BA6-ACF6-D90558E95229}" dt="2024-06-05T08:00:32.422" v="391"/>
        <pc:sldMkLst>
          <pc:docMk/>
          <pc:sldMk cId="4141191697" sldId="963"/>
        </pc:sldMkLst>
        <pc:spChg chg="mod">
          <ac:chgData name="Sindija Kirsteine (LV)" userId="5f25501a-2215-4bb3-9d9c-8d1484ffa7c1" providerId="ADAL" clId="{DF8FB14C-655D-4BA6-ACF6-D90558E95229}" dt="2024-06-05T08:00:32.422" v="391"/>
          <ac:spMkLst>
            <pc:docMk/>
            <pc:sldMk cId="4141191697" sldId="963"/>
            <ac:spMk id="10" creationId="{8CC33394-EBA6-F8B3-884F-79BAB196D95C}"/>
          </ac:spMkLst>
        </pc:spChg>
        <pc:spChg chg="mod">
          <ac:chgData name="Sindija Kirsteine (LV)" userId="5f25501a-2215-4bb3-9d9c-8d1484ffa7c1" providerId="ADAL" clId="{DF8FB14C-655D-4BA6-ACF6-D90558E95229}" dt="2024-06-05T07:56:48.083" v="230"/>
          <ac:spMkLst>
            <pc:docMk/>
            <pc:sldMk cId="4141191697" sldId="963"/>
            <ac:spMk id="22" creationId="{5FEF93E6-3661-FB18-994D-FD9C77CACF09}"/>
          </ac:spMkLst>
        </pc:spChg>
        <pc:spChg chg="mod">
          <ac:chgData name="Sindija Kirsteine (LV)" userId="5f25501a-2215-4bb3-9d9c-8d1484ffa7c1" providerId="ADAL" clId="{DF8FB14C-655D-4BA6-ACF6-D90558E95229}" dt="2024-06-05T07:56:48.083" v="230"/>
          <ac:spMkLst>
            <pc:docMk/>
            <pc:sldMk cId="4141191697" sldId="963"/>
            <ac:spMk id="23" creationId="{1A471FBB-CBDE-07E6-EF89-4B23704000F7}"/>
          </ac:spMkLst>
        </pc:spChg>
        <pc:spChg chg="mod">
          <ac:chgData name="Sindija Kirsteine (LV)" userId="5f25501a-2215-4bb3-9d9c-8d1484ffa7c1" providerId="ADAL" clId="{DF8FB14C-655D-4BA6-ACF6-D90558E95229}" dt="2024-06-05T07:56:48.083" v="230"/>
          <ac:spMkLst>
            <pc:docMk/>
            <pc:sldMk cId="4141191697" sldId="963"/>
            <ac:spMk id="24" creationId="{AE62BBCE-F25A-B4CE-948C-CD97FD5E04C2}"/>
          </ac:spMkLst>
        </pc:spChg>
        <pc:spChg chg="mod">
          <ac:chgData name="Sindija Kirsteine (LV)" userId="5f25501a-2215-4bb3-9d9c-8d1484ffa7c1" providerId="ADAL" clId="{DF8FB14C-655D-4BA6-ACF6-D90558E95229}" dt="2024-06-05T07:56:48.083" v="230"/>
          <ac:spMkLst>
            <pc:docMk/>
            <pc:sldMk cId="4141191697" sldId="963"/>
            <ac:spMk id="28" creationId="{8A1AE69F-C4ED-2DE5-42D7-A1023CD2FC87}"/>
          </ac:spMkLst>
        </pc:spChg>
        <pc:spChg chg="mod">
          <ac:chgData name="Sindija Kirsteine (LV)" userId="5f25501a-2215-4bb3-9d9c-8d1484ffa7c1" providerId="ADAL" clId="{DF8FB14C-655D-4BA6-ACF6-D90558E95229}" dt="2024-06-05T07:56:48.083" v="230"/>
          <ac:spMkLst>
            <pc:docMk/>
            <pc:sldMk cId="4141191697" sldId="963"/>
            <ac:spMk id="31" creationId="{1B7AE801-7219-7B95-8577-2037F01F5027}"/>
          </ac:spMkLst>
        </pc:spChg>
        <pc:spChg chg="mod">
          <ac:chgData name="Sindija Kirsteine (LV)" userId="5f25501a-2215-4bb3-9d9c-8d1484ffa7c1" providerId="ADAL" clId="{DF8FB14C-655D-4BA6-ACF6-D90558E95229}" dt="2024-06-05T07:56:48.083" v="230"/>
          <ac:spMkLst>
            <pc:docMk/>
            <pc:sldMk cId="4141191697" sldId="963"/>
            <ac:spMk id="32" creationId="{E01AECEE-D27D-BEDE-4874-F64E6121656B}"/>
          </ac:spMkLst>
        </pc:spChg>
        <pc:grpChg chg="del">
          <ac:chgData name="Sindija Kirsteine (LV)" userId="5f25501a-2215-4bb3-9d9c-8d1484ffa7c1" providerId="ADAL" clId="{DF8FB14C-655D-4BA6-ACF6-D90558E95229}" dt="2024-06-05T07:56:47.845" v="229" actId="478"/>
          <ac:grpSpMkLst>
            <pc:docMk/>
            <pc:sldMk cId="4141191697" sldId="963"/>
            <ac:grpSpMk id="11" creationId="{7ED52A36-420B-20FB-FC71-B6C4A5EF3012}"/>
          </ac:grpSpMkLst>
        </pc:grpChg>
        <pc:grpChg chg="add mod">
          <ac:chgData name="Sindija Kirsteine (LV)" userId="5f25501a-2215-4bb3-9d9c-8d1484ffa7c1" providerId="ADAL" clId="{DF8FB14C-655D-4BA6-ACF6-D90558E95229}" dt="2024-06-05T07:56:48.083" v="230"/>
          <ac:grpSpMkLst>
            <pc:docMk/>
            <pc:sldMk cId="4141191697" sldId="963"/>
            <ac:grpSpMk id="19" creationId="{77F40A71-4756-E1A8-F5BB-9D3C68C9E1AA}"/>
          </ac:grpSpMkLst>
        </pc:grpChg>
      </pc:sldChg>
      <pc:sldChg chg="addSp delSp modSp mod">
        <pc:chgData name="Sindija Kirsteine (LV)" userId="5f25501a-2215-4bb3-9d9c-8d1484ffa7c1" providerId="ADAL" clId="{DF8FB14C-655D-4BA6-ACF6-D90558E95229}" dt="2024-06-05T08:00:35.829" v="393"/>
        <pc:sldMkLst>
          <pc:docMk/>
          <pc:sldMk cId="1785961526" sldId="964"/>
        </pc:sldMkLst>
        <pc:spChg chg="mod">
          <ac:chgData name="Sindija Kirsteine (LV)" userId="5f25501a-2215-4bb3-9d9c-8d1484ffa7c1" providerId="ADAL" clId="{DF8FB14C-655D-4BA6-ACF6-D90558E95229}" dt="2024-06-05T08:00:35.829" v="393"/>
          <ac:spMkLst>
            <pc:docMk/>
            <pc:sldMk cId="1785961526" sldId="964"/>
            <ac:spMk id="2" creationId="{704047AB-6DDC-C2CE-C1C1-09F2077282B4}"/>
          </ac:spMkLst>
        </pc:spChg>
        <pc:spChg chg="mod">
          <ac:chgData name="Sindija Kirsteine (LV)" userId="5f25501a-2215-4bb3-9d9c-8d1484ffa7c1" providerId="ADAL" clId="{DF8FB14C-655D-4BA6-ACF6-D90558E95229}" dt="2024-06-05T07:56:53.521" v="233"/>
          <ac:spMkLst>
            <pc:docMk/>
            <pc:sldMk cId="1785961526" sldId="964"/>
            <ac:spMk id="27" creationId="{1FA38FE2-B819-0F10-F4DA-3EB2085691EE}"/>
          </ac:spMkLst>
        </pc:spChg>
        <pc:spChg chg="mod">
          <ac:chgData name="Sindija Kirsteine (LV)" userId="5f25501a-2215-4bb3-9d9c-8d1484ffa7c1" providerId="ADAL" clId="{DF8FB14C-655D-4BA6-ACF6-D90558E95229}" dt="2024-06-05T07:56:53.521" v="233"/>
          <ac:spMkLst>
            <pc:docMk/>
            <pc:sldMk cId="1785961526" sldId="964"/>
            <ac:spMk id="28" creationId="{6D654D86-3797-D9EB-F1A6-B29D4C7C21E4}"/>
          </ac:spMkLst>
        </pc:spChg>
        <pc:spChg chg="mod">
          <ac:chgData name="Sindija Kirsteine (LV)" userId="5f25501a-2215-4bb3-9d9c-8d1484ffa7c1" providerId="ADAL" clId="{DF8FB14C-655D-4BA6-ACF6-D90558E95229}" dt="2024-06-05T07:56:53.521" v="233"/>
          <ac:spMkLst>
            <pc:docMk/>
            <pc:sldMk cId="1785961526" sldId="964"/>
            <ac:spMk id="31" creationId="{7BD73179-FF7D-4D50-3CED-8C4DC387872A}"/>
          </ac:spMkLst>
        </pc:spChg>
        <pc:spChg chg="mod">
          <ac:chgData name="Sindija Kirsteine (LV)" userId="5f25501a-2215-4bb3-9d9c-8d1484ffa7c1" providerId="ADAL" clId="{DF8FB14C-655D-4BA6-ACF6-D90558E95229}" dt="2024-06-05T07:56:53.521" v="233"/>
          <ac:spMkLst>
            <pc:docMk/>
            <pc:sldMk cId="1785961526" sldId="964"/>
            <ac:spMk id="32" creationId="{640111BB-544F-C37F-30C2-95F3A913D117}"/>
          </ac:spMkLst>
        </pc:spChg>
        <pc:spChg chg="mod">
          <ac:chgData name="Sindija Kirsteine (LV)" userId="5f25501a-2215-4bb3-9d9c-8d1484ffa7c1" providerId="ADAL" clId="{DF8FB14C-655D-4BA6-ACF6-D90558E95229}" dt="2024-06-05T07:56:53.521" v="233"/>
          <ac:spMkLst>
            <pc:docMk/>
            <pc:sldMk cId="1785961526" sldId="964"/>
            <ac:spMk id="33" creationId="{10B0B677-8CBE-4308-43DC-3861B79872A8}"/>
          </ac:spMkLst>
        </pc:spChg>
        <pc:spChg chg="mod">
          <ac:chgData name="Sindija Kirsteine (LV)" userId="5f25501a-2215-4bb3-9d9c-8d1484ffa7c1" providerId="ADAL" clId="{DF8FB14C-655D-4BA6-ACF6-D90558E95229}" dt="2024-06-05T07:56:53.521" v="233"/>
          <ac:spMkLst>
            <pc:docMk/>
            <pc:sldMk cId="1785961526" sldId="964"/>
            <ac:spMk id="34" creationId="{92493A1B-2C63-A047-7A22-4E58FB37CD9A}"/>
          </ac:spMkLst>
        </pc:spChg>
        <pc:grpChg chg="del">
          <ac:chgData name="Sindija Kirsteine (LV)" userId="5f25501a-2215-4bb3-9d9c-8d1484ffa7c1" providerId="ADAL" clId="{DF8FB14C-655D-4BA6-ACF6-D90558E95229}" dt="2024-06-05T07:56:53.282" v="232" actId="478"/>
          <ac:grpSpMkLst>
            <pc:docMk/>
            <pc:sldMk cId="1785961526" sldId="964"/>
            <ac:grpSpMk id="6" creationId="{F8DC2B36-F945-99C2-8710-1BD7F3813485}"/>
          </ac:grpSpMkLst>
        </pc:grpChg>
        <pc:grpChg chg="add mod">
          <ac:chgData name="Sindija Kirsteine (LV)" userId="5f25501a-2215-4bb3-9d9c-8d1484ffa7c1" providerId="ADAL" clId="{DF8FB14C-655D-4BA6-ACF6-D90558E95229}" dt="2024-06-05T07:56:53.521" v="233"/>
          <ac:grpSpMkLst>
            <pc:docMk/>
            <pc:sldMk cId="1785961526" sldId="964"/>
            <ac:grpSpMk id="23" creationId="{3F5EF839-D7BE-7BCE-210A-3BADB5405ED6}"/>
          </ac:grpSpMkLst>
        </pc:grpChg>
      </pc:sldChg>
      <pc:sldChg chg="modSp mod">
        <pc:chgData name="Sindija Kirsteine (LV)" userId="5f25501a-2215-4bb3-9d9c-8d1484ffa7c1" providerId="ADAL" clId="{DF8FB14C-655D-4BA6-ACF6-D90558E95229}" dt="2024-06-05T11:54:46.111" v="489" actId="403"/>
        <pc:sldMkLst>
          <pc:docMk/>
          <pc:sldMk cId="4177676083" sldId="2147482025"/>
        </pc:sldMkLst>
        <pc:spChg chg="mod">
          <ac:chgData name="Sindija Kirsteine (LV)" userId="5f25501a-2215-4bb3-9d9c-8d1484ffa7c1" providerId="ADAL" clId="{DF8FB14C-655D-4BA6-ACF6-D90558E95229}" dt="2024-06-05T07:58:46.746" v="321"/>
          <ac:spMkLst>
            <pc:docMk/>
            <pc:sldMk cId="4177676083" sldId="2147482025"/>
            <ac:spMk id="2" creationId="{56F2AB26-56CB-48B7-4C20-5421B6EF2D40}"/>
          </ac:spMkLst>
        </pc:spChg>
        <pc:spChg chg="mod">
          <ac:chgData name="Sindija Kirsteine (LV)" userId="5f25501a-2215-4bb3-9d9c-8d1484ffa7c1" providerId="ADAL" clId="{DF8FB14C-655D-4BA6-ACF6-D90558E95229}" dt="2024-06-05T11:54:42.640" v="488" actId="20577"/>
          <ac:spMkLst>
            <pc:docMk/>
            <pc:sldMk cId="4177676083" sldId="2147482025"/>
            <ac:spMk id="3" creationId="{4EF6DB77-182C-C281-1C2F-C2E2D9AB6583}"/>
          </ac:spMkLst>
        </pc:spChg>
        <pc:spChg chg="mod">
          <ac:chgData name="Sindija Kirsteine (LV)" userId="5f25501a-2215-4bb3-9d9c-8d1484ffa7c1" providerId="ADAL" clId="{DF8FB14C-655D-4BA6-ACF6-D90558E95229}" dt="2024-06-05T11:54:46.111" v="489" actId="403"/>
          <ac:spMkLst>
            <pc:docMk/>
            <pc:sldMk cId="4177676083" sldId="2147482025"/>
            <ac:spMk id="6" creationId="{2CB3F9F5-858C-1D21-4D13-EAEDABE2E74A}"/>
          </ac:spMkLst>
        </pc:spChg>
      </pc:sldChg>
    </pc:docChg>
  </pc:docChgLst>
  <pc:docChgLst>
    <pc:chgData name="Annemarija Apine (LV)" userId="546f5c59-3b8d-47fd-b739-a8fadc631053" providerId="ADAL" clId="{EA0F6347-4EA8-409E-BDE8-D33307C57B56}"/>
    <pc:docChg chg="undo custSel addSld modSld replTag">
      <pc:chgData name="Annemarija Apine (LV)" userId="546f5c59-3b8d-47fd-b739-a8fadc631053" providerId="ADAL" clId="{EA0F6347-4EA8-409E-BDE8-D33307C57B56}" dt="2024-04-10T14:47:58.553" v="36" actId="1035"/>
      <pc:docMkLst>
        <pc:docMk/>
      </pc:docMkLst>
      <pc:sldChg chg="addSp delSp modSp mod">
        <pc:chgData name="Annemarija Apine (LV)" userId="546f5c59-3b8d-47fd-b739-a8fadc631053" providerId="ADAL" clId="{EA0F6347-4EA8-409E-BDE8-D33307C57B56}" dt="2024-04-10T14:47:58.553" v="36" actId="1035"/>
        <pc:sldMkLst>
          <pc:docMk/>
          <pc:sldMk cId="817197616" sldId="332"/>
        </pc:sldMkLst>
        <pc:spChg chg="add mod">
          <ac:chgData name="Annemarija Apine (LV)" userId="546f5c59-3b8d-47fd-b739-a8fadc631053" providerId="ADAL" clId="{EA0F6347-4EA8-409E-BDE8-D33307C57B56}" dt="2024-04-10T14:46:53.167" v="12" actId="1076"/>
          <ac:spMkLst>
            <pc:docMk/>
            <pc:sldMk cId="817197616" sldId="332"/>
            <ac:spMk id="2" creationId="{6CD79AD3-DFF9-757B-88AD-BE561ACC5FF3}"/>
          </ac:spMkLst>
        </pc:spChg>
        <pc:spChg chg="mod">
          <ac:chgData name="Annemarija Apine (LV)" userId="546f5c59-3b8d-47fd-b739-a8fadc631053" providerId="ADAL" clId="{EA0F6347-4EA8-409E-BDE8-D33307C57B56}" dt="2024-04-10T14:47:08.145" v="15" actId="2711"/>
          <ac:spMkLst>
            <pc:docMk/>
            <pc:sldMk cId="817197616" sldId="332"/>
            <ac:spMk id="4" creationId="{0C2CD556-83F4-5719-B366-7C2EFECB11A1}"/>
          </ac:spMkLst>
        </pc:spChg>
        <pc:spChg chg="add mod">
          <ac:chgData name="Annemarija Apine (LV)" userId="546f5c59-3b8d-47fd-b739-a8fadc631053" providerId="ADAL" clId="{EA0F6347-4EA8-409E-BDE8-D33307C57B56}" dt="2024-04-10T14:47:01.197" v="14" actId="1076"/>
          <ac:spMkLst>
            <pc:docMk/>
            <pc:sldMk cId="817197616" sldId="332"/>
            <ac:spMk id="7" creationId="{087A0670-7B05-0F04-BB8E-80FDBC9F6D59}"/>
          </ac:spMkLst>
        </pc:spChg>
        <pc:spChg chg="add mod ord">
          <ac:chgData name="Annemarija Apine (LV)" userId="546f5c59-3b8d-47fd-b739-a8fadc631053" providerId="ADAL" clId="{EA0F6347-4EA8-409E-BDE8-D33307C57B56}" dt="2024-04-10T14:47:58.553" v="36" actId="1035"/>
          <ac:spMkLst>
            <pc:docMk/>
            <pc:sldMk cId="817197616" sldId="332"/>
            <ac:spMk id="23" creationId="{82B2653B-EFB9-4261-D74B-45F171FB8BD0}"/>
          </ac:spMkLst>
        </pc:spChg>
        <pc:picChg chg="del">
          <ac:chgData name="Annemarija Apine (LV)" userId="546f5c59-3b8d-47fd-b739-a8fadc631053" providerId="ADAL" clId="{EA0F6347-4EA8-409E-BDE8-D33307C57B56}" dt="2024-04-10T14:47:19.208" v="16" actId="478"/>
          <ac:picMkLst>
            <pc:docMk/>
            <pc:sldMk cId="817197616" sldId="332"/>
            <ac:picMk id="3" creationId="{4D1170B7-6EE5-270B-66A8-10AD07C6BBCA}"/>
          </ac:picMkLst>
        </pc:picChg>
        <pc:picChg chg="add del mod">
          <ac:chgData name="Annemarija Apine (LV)" userId="546f5c59-3b8d-47fd-b739-a8fadc631053" providerId="ADAL" clId="{EA0F6347-4EA8-409E-BDE8-D33307C57B56}" dt="2024-04-10T14:47:22.136" v="18"/>
          <ac:picMkLst>
            <pc:docMk/>
            <pc:sldMk cId="817197616" sldId="332"/>
            <ac:picMk id="8" creationId="{15B225C4-C8EE-8826-24D3-0BFC3E01F44B}"/>
          </ac:picMkLst>
        </pc:picChg>
        <pc:picChg chg="add mod">
          <ac:chgData name="Annemarija Apine (LV)" userId="546f5c59-3b8d-47fd-b739-a8fadc631053" providerId="ADAL" clId="{EA0F6347-4EA8-409E-BDE8-D33307C57B56}" dt="2024-04-10T14:47:27.714" v="20" actId="1076"/>
          <ac:picMkLst>
            <pc:docMk/>
            <pc:sldMk cId="817197616" sldId="332"/>
            <ac:picMk id="22" creationId="{25C36F20-0FAA-47F0-980A-D1C8C7D453C3}"/>
          </ac:picMkLst>
        </pc:picChg>
      </pc:sldChg>
      <pc:sldChg chg="addSp delSp modSp add mod">
        <pc:chgData name="Annemarija Apine (LV)" userId="546f5c59-3b8d-47fd-b739-a8fadc631053" providerId="ADAL" clId="{EA0F6347-4EA8-409E-BDE8-D33307C57B56}" dt="2024-04-10T14:46:14.606" v="9"/>
        <pc:sldMkLst>
          <pc:docMk/>
          <pc:sldMk cId="4177676083" sldId="2147482025"/>
        </pc:sldMkLst>
        <pc:spChg chg="add mod">
          <ac:chgData name="Annemarija Apine (LV)" userId="546f5c59-3b8d-47fd-b739-a8fadc631053" providerId="ADAL" clId="{EA0F6347-4EA8-409E-BDE8-D33307C57B56}" dt="2024-04-10T14:45:44.543" v="5"/>
          <ac:spMkLst>
            <pc:docMk/>
            <pc:sldMk cId="4177676083" sldId="2147482025"/>
            <ac:spMk id="2" creationId="{56F2AB26-56CB-48B7-4C20-5421B6EF2D40}"/>
          </ac:spMkLst>
        </pc:spChg>
        <pc:spChg chg="mod">
          <ac:chgData name="Annemarija Apine (LV)" userId="546f5c59-3b8d-47fd-b739-a8fadc631053" providerId="ADAL" clId="{EA0F6347-4EA8-409E-BDE8-D33307C57B56}" dt="2024-04-10T14:46:14.606" v="9"/>
          <ac:spMkLst>
            <pc:docMk/>
            <pc:sldMk cId="4177676083" sldId="2147482025"/>
            <ac:spMk id="3" creationId="{4EF6DB77-182C-C281-1C2F-C2E2D9AB6583}"/>
          </ac:spMkLst>
        </pc:spChg>
        <pc:spChg chg="del">
          <ac:chgData name="Annemarija Apine (LV)" userId="546f5c59-3b8d-47fd-b739-a8fadc631053" providerId="ADAL" clId="{EA0F6347-4EA8-409E-BDE8-D33307C57B56}" dt="2024-04-10T14:45:44.293" v="4" actId="478"/>
          <ac:spMkLst>
            <pc:docMk/>
            <pc:sldMk cId="4177676083" sldId="2147482025"/>
            <ac:spMk id="5" creationId="{51FF591A-BE7D-9D08-07A8-C256796CC98A}"/>
          </ac:spMkLst>
        </pc:spChg>
        <pc:spChg chg="mod">
          <ac:chgData name="Annemarija Apine (LV)" userId="546f5c59-3b8d-47fd-b739-a8fadc631053" providerId="ADAL" clId="{EA0F6347-4EA8-409E-BDE8-D33307C57B56}" dt="2024-04-10T14:46:08.460" v="8"/>
          <ac:spMkLst>
            <pc:docMk/>
            <pc:sldMk cId="4177676083" sldId="2147482025"/>
            <ac:spMk id="6" creationId="{2CB3F9F5-858C-1D21-4D13-EAEDABE2E74A}"/>
          </ac:spMkLst>
        </pc:spChg>
      </pc:sldChg>
    </pc:docChg>
  </pc:docChgLst>
  <pc:docChgLst>
    <pc:chgData name="Ramona Daukste (LV)" userId="cb110d71-928f-4029-96c9-9e7c32e592fe" providerId="ADAL" clId="{C5DC3D82-2C0A-4A6C-AC58-8884C18EFE3B}"/>
    <pc:docChg chg="undo redo custSel modSld">
      <pc:chgData name="Ramona Daukste (LV)" userId="cb110d71-928f-4029-96c9-9e7c32e592fe" providerId="ADAL" clId="{C5DC3D82-2C0A-4A6C-AC58-8884C18EFE3B}" dt="2024-03-12T11:34:42.271" v="348"/>
      <pc:docMkLst>
        <pc:docMk/>
      </pc:docMkLst>
      <pc:sldChg chg="modSp mod">
        <pc:chgData name="Ramona Daukste (LV)" userId="cb110d71-928f-4029-96c9-9e7c32e592fe" providerId="ADAL" clId="{C5DC3D82-2C0A-4A6C-AC58-8884C18EFE3B}" dt="2024-03-12T09:16:23.407" v="223" actId="1037"/>
        <pc:sldMkLst>
          <pc:docMk/>
          <pc:sldMk cId="817197616" sldId="332"/>
        </pc:sldMkLst>
        <pc:spChg chg="mod">
          <ac:chgData name="Ramona Daukste (LV)" userId="cb110d71-928f-4029-96c9-9e7c32e592fe" providerId="ADAL" clId="{C5DC3D82-2C0A-4A6C-AC58-8884C18EFE3B}" dt="2024-03-12T09:16:23.407" v="223" actId="1037"/>
          <ac:spMkLst>
            <pc:docMk/>
            <pc:sldMk cId="817197616" sldId="332"/>
            <ac:spMk id="5" creationId="{C96382F6-4886-AE1D-4E3B-B7A6D20F4B2E}"/>
          </ac:spMkLst>
        </pc:spChg>
        <pc:spChg chg="mod">
          <ac:chgData name="Ramona Daukste (LV)" userId="cb110d71-928f-4029-96c9-9e7c32e592fe" providerId="ADAL" clId="{C5DC3D82-2C0A-4A6C-AC58-8884C18EFE3B}" dt="2024-03-12T09:15:50.343" v="114" actId="1076"/>
          <ac:spMkLst>
            <pc:docMk/>
            <pc:sldMk cId="817197616" sldId="332"/>
            <ac:spMk id="15" creationId="{BE44F20B-FA95-2861-40B9-74FCD9F509AC}"/>
          </ac:spMkLst>
        </pc:spChg>
        <pc:picChg chg="mod">
          <ac:chgData name="Ramona Daukste (LV)" userId="cb110d71-928f-4029-96c9-9e7c32e592fe" providerId="ADAL" clId="{C5DC3D82-2C0A-4A6C-AC58-8884C18EFE3B}" dt="2024-03-12T09:16:23.407" v="223" actId="1037"/>
          <ac:picMkLst>
            <pc:docMk/>
            <pc:sldMk cId="817197616" sldId="332"/>
            <ac:picMk id="3" creationId="{4D1170B7-6EE5-270B-66A8-10AD07C6BBCA}"/>
          </ac:picMkLst>
        </pc:picChg>
        <pc:picChg chg="mod">
          <ac:chgData name="Ramona Daukste (LV)" userId="cb110d71-928f-4029-96c9-9e7c32e592fe" providerId="ADAL" clId="{C5DC3D82-2C0A-4A6C-AC58-8884C18EFE3B}" dt="2024-03-12T09:16:23.407" v="223" actId="1037"/>
          <ac:picMkLst>
            <pc:docMk/>
            <pc:sldMk cId="817197616" sldId="332"/>
            <ac:picMk id="1028" creationId="{49D69959-2997-0541-EBD2-EA679BB87816}"/>
          </ac:picMkLst>
        </pc:picChg>
      </pc:sldChg>
      <pc:sldChg chg="modSp mod">
        <pc:chgData name="Ramona Daukste (LV)" userId="cb110d71-928f-4029-96c9-9e7c32e592fe" providerId="ADAL" clId="{C5DC3D82-2C0A-4A6C-AC58-8884C18EFE3B}" dt="2024-03-12T09:19:35.367" v="224" actId="20577"/>
        <pc:sldMkLst>
          <pc:docMk/>
          <pc:sldMk cId="795685229" sldId="904"/>
        </pc:sldMkLst>
        <pc:spChg chg="mod">
          <ac:chgData name="Ramona Daukste (LV)" userId="cb110d71-928f-4029-96c9-9e7c32e592fe" providerId="ADAL" clId="{C5DC3D82-2C0A-4A6C-AC58-8884C18EFE3B}" dt="2024-03-12T09:19:35.367" v="224" actId="20577"/>
          <ac:spMkLst>
            <pc:docMk/>
            <pc:sldMk cId="795685229" sldId="904"/>
            <ac:spMk id="59" creationId="{34CAA65D-F32B-4FFB-DA56-9F4BF785AA35}"/>
          </ac:spMkLst>
        </pc:spChg>
      </pc:sldChg>
      <pc:sldChg chg="addCm">
        <pc:chgData name="Ramona Daukste (LV)" userId="cb110d71-928f-4029-96c9-9e7c32e592fe" providerId="ADAL" clId="{C5DC3D82-2C0A-4A6C-AC58-8884C18EFE3B}" dt="2024-03-12T09:21:03.284" v="225"/>
        <pc:sldMkLst>
          <pc:docMk/>
          <pc:sldMk cId="2300626159" sldId="908"/>
        </pc:sldMkLst>
        <pc:extLst>
          <p:ext xmlns:p="http://schemas.openxmlformats.org/presentationml/2006/main" uri="{D6D511B9-2390-475A-947B-AFAB55BFBCF1}">
            <pc226:cmChg xmlns:pc226="http://schemas.microsoft.com/office/powerpoint/2022/06/main/command" chg="add">
              <pc226:chgData name="Ramona Daukste (LV)" userId="cb110d71-928f-4029-96c9-9e7c32e592fe" providerId="ADAL" clId="{C5DC3D82-2C0A-4A6C-AC58-8884C18EFE3B}" dt="2024-03-12T09:21:03.284" v="225"/>
              <pc2:cmMkLst xmlns:pc2="http://schemas.microsoft.com/office/powerpoint/2019/9/main/command">
                <pc:docMk/>
                <pc:sldMk cId="2300626159" sldId="908"/>
                <pc2:cmMk id="{244EB0D3-63C7-4555-A81F-CBB2872954E1}"/>
              </pc2:cmMkLst>
            </pc226:cmChg>
          </p:ext>
        </pc:extLst>
      </pc:sldChg>
      <pc:sldChg chg="modSp mod">
        <pc:chgData name="Ramona Daukste (LV)" userId="cb110d71-928f-4029-96c9-9e7c32e592fe" providerId="ADAL" clId="{C5DC3D82-2C0A-4A6C-AC58-8884C18EFE3B}" dt="2024-03-12T09:21:41.627" v="233" actId="20577"/>
        <pc:sldMkLst>
          <pc:docMk/>
          <pc:sldMk cId="1764034675" sldId="909"/>
        </pc:sldMkLst>
        <pc:spChg chg="mod">
          <ac:chgData name="Ramona Daukste (LV)" userId="cb110d71-928f-4029-96c9-9e7c32e592fe" providerId="ADAL" clId="{C5DC3D82-2C0A-4A6C-AC58-8884C18EFE3B}" dt="2024-03-12T09:21:26.475" v="226" actId="20577"/>
          <ac:spMkLst>
            <pc:docMk/>
            <pc:sldMk cId="1764034675" sldId="909"/>
            <ac:spMk id="19" creationId="{EF4D8BEF-8566-D43D-9B28-E036D42EE6BC}"/>
          </ac:spMkLst>
        </pc:spChg>
        <pc:spChg chg="mod">
          <ac:chgData name="Ramona Daukste (LV)" userId="cb110d71-928f-4029-96c9-9e7c32e592fe" providerId="ADAL" clId="{C5DC3D82-2C0A-4A6C-AC58-8884C18EFE3B}" dt="2024-03-12T09:21:30.504" v="227" actId="20577"/>
          <ac:spMkLst>
            <pc:docMk/>
            <pc:sldMk cId="1764034675" sldId="909"/>
            <ac:spMk id="24" creationId="{239B8622-318D-D173-F478-CF1A7EC16B5E}"/>
          </ac:spMkLst>
        </pc:spChg>
        <pc:spChg chg="mod">
          <ac:chgData name="Ramona Daukste (LV)" userId="cb110d71-928f-4029-96c9-9e7c32e592fe" providerId="ADAL" clId="{C5DC3D82-2C0A-4A6C-AC58-8884C18EFE3B}" dt="2024-03-12T09:21:32.572" v="228" actId="20577"/>
          <ac:spMkLst>
            <pc:docMk/>
            <pc:sldMk cId="1764034675" sldId="909"/>
            <ac:spMk id="28" creationId="{A914D302-8B7D-1F34-FE6F-2FA8E18E28AD}"/>
          </ac:spMkLst>
        </pc:spChg>
        <pc:spChg chg="mod">
          <ac:chgData name="Ramona Daukste (LV)" userId="cb110d71-928f-4029-96c9-9e7c32e592fe" providerId="ADAL" clId="{C5DC3D82-2C0A-4A6C-AC58-8884C18EFE3B}" dt="2024-03-12T09:21:38.523" v="231" actId="20577"/>
          <ac:spMkLst>
            <pc:docMk/>
            <pc:sldMk cId="1764034675" sldId="909"/>
            <ac:spMk id="34" creationId="{2E292E14-80B0-C799-DCA3-1B141B1D2C6D}"/>
          </ac:spMkLst>
        </pc:spChg>
        <pc:spChg chg="mod">
          <ac:chgData name="Ramona Daukste (LV)" userId="cb110d71-928f-4029-96c9-9e7c32e592fe" providerId="ADAL" clId="{C5DC3D82-2C0A-4A6C-AC58-8884C18EFE3B}" dt="2024-03-12T09:21:40.496" v="232" actId="20577"/>
          <ac:spMkLst>
            <pc:docMk/>
            <pc:sldMk cId="1764034675" sldId="909"/>
            <ac:spMk id="37" creationId="{94812D46-A915-8FCC-CF16-5E3844875EA5}"/>
          </ac:spMkLst>
        </pc:spChg>
        <pc:spChg chg="mod">
          <ac:chgData name="Ramona Daukste (LV)" userId="cb110d71-928f-4029-96c9-9e7c32e592fe" providerId="ADAL" clId="{C5DC3D82-2C0A-4A6C-AC58-8884C18EFE3B}" dt="2024-03-12T09:21:41.627" v="233" actId="20577"/>
          <ac:spMkLst>
            <pc:docMk/>
            <pc:sldMk cId="1764034675" sldId="909"/>
            <ac:spMk id="40" creationId="{D1B7C728-9ECB-FC52-795D-8049E21F1FC0}"/>
          </ac:spMkLst>
        </pc:spChg>
      </pc:sldChg>
      <pc:sldChg chg="addCm">
        <pc:chgData name="Ramona Daukste (LV)" userId="cb110d71-928f-4029-96c9-9e7c32e592fe" providerId="ADAL" clId="{C5DC3D82-2C0A-4A6C-AC58-8884C18EFE3B}" dt="2024-03-12T09:25:32.123" v="254"/>
        <pc:sldMkLst>
          <pc:docMk/>
          <pc:sldMk cId="3429470186" sldId="914"/>
        </pc:sldMkLst>
        <pc:extLst>
          <p:ext xmlns:p="http://schemas.openxmlformats.org/presentationml/2006/main" uri="{D6D511B9-2390-475A-947B-AFAB55BFBCF1}">
            <pc226:cmChg xmlns:pc226="http://schemas.microsoft.com/office/powerpoint/2022/06/main/command" chg="add">
              <pc226:chgData name="Ramona Daukste (LV)" userId="cb110d71-928f-4029-96c9-9e7c32e592fe" providerId="ADAL" clId="{C5DC3D82-2C0A-4A6C-AC58-8884C18EFE3B}" dt="2024-03-12T09:25:32.123" v="254"/>
              <pc2:cmMkLst xmlns:pc2="http://schemas.microsoft.com/office/powerpoint/2019/9/main/command">
                <pc:docMk/>
                <pc:sldMk cId="3429470186" sldId="914"/>
                <pc2:cmMk id="{0C7C53F7-5476-45C0-9A4C-87C4695D0797}"/>
              </pc2:cmMkLst>
            </pc226:cmChg>
          </p:ext>
        </pc:extLst>
      </pc:sldChg>
      <pc:sldChg chg="modSp mod">
        <pc:chgData name="Ramona Daukste (LV)" userId="cb110d71-928f-4029-96c9-9e7c32e592fe" providerId="ADAL" clId="{C5DC3D82-2C0A-4A6C-AC58-8884C18EFE3B}" dt="2024-03-12T09:27:30.020" v="255" actId="20577"/>
        <pc:sldMkLst>
          <pc:docMk/>
          <pc:sldMk cId="4273639525" sldId="917"/>
        </pc:sldMkLst>
        <pc:spChg chg="mod">
          <ac:chgData name="Ramona Daukste (LV)" userId="cb110d71-928f-4029-96c9-9e7c32e592fe" providerId="ADAL" clId="{C5DC3D82-2C0A-4A6C-AC58-8884C18EFE3B}" dt="2024-03-12T09:27:30.020" v="255" actId="20577"/>
          <ac:spMkLst>
            <pc:docMk/>
            <pc:sldMk cId="4273639525" sldId="917"/>
            <ac:spMk id="20" creationId="{71A7C7C0-2A0C-7790-FB11-2C935A397516}"/>
          </ac:spMkLst>
        </pc:spChg>
      </pc:sldChg>
      <pc:sldChg chg="modSp mod">
        <pc:chgData name="Ramona Daukste (LV)" userId="cb110d71-928f-4029-96c9-9e7c32e592fe" providerId="ADAL" clId="{C5DC3D82-2C0A-4A6C-AC58-8884C18EFE3B}" dt="2024-03-12T09:24:24.446" v="253" actId="20577"/>
        <pc:sldMkLst>
          <pc:docMk/>
          <pc:sldMk cId="3431578971" sldId="931"/>
        </pc:sldMkLst>
        <pc:spChg chg="mod">
          <ac:chgData name="Ramona Daukste (LV)" userId="cb110d71-928f-4029-96c9-9e7c32e592fe" providerId="ADAL" clId="{C5DC3D82-2C0A-4A6C-AC58-8884C18EFE3B}" dt="2024-03-12T09:24:24.446" v="253" actId="20577"/>
          <ac:spMkLst>
            <pc:docMk/>
            <pc:sldMk cId="3431578971" sldId="931"/>
            <ac:spMk id="21" creationId="{78DC1799-6B68-492D-BBE0-D7BECB3D58E6}"/>
          </ac:spMkLst>
        </pc:spChg>
        <pc:spChg chg="mod">
          <ac:chgData name="Ramona Daukste (LV)" userId="cb110d71-928f-4029-96c9-9e7c32e592fe" providerId="ADAL" clId="{C5DC3D82-2C0A-4A6C-AC58-8884C18EFE3B}" dt="2024-03-12T09:24:23.859" v="252" actId="20577"/>
          <ac:spMkLst>
            <pc:docMk/>
            <pc:sldMk cId="3431578971" sldId="931"/>
            <ac:spMk id="100" creationId="{6196419E-02BA-D21D-1546-F1EC7C2A2D38}"/>
          </ac:spMkLst>
        </pc:spChg>
        <pc:spChg chg="mod">
          <ac:chgData name="Ramona Daukste (LV)" userId="cb110d71-928f-4029-96c9-9e7c32e592fe" providerId="ADAL" clId="{C5DC3D82-2C0A-4A6C-AC58-8884C18EFE3B}" dt="2024-03-12T09:24:22.739" v="250" actId="20577"/>
          <ac:spMkLst>
            <pc:docMk/>
            <pc:sldMk cId="3431578971" sldId="931"/>
            <ac:spMk id="101" creationId="{9ECA4B5E-E4A7-485E-4742-A7A24FB938CD}"/>
          </ac:spMkLst>
        </pc:spChg>
        <pc:spChg chg="mod">
          <ac:chgData name="Ramona Daukste (LV)" userId="cb110d71-928f-4029-96c9-9e7c32e592fe" providerId="ADAL" clId="{C5DC3D82-2C0A-4A6C-AC58-8884C18EFE3B}" dt="2024-03-12T09:24:22.571" v="249" actId="20577"/>
          <ac:spMkLst>
            <pc:docMk/>
            <pc:sldMk cId="3431578971" sldId="931"/>
            <ac:spMk id="102" creationId="{6C2839D0-72C0-7347-1A1F-A4C976165D3B}"/>
          </ac:spMkLst>
        </pc:spChg>
        <pc:spChg chg="mod">
          <ac:chgData name="Ramona Daukste (LV)" userId="cb110d71-928f-4029-96c9-9e7c32e592fe" providerId="ADAL" clId="{C5DC3D82-2C0A-4A6C-AC58-8884C18EFE3B}" dt="2024-03-12T09:24:21.473" v="247" actId="20577"/>
          <ac:spMkLst>
            <pc:docMk/>
            <pc:sldMk cId="3431578971" sldId="931"/>
            <ac:spMk id="103" creationId="{20162A1E-1272-A65F-9743-08A1C56CDD8F}"/>
          </ac:spMkLst>
        </pc:spChg>
        <pc:spChg chg="mod">
          <ac:chgData name="Ramona Daukste (LV)" userId="cb110d71-928f-4029-96c9-9e7c32e592fe" providerId="ADAL" clId="{C5DC3D82-2C0A-4A6C-AC58-8884C18EFE3B}" dt="2024-03-12T09:24:21.037" v="246" actId="20577"/>
          <ac:spMkLst>
            <pc:docMk/>
            <pc:sldMk cId="3431578971" sldId="931"/>
            <ac:spMk id="104" creationId="{C489AEBB-7FB2-EC1A-2DC3-18B08D331418}"/>
          </ac:spMkLst>
        </pc:spChg>
        <pc:spChg chg="mod">
          <ac:chgData name="Ramona Daukste (LV)" userId="cb110d71-928f-4029-96c9-9e7c32e592fe" providerId="ADAL" clId="{C5DC3D82-2C0A-4A6C-AC58-8884C18EFE3B}" dt="2024-03-12T09:24:23.286" v="251" actId="20577"/>
          <ac:spMkLst>
            <pc:docMk/>
            <pc:sldMk cId="3431578971" sldId="931"/>
            <ac:spMk id="107" creationId="{5E4C4BD5-129E-6AAF-672B-2CE5A9EA1809}"/>
          </ac:spMkLst>
        </pc:spChg>
        <pc:spChg chg="mod">
          <ac:chgData name="Ramona Daukste (LV)" userId="cb110d71-928f-4029-96c9-9e7c32e592fe" providerId="ADAL" clId="{C5DC3D82-2C0A-4A6C-AC58-8884C18EFE3B}" dt="2024-03-12T09:24:22.035" v="248" actId="20577"/>
          <ac:spMkLst>
            <pc:docMk/>
            <pc:sldMk cId="3431578971" sldId="931"/>
            <ac:spMk id="108" creationId="{374ED229-16EB-16FE-4EEB-6C75D32758A7}"/>
          </ac:spMkLst>
        </pc:spChg>
      </pc:sldChg>
      <pc:sldChg chg="modSp mod">
        <pc:chgData name="Ramona Daukste (LV)" userId="cb110d71-928f-4029-96c9-9e7c32e592fe" providerId="ADAL" clId="{C5DC3D82-2C0A-4A6C-AC58-8884C18EFE3B}" dt="2024-03-12T10:42:53.835" v="344" actId="20577"/>
        <pc:sldMkLst>
          <pc:docMk/>
          <pc:sldMk cId="2803239078" sldId="935"/>
        </pc:sldMkLst>
        <pc:spChg chg="mod">
          <ac:chgData name="Ramona Daukste (LV)" userId="cb110d71-928f-4029-96c9-9e7c32e592fe" providerId="ADAL" clId="{C5DC3D82-2C0A-4A6C-AC58-8884C18EFE3B}" dt="2024-03-12T10:42:53.835" v="344" actId="20577"/>
          <ac:spMkLst>
            <pc:docMk/>
            <pc:sldMk cId="2803239078" sldId="935"/>
            <ac:spMk id="16" creationId="{30819613-CE74-49B6-0807-44FDBB81D466}"/>
          </ac:spMkLst>
        </pc:spChg>
      </pc:sldChg>
      <pc:sldChg chg="addCm">
        <pc:chgData name="Ramona Daukste (LV)" userId="cb110d71-928f-4029-96c9-9e7c32e592fe" providerId="ADAL" clId="{C5DC3D82-2C0A-4A6C-AC58-8884C18EFE3B}" dt="2024-03-12T10:55:46.260" v="347"/>
        <pc:sldMkLst>
          <pc:docMk/>
          <pc:sldMk cId="1263375755" sldId="937"/>
        </pc:sldMkLst>
        <pc:extLst>
          <p:ext xmlns:p="http://schemas.openxmlformats.org/presentationml/2006/main" uri="{D6D511B9-2390-475A-947B-AFAB55BFBCF1}">
            <pc226:cmChg xmlns:pc226="http://schemas.microsoft.com/office/powerpoint/2022/06/main/command" chg="add">
              <pc226:chgData name="Ramona Daukste (LV)" userId="cb110d71-928f-4029-96c9-9e7c32e592fe" providerId="ADAL" clId="{C5DC3D82-2C0A-4A6C-AC58-8884C18EFE3B}" dt="2024-03-12T10:55:46.260" v="347"/>
              <pc2:cmMkLst xmlns:pc2="http://schemas.microsoft.com/office/powerpoint/2019/9/main/command">
                <pc:docMk/>
                <pc:sldMk cId="1263375755" sldId="937"/>
                <pc2:cmMk id="{9701165F-769B-42EC-8757-BC99D971C04F}"/>
              </pc2:cmMkLst>
            </pc226:cmChg>
          </p:ext>
        </pc:extLst>
      </pc:sldChg>
      <pc:sldChg chg="modSp mod">
        <pc:chgData name="Ramona Daukste (LV)" userId="cb110d71-928f-4029-96c9-9e7c32e592fe" providerId="ADAL" clId="{C5DC3D82-2C0A-4A6C-AC58-8884C18EFE3B}" dt="2024-03-12T09:30:47.327" v="340" actId="1037"/>
        <pc:sldMkLst>
          <pc:docMk/>
          <pc:sldMk cId="4229434319" sldId="941"/>
        </pc:sldMkLst>
        <pc:grpChg chg="mod">
          <ac:chgData name="Ramona Daukste (LV)" userId="cb110d71-928f-4029-96c9-9e7c32e592fe" providerId="ADAL" clId="{C5DC3D82-2C0A-4A6C-AC58-8884C18EFE3B}" dt="2024-03-12T09:30:47.327" v="340" actId="1037"/>
          <ac:grpSpMkLst>
            <pc:docMk/>
            <pc:sldMk cId="4229434319" sldId="941"/>
            <ac:grpSpMk id="20" creationId="{1476811F-6F80-556F-F119-B8BF7156FE00}"/>
          </ac:grpSpMkLst>
        </pc:grpChg>
      </pc:sldChg>
      <pc:sldChg chg="addCm delCm modCm">
        <pc:chgData name="Ramona Daukste (LV)" userId="cb110d71-928f-4029-96c9-9e7c32e592fe" providerId="ADAL" clId="{C5DC3D82-2C0A-4A6C-AC58-8884C18EFE3B}" dt="2024-03-12T11:34:42.271" v="348"/>
        <pc:sldMkLst>
          <pc:docMk/>
          <pc:sldMk cId="3488828484" sldId="946"/>
        </pc:sldMkLst>
        <pc:extLst>
          <p:ext xmlns:p="http://schemas.openxmlformats.org/presentationml/2006/main" uri="{D6D511B9-2390-475A-947B-AFAB55BFBCF1}">
            <pc226:cmChg xmlns:pc226="http://schemas.microsoft.com/office/powerpoint/2022/06/main/command" chg="add del mod">
              <pc226:chgData name="Ramona Daukste (LV)" userId="cb110d71-928f-4029-96c9-9e7c32e592fe" providerId="ADAL" clId="{C5DC3D82-2C0A-4A6C-AC58-8884C18EFE3B}" dt="2024-03-12T11:34:42.271" v="348"/>
              <pc2:cmMkLst xmlns:pc2="http://schemas.microsoft.com/office/powerpoint/2019/9/main/command">
                <pc:docMk/>
                <pc:sldMk cId="3488828484" sldId="946"/>
                <pc2:cmMk id="{03988D36-9B53-4F30-81AA-8E3F1CCA5267}"/>
              </pc2:cmMkLst>
            </pc226:cmChg>
          </p:ext>
        </pc:extLst>
      </pc:sldChg>
      <pc:sldChg chg="modSp mod addCm">
        <pc:chgData name="Ramona Daukste (LV)" userId="cb110d71-928f-4029-96c9-9e7c32e592fe" providerId="ADAL" clId="{C5DC3D82-2C0A-4A6C-AC58-8884C18EFE3B}" dt="2024-03-12T09:23:08.113" v="235"/>
        <pc:sldMkLst>
          <pc:docMk/>
          <pc:sldMk cId="3292995886" sldId="954"/>
        </pc:sldMkLst>
        <pc:spChg chg="mod">
          <ac:chgData name="Ramona Daukste (LV)" userId="cb110d71-928f-4029-96c9-9e7c32e592fe" providerId="ADAL" clId="{C5DC3D82-2C0A-4A6C-AC58-8884C18EFE3B}" dt="2024-03-12T09:22:19.894" v="234" actId="20577"/>
          <ac:spMkLst>
            <pc:docMk/>
            <pc:sldMk cId="3292995886" sldId="954"/>
            <ac:spMk id="73" creationId="{31125C22-727E-9F1A-6243-9118C9184F00}"/>
          </ac:spMkLst>
        </pc:spChg>
        <pc:extLst>
          <p:ext xmlns:p="http://schemas.openxmlformats.org/presentationml/2006/main" uri="{D6D511B9-2390-475A-947B-AFAB55BFBCF1}">
            <pc226:cmChg xmlns:pc226="http://schemas.microsoft.com/office/powerpoint/2022/06/main/command" chg="add">
              <pc226:chgData name="Ramona Daukste (LV)" userId="cb110d71-928f-4029-96c9-9e7c32e592fe" providerId="ADAL" clId="{C5DC3D82-2C0A-4A6C-AC58-8884C18EFE3B}" dt="2024-03-12T09:23:08.113" v="235"/>
              <pc2:cmMkLst xmlns:pc2="http://schemas.microsoft.com/office/powerpoint/2019/9/main/command">
                <pc:docMk/>
                <pc:sldMk cId="3292995886" sldId="954"/>
                <pc2:cmMk id="{59B07DAE-C6BC-48BB-88F8-0A7477EC2AE1}"/>
              </pc2:cmMkLst>
            </pc226:cmChg>
          </p:ext>
        </pc:extLst>
      </pc:sldChg>
    </pc:docChg>
  </pc:docChgLst>
  <pc:docChgLst>
    <pc:chgData name="Annemarija Apine (LV)" userId="546f5c59-3b8d-47fd-b739-a8fadc631053" providerId="ADAL" clId="{CF10BD1C-91AC-4549-A7D7-EB1CC9E24081}"/>
    <pc:docChg chg="custSel modSld replTag">
      <pc:chgData name="Annemarija Apine (LV)" userId="546f5c59-3b8d-47fd-b739-a8fadc631053" providerId="ADAL" clId="{CF10BD1C-91AC-4549-A7D7-EB1CC9E24081}" dt="2024-07-08T20:24:09.076" v="41" actId="368"/>
      <pc:docMkLst>
        <pc:docMk/>
      </pc:docMkLst>
      <pc:sldChg chg="modNotes">
        <pc:chgData name="Annemarija Apine (LV)" userId="546f5c59-3b8d-47fd-b739-a8fadc631053" providerId="ADAL" clId="{CF10BD1C-91AC-4549-A7D7-EB1CC9E24081}" dt="2024-07-08T20:24:08.936" v="11" actId="368"/>
        <pc:sldMkLst>
          <pc:docMk/>
          <pc:sldMk cId="795685229" sldId="904"/>
        </pc:sldMkLst>
      </pc:sldChg>
      <pc:sldChg chg="modNotes">
        <pc:chgData name="Annemarija Apine (LV)" userId="546f5c59-3b8d-47fd-b739-a8fadc631053" providerId="ADAL" clId="{CF10BD1C-91AC-4549-A7D7-EB1CC9E24081}" dt="2024-07-08T20:24:08.936" v="13" actId="368"/>
        <pc:sldMkLst>
          <pc:docMk/>
          <pc:sldMk cId="2300626159" sldId="908"/>
        </pc:sldMkLst>
      </pc:sldChg>
      <pc:sldChg chg="modNotes">
        <pc:chgData name="Annemarija Apine (LV)" userId="546f5c59-3b8d-47fd-b739-a8fadc631053" providerId="ADAL" clId="{CF10BD1C-91AC-4549-A7D7-EB1CC9E24081}" dt="2024-07-08T20:24:08.963" v="19" actId="368"/>
        <pc:sldMkLst>
          <pc:docMk/>
          <pc:sldMk cId="1981412866" sldId="915"/>
        </pc:sldMkLst>
      </pc:sldChg>
      <pc:sldChg chg="modNotes">
        <pc:chgData name="Annemarija Apine (LV)" userId="546f5c59-3b8d-47fd-b739-a8fadc631053" providerId="ADAL" clId="{CF10BD1C-91AC-4549-A7D7-EB1CC9E24081}" dt="2024-07-08T20:24:08.983" v="21" actId="368"/>
        <pc:sldMkLst>
          <pc:docMk/>
          <pc:sldMk cId="64855802" sldId="916"/>
        </pc:sldMkLst>
      </pc:sldChg>
      <pc:sldChg chg="modNotes">
        <pc:chgData name="Annemarija Apine (LV)" userId="546f5c59-3b8d-47fd-b739-a8fadc631053" providerId="ADAL" clId="{CF10BD1C-91AC-4549-A7D7-EB1CC9E24081}" dt="2024-07-08T20:24:08.983" v="23" actId="368"/>
        <pc:sldMkLst>
          <pc:docMk/>
          <pc:sldMk cId="785221003" sldId="918"/>
        </pc:sldMkLst>
      </pc:sldChg>
      <pc:sldChg chg="modNotes">
        <pc:chgData name="Annemarija Apine (LV)" userId="546f5c59-3b8d-47fd-b739-a8fadc631053" providerId="ADAL" clId="{CF10BD1C-91AC-4549-A7D7-EB1CC9E24081}" dt="2024-07-08T20:24:08.998" v="25" actId="368"/>
        <pc:sldMkLst>
          <pc:docMk/>
          <pc:sldMk cId="3183596888" sldId="922"/>
        </pc:sldMkLst>
      </pc:sldChg>
      <pc:sldChg chg="modNotes">
        <pc:chgData name="Annemarija Apine (LV)" userId="546f5c59-3b8d-47fd-b739-a8fadc631053" providerId="ADAL" clId="{CF10BD1C-91AC-4549-A7D7-EB1CC9E24081}" dt="2024-07-08T20:24:08.952" v="15" actId="368"/>
        <pc:sldMkLst>
          <pc:docMk/>
          <pc:sldMk cId="2463822678" sldId="928"/>
        </pc:sldMkLst>
      </pc:sldChg>
      <pc:sldChg chg="modNotes">
        <pc:chgData name="Annemarija Apine (LV)" userId="546f5c59-3b8d-47fd-b739-a8fadc631053" providerId="ADAL" clId="{CF10BD1C-91AC-4549-A7D7-EB1CC9E24081}" dt="2024-07-08T20:24:08.952" v="17" actId="368"/>
        <pc:sldMkLst>
          <pc:docMk/>
          <pc:sldMk cId="3431578971" sldId="931"/>
        </pc:sldMkLst>
      </pc:sldChg>
      <pc:sldChg chg="modNotes">
        <pc:chgData name="Annemarija Apine (LV)" userId="546f5c59-3b8d-47fd-b739-a8fadc631053" providerId="ADAL" clId="{CF10BD1C-91AC-4549-A7D7-EB1CC9E24081}" dt="2024-07-08T20:24:09.030" v="29" actId="368"/>
        <pc:sldMkLst>
          <pc:docMk/>
          <pc:sldMk cId="1939332489" sldId="936"/>
        </pc:sldMkLst>
      </pc:sldChg>
      <pc:sldChg chg="modNotes">
        <pc:chgData name="Annemarija Apine (LV)" userId="546f5c59-3b8d-47fd-b739-a8fadc631053" providerId="ADAL" clId="{CF10BD1C-91AC-4549-A7D7-EB1CC9E24081}" dt="2024-07-08T20:24:09.015" v="27" actId="368"/>
        <pc:sldMkLst>
          <pc:docMk/>
          <pc:sldMk cId="1263375755" sldId="937"/>
        </pc:sldMkLst>
      </pc:sldChg>
      <pc:sldChg chg="modNotes">
        <pc:chgData name="Annemarija Apine (LV)" userId="546f5c59-3b8d-47fd-b739-a8fadc631053" providerId="ADAL" clId="{CF10BD1C-91AC-4549-A7D7-EB1CC9E24081}" dt="2024-07-08T20:24:09.030" v="31" actId="368"/>
        <pc:sldMkLst>
          <pc:docMk/>
          <pc:sldMk cId="2976985460" sldId="938"/>
        </pc:sldMkLst>
      </pc:sldChg>
      <pc:sldChg chg="modNotes">
        <pc:chgData name="Annemarija Apine (LV)" userId="546f5c59-3b8d-47fd-b739-a8fadc631053" providerId="ADAL" clId="{CF10BD1C-91AC-4549-A7D7-EB1CC9E24081}" dt="2024-07-08T20:24:09.030" v="33" actId="368"/>
        <pc:sldMkLst>
          <pc:docMk/>
          <pc:sldMk cId="558100583" sldId="939"/>
        </pc:sldMkLst>
      </pc:sldChg>
      <pc:sldChg chg="modNotes">
        <pc:chgData name="Annemarija Apine (LV)" userId="546f5c59-3b8d-47fd-b739-a8fadc631053" providerId="ADAL" clId="{CF10BD1C-91AC-4549-A7D7-EB1CC9E24081}" dt="2024-07-08T20:24:09.030" v="35" actId="368"/>
        <pc:sldMkLst>
          <pc:docMk/>
          <pc:sldMk cId="2169785454" sldId="940"/>
        </pc:sldMkLst>
      </pc:sldChg>
      <pc:sldChg chg="modNotes">
        <pc:chgData name="Annemarija Apine (LV)" userId="546f5c59-3b8d-47fd-b739-a8fadc631053" providerId="ADAL" clId="{CF10BD1C-91AC-4549-A7D7-EB1CC9E24081}" dt="2024-07-08T20:24:09.047" v="37" actId="368"/>
        <pc:sldMkLst>
          <pc:docMk/>
          <pc:sldMk cId="3615584869" sldId="942"/>
        </pc:sldMkLst>
      </pc:sldChg>
      <pc:sldChg chg="modNotes">
        <pc:chgData name="Annemarija Apine (LV)" userId="546f5c59-3b8d-47fd-b739-a8fadc631053" providerId="ADAL" clId="{CF10BD1C-91AC-4549-A7D7-EB1CC9E24081}" dt="2024-07-08T20:24:09.070" v="39" actId="368"/>
        <pc:sldMkLst>
          <pc:docMk/>
          <pc:sldMk cId="3488828484" sldId="946"/>
        </pc:sldMkLst>
      </pc:sldChg>
      <pc:sldChg chg="modNotes">
        <pc:chgData name="Annemarija Apine (LV)" userId="546f5c59-3b8d-47fd-b739-a8fadc631053" providerId="ADAL" clId="{CF10BD1C-91AC-4549-A7D7-EB1CC9E24081}" dt="2024-07-08T20:24:09.076" v="41" actId="368"/>
        <pc:sldMkLst>
          <pc:docMk/>
          <pc:sldMk cId="201777098" sldId="950"/>
        </pc:sldMkLst>
      </pc:sldChg>
    </pc:docChg>
  </pc:docChgLst>
  <pc:docChgLst>
    <pc:chgData name="Ramona Daukste (LV)" userId="cb110d71-928f-4029-96c9-9e7c32e592fe" providerId="ADAL" clId="{EC670687-1E93-4515-89E0-48FC3E832360}"/>
    <pc:docChg chg="modSld sldOrd">
      <pc:chgData name="Ramona Daukste (LV)" userId="cb110d71-928f-4029-96c9-9e7c32e592fe" providerId="ADAL" clId="{EC670687-1E93-4515-89E0-48FC3E832360}" dt="2024-06-10T05:07:24.473" v="6" actId="20577"/>
      <pc:docMkLst>
        <pc:docMk/>
      </pc:docMkLst>
      <pc:sldChg chg="modSp mod ord">
        <pc:chgData name="Ramona Daukste (LV)" userId="cb110d71-928f-4029-96c9-9e7c32e592fe" providerId="ADAL" clId="{EC670687-1E93-4515-89E0-48FC3E832360}" dt="2024-06-10T05:07:24.473" v="6" actId="20577"/>
        <pc:sldMkLst>
          <pc:docMk/>
          <pc:sldMk cId="2333946943" sldId="924"/>
        </pc:sldMkLst>
        <pc:spChg chg="mod">
          <ac:chgData name="Ramona Daukste (LV)" userId="cb110d71-928f-4029-96c9-9e7c32e592fe" providerId="ADAL" clId="{EC670687-1E93-4515-89E0-48FC3E832360}" dt="2024-06-10T05:07:24.473" v="6" actId="20577"/>
          <ac:spMkLst>
            <pc:docMk/>
            <pc:sldMk cId="2333946943" sldId="924"/>
            <ac:spMk id="59" creationId="{0B9A482D-D6B8-5CBF-C3DA-64F6DB0BD51D}"/>
          </ac:spMkLst>
        </pc:spChg>
      </pc:sldChg>
    </pc:docChg>
  </pc:docChgLst>
  <pc:docChgLst>
    <pc:chgData name="Nataliia Chornii (UA)" userId="4e4b8b3d-5f31-49bb-9f80-8a25c04abfff" providerId="ADAL" clId="{52163427-3E63-4487-BD88-23EA5CCD03BB}"/>
    <pc:docChg chg="undo custSel addSld delSld modSld replTag">
      <pc:chgData name="Nataliia Chornii (UA)" userId="4e4b8b3d-5f31-49bb-9f80-8a25c04abfff" providerId="ADAL" clId="{52163427-3E63-4487-BD88-23EA5CCD03BB}" dt="2024-03-12T12:27:02.261" v="394" actId="207"/>
      <pc:docMkLst>
        <pc:docMk/>
      </pc:docMkLst>
      <pc:sldChg chg="add del">
        <pc:chgData name="Nataliia Chornii (UA)" userId="4e4b8b3d-5f31-49bb-9f80-8a25c04abfff" providerId="ADAL" clId="{52163427-3E63-4487-BD88-23EA5CCD03BB}" dt="2024-03-12T12:20:30.707" v="171" actId="2696"/>
        <pc:sldMkLst>
          <pc:docMk/>
          <pc:sldMk cId="2935481794" sldId="261"/>
        </pc:sldMkLst>
      </pc:sldChg>
      <pc:sldChg chg="addSp delSp modSp mod">
        <pc:chgData name="Nataliia Chornii (UA)" userId="4e4b8b3d-5f31-49bb-9f80-8a25c04abfff" providerId="ADAL" clId="{52163427-3E63-4487-BD88-23EA5CCD03BB}" dt="2024-03-12T12:16:10.352" v="88"/>
        <pc:sldMkLst>
          <pc:docMk/>
          <pc:sldMk cId="817197616" sldId="332"/>
        </pc:sldMkLst>
        <pc:spChg chg="add del mod">
          <ac:chgData name="Nataliia Chornii (UA)" userId="4e4b8b3d-5f31-49bb-9f80-8a25c04abfff" providerId="ADAL" clId="{52163427-3E63-4487-BD88-23EA5CCD03BB}" dt="2024-03-12T12:16:10.352" v="88"/>
          <ac:spMkLst>
            <pc:docMk/>
            <pc:sldMk cId="817197616" sldId="332"/>
            <ac:spMk id="7" creationId="{5AF78304-9449-9391-FCD7-E1C1D087732C}"/>
          </ac:spMkLst>
        </pc:spChg>
        <pc:spChg chg="mod">
          <ac:chgData name="Nataliia Chornii (UA)" userId="4e4b8b3d-5f31-49bb-9f80-8a25c04abfff" providerId="ADAL" clId="{52163427-3E63-4487-BD88-23EA5CCD03BB}" dt="2024-03-12T09:44:25.196" v="2" actId="207"/>
          <ac:spMkLst>
            <pc:docMk/>
            <pc:sldMk cId="817197616" sldId="332"/>
            <ac:spMk id="16" creationId="{12D56AF0-5D91-586B-FC86-6E2EA8AA6489}"/>
          </ac:spMkLst>
        </pc:spChg>
        <pc:spChg chg="mod">
          <ac:chgData name="Nataliia Chornii (UA)" userId="4e4b8b3d-5f31-49bb-9f80-8a25c04abfff" providerId="ADAL" clId="{52163427-3E63-4487-BD88-23EA5CCD03BB}" dt="2024-03-12T09:45:58.928" v="4" actId="1076"/>
          <ac:spMkLst>
            <pc:docMk/>
            <pc:sldMk cId="817197616" sldId="332"/>
            <ac:spMk id="17" creationId="{2AD67365-5F03-E963-4C79-A9BF11E64D4B}"/>
          </ac:spMkLst>
        </pc:spChg>
        <pc:spChg chg="mod">
          <ac:chgData name="Nataliia Chornii (UA)" userId="4e4b8b3d-5f31-49bb-9f80-8a25c04abfff" providerId="ADAL" clId="{52163427-3E63-4487-BD88-23EA5CCD03BB}" dt="2024-03-12T09:46:27.360" v="5" actId="207"/>
          <ac:spMkLst>
            <pc:docMk/>
            <pc:sldMk cId="817197616" sldId="332"/>
            <ac:spMk id="19" creationId="{3BD32581-6C0C-F715-E58C-F0FC848A828C}"/>
          </ac:spMkLst>
        </pc:spChg>
        <pc:spChg chg="mod">
          <ac:chgData name="Nataliia Chornii (UA)" userId="4e4b8b3d-5f31-49bb-9f80-8a25c04abfff" providerId="ADAL" clId="{52163427-3E63-4487-BD88-23EA5CCD03BB}" dt="2024-03-12T09:47:19.241" v="6" actId="207"/>
          <ac:spMkLst>
            <pc:docMk/>
            <pc:sldMk cId="817197616" sldId="332"/>
            <ac:spMk id="21" creationId="{E8EC1277-A063-49F0-81F3-8CB8E7AB2F86}"/>
          </ac:spMkLst>
        </pc:spChg>
        <pc:picChg chg="add del mod">
          <ac:chgData name="Nataliia Chornii (UA)" userId="4e4b8b3d-5f31-49bb-9f80-8a25c04abfff" providerId="ADAL" clId="{52163427-3E63-4487-BD88-23EA5CCD03BB}" dt="2024-03-12T12:16:10.352" v="88"/>
          <ac:picMkLst>
            <pc:docMk/>
            <pc:sldMk cId="817197616" sldId="332"/>
            <ac:picMk id="2" creationId="{FE300EFA-9059-F2FC-F9C1-F22D8ECC29FC}"/>
          </ac:picMkLst>
        </pc:picChg>
        <pc:picChg chg="mod">
          <ac:chgData name="Nataliia Chornii (UA)" userId="4e4b8b3d-5f31-49bb-9f80-8a25c04abfff" providerId="ADAL" clId="{52163427-3E63-4487-BD88-23EA5CCD03BB}" dt="2024-03-12T07:39:22.543" v="1" actId="1076"/>
          <ac:picMkLst>
            <pc:docMk/>
            <pc:sldMk cId="817197616" sldId="332"/>
            <ac:picMk id="3" creationId="{4D1170B7-6EE5-270B-66A8-10AD07C6BBCA}"/>
          </ac:picMkLst>
        </pc:picChg>
        <pc:picChg chg="add del mod">
          <ac:chgData name="Nataliia Chornii (UA)" userId="4e4b8b3d-5f31-49bb-9f80-8a25c04abfff" providerId="ADAL" clId="{52163427-3E63-4487-BD88-23EA5CCD03BB}" dt="2024-03-12T12:16:10.352" v="88"/>
          <ac:picMkLst>
            <pc:docMk/>
            <pc:sldMk cId="817197616" sldId="332"/>
            <ac:picMk id="8" creationId="{E0437BB0-868D-E75D-557F-CD5961EF5A50}"/>
          </ac:picMkLst>
        </pc:picChg>
        <pc:picChg chg="mod">
          <ac:chgData name="Nataliia Chornii (UA)" userId="4e4b8b3d-5f31-49bb-9f80-8a25c04abfff" providerId="ADAL" clId="{52163427-3E63-4487-BD88-23EA5CCD03BB}" dt="2024-03-12T07:39:22.543" v="1" actId="1076"/>
          <ac:picMkLst>
            <pc:docMk/>
            <pc:sldMk cId="817197616" sldId="332"/>
            <ac:picMk id="1028" creationId="{49D69959-2997-0541-EBD2-EA679BB87816}"/>
          </ac:picMkLst>
        </pc:picChg>
      </pc:sldChg>
      <pc:sldChg chg="add del">
        <pc:chgData name="Nataliia Chornii (UA)" userId="4e4b8b3d-5f31-49bb-9f80-8a25c04abfff" providerId="ADAL" clId="{52163427-3E63-4487-BD88-23EA5CCD03BB}" dt="2024-03-12T12:19:06.428" v="103" actId="2696"/>
        <pc:sldMkLst>
          <pc:docMk/>
          <pc:sldMk cId="1925634318" sldId="338"/>
        </pc:sldMkLst>
      </pc:sldChg>
      <pc:sldChg chg="add del">
        <pc:chgData name="Nataliia Chornii (UA)" userId="4e4b8b3d-5f31-49bb-9f80-8a25c04abfff" providerId="ADAL" clId="{52163427-3E63-4487-BD88-23EA5CCD03BB}" dt="2024-03-12T12:19:55.567" v="159" actId="2696"/>
        <pc:sldMkLst>
          <pc:docMk/>
          <pc:sldMk cId="3141905671" sldId="338"/>
        </pc:sldMkLst>
      </pc:sldChg>
      <pc:sldChg chg="modSp mod">
        <pc:chgData name="Nataliia Chornii (UA)" userId="4e4b8b3d-5f31-49bb-9f80-8a25c04abfff" providerId="ADAL" clId="{52163427-3E63-4487-BD88-23EA5CCD03BB}" dt="2024-03-12T11:08:11.471" v="7"/>
        <pc:sldMkLst>
          <pc:docMk/>
          <pc:sldMk cId="399328488" sldId="450"/>
        </pc:sldMkLst>
        <pc:spChg chg="mod">
          <ac:chgData name="Nataliia Chornii (UA)" userId="4e4b8b3d-5f31-49bb-9f80-8a25c04abfff" providerId="ADAL" clId="{52163427-3E63-4487-BD88-23EA5CCD03BB}" dt="2024-03-12T11:08:11.471" v="7"/>
          <ac:spMkLst>
            <pc:docMk/>
            <pc:sldMk cId="399328488" sldId="450"/>
            <ac:spMk id="2" creationId="{06CA5123-FA6E-5376-B3D9-BDF5B08EA25B}"/>
          </ac:spMkLst>
        </pc:spChg>
      </pc:sldChg>
      <pc:sldChg chg="modSp mod">
        <pc:chgData name="Nataliia Chornii (UA)" userId="4e4b8b3d-5f31-49bb-9f80-8a25c04abfff" providerId="ADAL" clId="{52163427-3E63-4487-BD88-23EA5CCD03BB}" dt="2024-03-12T11:08:33.505" v="15"/>
        <pc:sldMkLst>
          <pc:docMk/>
          <pc:sldMk cId="2067837237" sldId="899"/>
        </pc:sldMkLst>
        <pc:spChg chg="mod">
          <ac:chgData name="Nataliia Chornii (UA)" userId="4e4b8b3d-5f31-49bb-9f80-8a25c04abfff" providerId="ADAL" clId="{52163427-3E63-4487-BD88-23EA5CCD03BB}" dt="2024-03-12T11:08:33.505" v="15"/>
          <ac:spMkLst>
            <pc:docMk/>
            <pc:sldMk cId="2067837237" sldId="899"/>
            <ac:spMk id="8" creationId="{C45B4B4D-811D-75BC-1C53-0D260614DCE2}"/>
          </ac:spMkLst>
        </pc:spChg>
      </pc:sldChg>
      <pc:sldChg chg="modSp mod">
        <pc:chgData name="Nataliia Chornii (UA)" userId="4e4b8b3d-5f31-49bb-9f80-8a25c04abfff" providerId="ADAL" clId="{52163427-3E63-4487-BD88-23EA5CCD03BB}" dt="2024-03-12T11:08:35.928" v="16"/>
        <pc:sldMkLst>
          <pc:docMk/>
          <pc:sldMk cId="1735191326" sldId="900"/>
        </pc:sldMkLst>
        <pc:spChg chg="mod">
          <ac:chgData name="Nataliia Chornii (UA)" userId="4e4b8b3d-5f31-49bb-9f80-8a25c04abfff" providerId="ADAL" clId="{52163427-3E63-4487-BD88-23EA5CCD03BB}" dt="2024-03-12T11:08:35.928" v="16"/>
          <ac:spMkLst>
            <pc:docMk/>
            <pc:sldMk cId="1735191326" sldId="900"/>
            <ac:spMk id="5" creationId="{775EC90E-5DCE-2B24-A5AB-0F9245BDD3E7}"/>
          </ac:spMkLst>
        </pc:spChg>
      </pc:sldChg>
      <pc:sldChg chg="modSp mod">
        <pc:chgData name="Nataliia Chornii (UA)" userId="4e4b8b3d-5f31-49bb-9f80-8a25c04abfff" providerId="ADAL" clId="{52163427-3E63-4487-BD88-23EA5CCD03BB}" dt="2024-03-12T11:08:39.309" v="17"/>
        <pc:sldMkLst>
          <pc:docMk/>
          <pc:sldMk cId="3011875620" sldId="903"/>
        </pc:sldMkLst>
        <pc:spChg chg="mod">
          <ac:chgData name="Nataliia Chornii (UA)" userId="4e4b8b3d-5f31-49bb-9f80-8a25c04abfff" providerId="ADAL" clId="{52163427-3E63-4487-BD88-23EA5CCD03BB}" dt="2024-03-12T11:08:39.309" v="17"/>
          <ac:spMkLst>
            <pc:docMk/>
            <pc:sldMk cId="3011875620" sldId="903"/>
            <ac:spMk id="3" creationId="{33BB98B8-6827-4CCD-E4FE-A55C4C067AB3}"/>
          </ac:spMkLst>
        </pc:spChg>
      </pc:sldChg>
      <pc:sldChg chg="modSp mod">
        <pc:chgData name="Nataliia Chornii (UA)" userId="4e4b8b3d-5f31-49bb-9f80-8a25c04abfff" providerId="ADAL" clId="{52163427-3E63-4487-BD88-23EA5CCD03BB}" dt="2024-03-12T11:08:42.418" v="18"/>
        <pc:sldMkLst>
          <pc:docMk/>
          <pc:sldMk cId="795685229" sldId="904"/>
        </pc:sldMkLst>
        <pc:spChg chg="mod">
          <ac:chgData name="Nataliia Chornii (UA)" userId="4e4b8b3d-5f31-49bb-9f80-8a25c04abfff" providerId="ADAL" clId="{52163427-3E63-4487-BD88-23EA5CCD03BB}" dt="2024-03-12T11:08:42.418" v="18"/>
          <ac:spMkLst>
            <pc:docMk/>
            <pc:sldMk cId="795685229" sldId="904"/>
            <ac:spMk id="6" creationId="{236C7614-93A6-8AC7-7258-BAE206E1F0BE}"/>
          </ac:spMkLst>
        </pc:spChg>
      </pc:sldChg>
      <pc:sldChg chg="modSp mod">
        <pc:chgData name="Nataliia Chornii (UA)" userId="4e4b8b3d-5f31-49bb-9f80-8a25c04abfff" providerId="ADAL" clId="{52163427-3E63-4487-BD88-23EA5CCD03BB}" dt="2024-03-12T11:08:44.348" v="19"/>
        <pc:sldMkLst>
          <pc:docMk/>
          <pc:sldMk cId="507333055" sldId="905"/>
        </pc:sldMkLst>
        <pc:spChg chg="mod">
          <ac:chgData name="Nataliia Chornii (UA)" userId="4e4b8b3d-5f31-49bb-9f80-8a25c04abfff" providerId="ADAL" clId="{52163427-3E63-4487-BD88-23EA5CCD03BB}" dt="2024-03-12T11:08:44.348" v="19"/>
          <ac:spMkLst>
            <pc:docMk/>
            <pc:sldMk cId="507333055" sldId="905"/>
            <ac:spMk id="3" creationId="{70832196-8F04-2AE8-0728-1989AF43F84D}"/>
          </ac:spMkLst>
        </pc:spChg>
      </pc:sldChg>
      <pc:sldChg chg="addSp delSp modSp mod">
        <pc:chgData name="Nataliia Chornii (UA)" userId="4e4b8b3d-5f31-49bb-9f80-8a25c04abfff" providerId="ADAL" clId="{52163427-3E63-4487-BD88-23EA5CCD03BB}" dt="2024-03-12T11:08:24.273" v="14"/>
        <pc:sldMkLst>
          <pc:docMk/>
          <pc:sldMk cId="1164346809" sldId="906"/>
        </pc:sldMkLst>
        <pc:spChg chg="add del mod">
          <ac:chgData name="Nataliia Chornii (UA)" userId="4e4b8b3d-5f31-49bb-9f80-8a25c04abfff" providerId="ADAL" clId="{52163427-3E63-4487-BD88-23EA5CCD03BB}" dt="2024-03-12T11:08:20.966" v="11"/>
          <ac:spMkLst>
            <pc:docMk/>
            <pc:sldMk cId="1164346809" sldId="906"/>
            <ac:spMk id="2" creationId="{88F11848-A656-A080-EAE8-4491DC4BF4B4}"/>
          </ac:spMkLst>
        </pc:spChg>
        <pc:spChg chg="add del mod">
          <ac:chgData name="Nataliia Chornii (UA)" userId="4e4b8b3d-5f31-49bb-9f80-8a25c04abfff" providerId="ADAL" clId="{52163427-3E63-4487-BD88-23EA5CCD03BB}" dt="2024-03-12T11:08:23.924" v="13" actId="478"/>
          <ac:spMkLst>
            <pc:docMk/>
            <pc:sldMk cId="1164346809" sldId="906"/>
            <ac:spMk id="5" creationId="{EB165E04-554B-01AD-2648-9AD67A035DC8}"/>
          </ac:spMkLst>
        </pc:spChg>
        <pc:spChg chg="add mod">
          <ac:chgData name="Nataliia Chornii (UA)" userId="4e4b8b3d-5f31-49bb-9f80-8a25c04abfff" providerId="ADAL" clId="{52163427-3E63-4487-BD88-23EA5CCD03BB}" dt="2024-03-12T11:08:24.273" v="14"/>
          <ac:spMkLst>
            <pc:docMk/>
            <pc:sldMk cId="1164346809" sldId="906"/>
            <ac:spMk id="6" creationId="{05A1F6AF-20A3-6819-9353-99581EAEE5C4}"/>
          </ac:spMkLst>
        </pc:spChg>
        <pc:spChg chg="del">
          <ac:chgData name="Nataliia Chornii (UA)" userId="4e4b8b3d-5f31-49bb-9f80-8a25c04abfff" providerId="ADAL" clId="{52163427-3E63-4487-BD88-23EA5CCD03BB}" dt="2024-03-12T11:08:23.924" v="13" actId="478"/>
          <ac:spMkLst>
            <pc:docMk/>
            <pc:sldMk cId="1164346809" sldId="906"/>
            <ac:spMk id="13" creationId="{513046AF-A675-0D25-6984-95A79FB25C75}"/>
          </ac:spMkLst>
        </pc:spChg>
      </pc:sldChg>
      <pc:sldChg chg="modSp mod">
        <pc:chgData name="Nataliia Chornii (UA)" userId="4e4b8b3d-5f31-49bb-9f80-8a25c04abfff" providerId="ADAL" clId="{52163427-3E63-4487-BD88-23EA5CCD03BB}" dt="2024-03-12T11:08:47.819" v="20"/>
        <pc:sldMkLst>
          <pc:docMk/>
          <pc:sldMk cId="2300626159" sldId="908"/>
        </pc:sldMkLst>
        <pc:spChg chg="mod">
          <ac:chgData name="Nataliia Chornii (UA)" userId="4e4b8b3d-5f31-49bb-9f80-8a25c04abfff" providerId="ADAL" clId="{52163427-3E63-4487-BD88-23EA5CCD03BB}" dt="2024-03-12T11:08:47.819" v="20"/>
          <ac:spMkLst>
            <pc:docMk/>
            <pc:sldMk cId="2300626159" sldId="908"/>
            <ac:spMk id="8" creationId="{2CA7E931-5A39-E16F-287D-26D8CB80F058}"/>
          </ac:spMkLst>
        </pc:spChg>
      </pc:sldChg>
      <pc:sldChg chg="modSp mod">
        <pc:chgData name="Nataliia Chornii (UA)" userId="4e4b8b3d-5f31-49bb-9f80-8a25c04abfff" providerId="ADAL" clId="{52163427-3E63-4487-BD88-23EA5CCD03BB}" dt="2024-03-12T11:08:50.824" v="21"/>
        <pc:sldMkLst>
          <pc:docMk/>
          <pc:sldMk cId="1764034675" sldId="909"/>
        </pc:sldMkLst>
        <pc:spChg chg="mod">
          <ac:chgData name="Nataliia Chornii (UA)" userId="4e4b8b3d-5f31-49bb-9f80-8a25c04abfff" providerId="ADAL" clId="{52163427-3E63-4487-BD88-23EA5CCD03BB}" dt="2024-03-12T11:08:50.824" v="21"/>
          <ac:spMkLst>
            <pc:docMk/>
            <pc:sldMk cId="1764034675" sldId="909"/>
            <ac:spMk id="2" creationId="{2B9BA7A9-23FD-2573-72ED-860A236A3F30}"/>
          </ac:spMkLst>
        </pc:spChg>
      </pc:sldChg>
      <pc:sldChg chg="addSp delSp modSp mod">
        <pc:chgData name="Nataliia Chornii (UA)" userId="4e4b8b3d-5f31-49bb-9f80-8a25c04abfff" providerId="ADAL" clId="{52163427-3E63-4487-BD88-23EA5CCD03BB}" dt="2024-03-12T12:21:48.366" v="200" actId="478"/>
        <pc:sldMkLst>
          <pc:docMk/>
          <pc:sldMk cId="2040534611" sldId="911"/>
        </pc:sldMkLst>
        <pc:spChg chg="mod">
          <ac:chgData name="Nataliia Chornii (UA)" userId="4e4b8b3d-5f31-49bb-9f80-8a25c04abfff" providerId="ADAL" clId="{52163427-3E63-4487-BD88-23EA5CCD03BB}" dt="2024-03-12T11:09:00.832" v="25"/>
          <ac:spMkLst>
            <pc:docMk/>
            <pc:sldMk cId="2040534611" sldId="911"/>
            <ac:spMk id="2" creationId="{9E458C61-554D-06B9-D7BB-AE586E6578F7}"/>
          </ac:spMkLst>
        </pc:spChg>
        <pc:spChg chg="del mod">
          <ac:chgData name="Nataliia Chornii (UA)" userId="4e4b8b3d-5f31-49bb-9f80-8a25c04abfff" providerId="ADAL" clId="{52163427-3E63-4487-BD88-23EA5CCD03BB}" dt="2024-03-12T12:21:48.366" v="200" actId="478"/>
          <ac:spMkLst>
            <pc:docMk/>
            <pc:sldMk cId="2040534611" sldId="911"/>
            <ac:spMk id="14" creationId="{701D06DD-CC74-FC08-A012-A28782C73BD3}"/>
          </ac:spMkLst>
        </pc:spChg>
        <pc:spChg chg="mod">
          <ac:chgData name="Nataliia Chornii (UA)" userId="4e4b8b3d-5f31-49bb-9f80-8a25c04abfff" providerId="ADAL" clId="{52163427-3E63-4487-BD88-23EA5CCD03BB}" dt="2024-03-12T12:21:46.799" v="199" actId="113"/>
          <ac:spMkLst>
            <pc:docMk/>
            <pc:sldMk cId="2040534611" sldId="911"/>
            <ac:spMk id="16" creationId="{BB39067C-BB74-431F-475F-367961520F72}"/>
          </ac:spMkLst>
        </pc:spChg>
        <pc:spChg chg="mod">
          <ac:chgData name="Nataliia Chornii (UA)" userId="4e4b8b3d-5f31-49bb-9f80-8a25c04abfff" providerId="ADAL" clId="{52163427-3E63-4487-BD88-23EA5CCD03BB}" dt="2024-03-12T12:21:14.433" v="183"/>
          <ac:spMkLst>
            <pc:docMk/>
            <pc:sldMk cId="2040534611" sldId="911"/>
            <ac:spMk id="17" creationId="{9DDB00D3-0ABF-F805-8F9D-63E91DF08229}"/>
          </ac:spMkLst>
        </pc:spChg>
        <pc:grpChg chg="add mod">
          <ac:chgData name="Nataliia Chornii (UA)" userId="4e4b8b3d-5f31-49bb-9f80-8a25c04abfff" providerId="ADAL" clId="{52163427-3E63-4487-BD88-23EA5CCD03BB}" dt="2024-03-12T12:21:14.433" v="183"/>
          <ac:grpSpMkLst>
            <pc:docMk/>
            <pc:sldMk cId="2040534611" sldId="911"/>
            <ac:grpSpMk id="15" creationId="{F17F705C-87C9-5D82-0071-8EA1798F0D4B}"/>
          </ac:grpSpMkLst>
        </pc:grpChg>
      </pc:sldChg>
      <pc:sldChg chg="addSp delSp modSp mod">
        <pc:chgData name="Nataliia Chornii (UA)" userId="4e4b8b3d-5f31-49bb-9f80-8a25c04abfff" providerId="ADAL" clId="{52163427-3E63-4487-BD88-23EA5CCD03BB}" dt="2024-03-12T12:21:43.390" v="198" actId="113"/>
        <pc:sldMkLst>
          <pc:docMk/>
          <pc:sldMk cId="3429470186" sldId="914"/>
        </pc:sldMkLst>
        <pc:spChg chg="mod">
          <ac:chgData name="Nataliia Chornii (UA)" userId="4e4b8b3d-5f31-49bb-9f80-8a25c04abfff" providerId="ADAL" clId="{52163427-3E63-4487-BD88-23EA5CCD03BB}" dt="2024-03-12T11:09:02.745" v="26"/>
          <ac:spMkLst>
            <pc:docMk/>
            <pc:sldMk cId="3429470186" sldId="914"/>
            <ac:spMk id="2" creationId="{30AAC524-3205-5590-45B9-6037C0A5DBDE}"/>
          </ac:spMkLst>
        </pc:spChg>
        <pc:spChg chg="del mod">
          <ac:chgData name="Nataliia Chornii (UA)" userId="4e4b8b3d-5f31-49bb-9f80-8a25c04abfff" providerId="ADAL" clId="{52163427-3E63-4487-BD88-23EA5CCD03BB}" dt="2024-03-12T12:21:20.707" v="187" actId="478"/>
          <ac:spMkLst>
            <pc:docMk/>
            <pc:sldMk cId="3429470186" sldId="914"/>
            <ac:spMk id="15" creationId="{B6BE53C4-3742-6DCA-2316-49A9BF2D8207}"/>
          </ac:spMkLst>
        </pc:spChg>
        <pc:spChg chg="mod">
          <ac:chgData name="Nataliia Chornii (UA)" userId="4e4b8b3d-5f31-49bb-9f80-8a25c04abfff" providerId="ADAL" clId="{52163427-3E63-4487-BD88-23EA5CCD03BB}" dt="2024-03-12T12:21:43.390" v="198" actId="113"/>
          <ac:spMkLst>
            <pc:docMk/>
            <pc:sldMk cId="3429470186" sldId="914"/>
            <ac:spMk id="19" creationId="{8B30160C-0B9C-011A-347F-A75919D148DF}"/>
          </ac:spMkLst>
        </pc:spChg>
        <pc:spChg chg="mod">
          <ac:chgData name="Nataliia Chornii (UA)" userId="4e4b8b3d-5f31-49bb-9f80-8a25c04abfff" providerId="ADAL" clId="{52163427-3E63-4487-BD88-23EA5CCD03BB}" dt="2024-03-12T12:21:19.849" v="186"/>
          <ac:spMkLst>
            <pc:docMk/>
            <pc:sldMk cId="3429470186" sldId="914"/>
            <ac:spMk id="20" creationId="{A52A24D5-E458-5184-5394-D531237F5174}"/>
          </ac:spMkLst>
        </pc:spChg>
        <pc:grpChg chg="add mod">
          <ac:chgData name="Nataliia Chornii (UA)" userId="4e4b8b3d-5f31-49bb-9f80-8a25c04abfff" providerId="ADAL" clId="{52163427-3E63-4487-BD88-23EA5CCD03BB}" dt="2024-03-12T12:21:19.849" v="186"/>
          <ac:grpSpMkLst>
            <pc:docMk/>
            <pc:sldMk cId="3429470186" sldId="914"/>
            <ac:grpSpMk id="18" creationId="{C7198D1F-9FC5-DEFE-2837-C0311E2BC589}"/>
          </ac:grpSpMkLst>
        </pc:grpChg>
      </pc:sldChg>
      <pc:sldChg chg="addSp delSp modSp mod">
        <pc:chgData name="Nataliia Chornii (UA)" userId="4e4b8b3d-5f31-49bb-9f80-8a25c04abfff" providerId="ADAL" clId="{52163427-3E63-4487-BD88-23EA5CCD03BB}" dt="2024-03-12T12:21:38.636" v="197" actId="113"/>
        <pc:sldMkLst>
          <pc:docMk/>
          <pc:sldMk cId="1981412866" sldId="915"/>
        </pc:sldMkLst>
        <pc:spChg chg="mod">
          <ac:chgData name="Nataliia Chornii (UA)" userId="4e4b8b3d-5f31-49bb-9f80-8a25c04abfff" providerId="ADAL" clId="{52163427-3E63-4487-BD88-23EA5CCD03BB}" dt="2024-03-12T11:09:05.192" v="27"/>
          <ac:spMkLst>
            <pc:docMk/>
            <pc:sldMk cId="1981412866" sldId="915"/>
            <ac:spMk id="17" creationId="{68D4BE07-EE77-6573-3961-3389F961B1B0}"/>
          </ac:spMkLst>
        </pc:spChg>
        <pc:spChg chg="mod">
          <ac:chgData name="Nataliia Chornii (UA)" userId="4e4b8b3d-5f31-49bb-9f80-8a25c04abfff" providerId="ADAL" clId="{52163427-3E63-4487-BD88-23EA5CCD03BB}" dt="2024-03-12T12:21:38.636" v="197" actId="113"/>
          <ac:spMkLst>
            <pc:docMk/>
            <pc:sldMk cId="1981412866" sldId="915"/>
            <ac:spMk id="29" creationId="{10358436-04EB-02D3-5145-56A06675C30B}"/>
          </ac:spMkLst>
        </pc:spChg>
        <pc:spChg chg="mod">
          <ac:chgData name="Nataliia Chornii (UA)" userId="4e4b8b3d-5f31-49bb-9f80-8a25c04abfff" providerId="ADAL" clId="{52163427-3E63-4487-BD88-23EA5CCD03BB}" dt="2024-03-12T12:21:22.906" v="189"/>
          <ac:spMkLst>
            <pc:docMk/>
            <pc:sldMk cId="1981412866" sldId="915"/>
            <ac:spMk id="30" creationId="{F1C8D19D-1D86-2F27-142A-E800100023BF}"/>
          </ac:spMkLst>
        </pc:spChg>
        <pc:spChg chg="del mod">
          <ac:chgData name="Nataliia Chornii (UA)" userId="4e4b8b3d-5f31-49bb-9f80-8a25c04abfff" providerId="ADAL" clId="{52163427-3E63-4487-BD88-23EA5CCD03BB}" dt="2024-03-12T12:21:25.662" v="191" actId="478"/>
          <ac:spMkLst>
            <pc:docMk/>
            <pc:sldMk cId="1981412866" sldId="915"/>
            <ac:spMk id="53" creationId="{D7DC989C-0F18-F987-D819-7FC99DFC7742}"/>
          </ac:spMkLst>
        </pc:spChg>
        <pc:grpChg chg="add mod">
          <ac:chgData name="Nataliia Chornii (UA)" userId="4e4b8b3d-5f31-49bb-9f80-8a25c04abfff" providerId="ADAL" clId="{52163427-3E63-4487-BD88-23EA5CCD03BB}" dt="2024-03-12T12:21:22.906" v="189"/>
          <ac:grpSpMkLst>
            <pc:docMk/>
            <pc:sldMk cId="1981412866" sldId="915"/>
            <ac:grpSpMk id="25" creationId="{18730CB1-C26A-3A29-9EA1-5EC411BC4E4E}"/>
          </ac:grpSpMkLst>
        </pc:grpChg>
      </pc:sldChg>
      <pc:sldChg chg="addSp delSp modSp mod">
        <pc:chgData name="Nataliia Chornii (UA)" userId="4e4b8b3d-5f31-49bb-9f80-8a25c04abfff" providerId="ADAL" clId="{52163427-3E63-4487-BD88-23EA5CCD03BB}" dt="2024-03-12T12:21:36.038" v="196" actId="478"/>
        <pc:sldMkLst>
          <pc:docMk/>
          <pc:sldMk cId="64855802" sldId="916"/>
        </pc:sldMkLst>
        <pc:spChg chg="del mod">
          <ac:chgData name="Nataliia Chornii (UA)" userId="4e4b8b3d-5f31-49bb-9f80-8a25c04abfff" providerId="ADAL" clId="{52163427-3E63-4487-BD88-23EA5CCD03BB}" dt="2024-03-12T12:21:36.038" v="196" actId="478"/>
          <ac:spMkLst>
            <pc:docMk/>
            <pc:sldMk cId="64855802" sldId="916"/>
            <ac:spMk id="9" creationId="{20E2F488-128A-A03C-4DDA-0BA6FB1A457F}"/>
          </ac:spMkLst>
        </pc:spChg>
        <pc:spChg chg="add del">
          <ac:chgData name="Nataliia Chornii (UA)" userId="4e4b8b3d-5f31-49bb-9f80-8a25c04abfff" providerId="ADAL" clId="{52163427-3E63-4487-BD88-23EA5CCD03BB}" dt="2024-03-12T11:09:08.850" v="29" actId="22"/>
          <ac:spMkLst>
            <pc:docMk/>
            <pc:sldMk cId="64855802" sldId="916"/>
            <ac:spMk id="19" creationId="{2A04B580-45E1-AD92-4D01-C308475E6EBB}"/>
          </ac:spMkLst>
        </pc:spChg>
        <pc:spChg chg="mod">
          <ac:chgData name="Nataliia Chornii (UA)" userId="4e4b8b3d-5f31-49bb-9f80-8a25c04abfff" providerId="ADAL" clId="{52163427-3E63-4487-BD88-23EA5CCD03BB}" dt="2024-03-12T12:21:33.551" v="195" actId="113"/>
          <ac:spMkLst>
            <pc:docMk/>
            <pc:sldMk cId="64855802" sldId="916"/>
            <ac:spMk id="19" creationId="{99BB40C4-C854-EF5A-02F1-3DC939BEE066}"/>
          </ac:spMkLst>
        </pc:spChg>
        <pc:spChg chg="add mod">
          <ac:chgData name="Nataliia Chornii (UA)" userId="4e4b8b3d-5f31-49bb-9f80-8a25c04abfff" providerId="ADAL" clId="{52163427-3E63-4487-BD88-23EA5CCD03BB}" dt="2024-03-12T11:09:11.888" v="30"/>
          <ac:spMkLst>
            <pc:docMk/>
            <pc:sldMk cId="64855802" sldId="916"/>
            <ac:spMk id="20" creationId="{54EC1F61-FF16-1408-F9A0-76C3203F84CA}"/>
          </ac:spMkLst>
        </pc:spChg>
        <pc:spChg chg="add del mod">
          <ac:chgData name="Nataliia Chornii (UA)" userId="4e4b8b3d-5f31-49bb-9f80-8a25c04abfff" providerId="ADAL" clId="{52163427-3E63-4487-BD88-23EA5CCD03BB}" dt="2024-03-12T11:09:14.011" v="32"/>
          <ac:spMkLst>
            <pc:docMk/>
            <pc:sldMk cId="64855802" sldId="916"/>
            <ac:spMk id="21" creationId="{9A0A1301-AE8C-3362-6A72-51259E740794}"/>
          </ac:spMkLst>
        </pc:spChg>
        <pc:spChg chg="mod">
          <ac:chgData name="Nataliia Chornii (UA)" userId="4e4b8b3d-5f31-49bb-9f80-8a25c04abfff" providerId="ADAL" clId="{52163427-3E63-4487-BD88-23EA5CCD03BB}" dt="2024-03-12T12:21:28.277" v="193"/>
          <ac:spMkLst>
            <pc:docMk/>
            <pc:sldMk cId="64855802" sldId="916"/>
            <ac:spMk id="21" creationId="{A897BD00-067D-8E02-2B06-3551DAD35FE1}"/>
          </ac:spMkLst>
        </pc:spChg>
        <pc:grpChg chg="add mod">
          <ac:chgData name="Nataliia Chornii (UA)" userId="4e4b8b3d-5f31-49bb-9f80-8a25c04abfff" providerId="ADAL" clId="{52163427-3E63-4487-BD88-23EA5CCD03BB}" dt="2024-03-12T12:21:28.277" v="193"/>
          <ac:grpSpMkLst>
            <pc:docMk/>
            <pc:sldMk cId="64855802" sldId="916"/>
            <ac:grpSpMk id="18" creationId="{A7C8EFEA-D6C4-50B6-1BCE-1647D16AF1EA}"/>
          </ac:grpSpMkLst>
        </pc:grpChg>
      </pc:sldChg>
      <pc:sldChg chg="addSp delSp modSp mod">
        <pc:chgData name="Nataliia Chornii (UA)" userId="4e4b8b3d-5f31-49bb-9f80-8a25c04abfff" providerId="ADAL" clId="{52163427-3E63-4487-BD88-23EA5CCD03BB}" dt="2024-03-12T12:22:05.638" v="207"/>
        <pc:sldMkLst>
          <pc:docMk/>
          <pc:sldMk cId="4273639525" sldId="917"/>
        </pc:sldMkLst>
        <pc:spChg chg="mod">
          <ac:chgData name="Nataliia Chornii (UA)" userId="4e4b8b3d-5f31-49bb-9f80-8a25c04abfff" providerId="ADAL" clId="{52163427-3E63-4487-BD88-23EA5CCD03BB}" dt="2024-03-12T11:09:21.334" v="34"/>
          <ac:spMkLst>
            <pc:docMk/>
            <pc:sldMk cId="4273639525" sldId="917"/>
            <ac:spMk id="2" creationId="{D7DBFC3E-020C-9EFD-28EB-4631D3580F32}"/>
          </ac:spMkLst>
        </pc:spChg>
        <pc:spChg chg="del mod">
          <ac:chgData name="Nataliia Chornii (UA)" userId="4e4b8b3d-5f31-49bb-9f80-8a25c04abfff" providerId="ADAL" clId="{52163427-3E63-4487-BD88-23EA5CCD03BB}" dt="2024-03-12T12:22:04.674" v="206" actId="478"/>
          <ac:spMkLst>
            <pc:docMk/>
            <pc:sldMk cId="4273639525" sldId="917"/>
            <ac:spMk id="13" creationId="{C81B52B7-F84D-1B15-1AE2-EF4ADAA752C8}"/>
          </ac:spMkLst>
        </pc:spChg>
        <pc:spChg chg="mod">
          <ac:chgData name="Nataliia Chornii (UA)" userId="4e4b8b3d-5f31-49bb-9f80-8a25c04abfff" providerId="ADAL" clId="{52163427-3E63-4487-BD88-23EA5CCD03BB}" dt="2024-03-12T12:22:05.638" v="207"/>
          <ac:spMkLst>
            <pc:docMk/>
            <pc:sldMk cId="4273639525" sldId="917"/>
            <ac:spMk id="15" creationId="{1ADD53FC-C3E5-510D-B989-D67EA029071B}"/>
          </ac:spMkLst>
        </pc:spChg>
        <pc:spChg chg="mod">
          <ac:chgData name="Nataliia Chornii (UA)" userId="4e4b8b3d-5f31-49bb-9f80-8a25c04abfff" providerId="ADAL" clId="{52163427-3E63-4487-BD88-23EA5CCD03BB}" dt="2024-03-12T12:22:05.638" v="207"/>
          <ac:spMkLst>
            <pc:docMk/>
            <pc:sldMk cId="4273639525" sldId="917"/>
            <ac:spMk id="16" creationId="{1AFD52EE-E601-C14A-822A-FABB12B8A6B9}"/>
          </ac:spMkLst>
        </pc:spChg>
        <pc:grpChg chg="add mod">
          <ac:chgData name="Nataliia Chornii (UA)" userId="4e4b8b3d-5f31-49bb-9f80-8a25c04abfff" providerId="ADAL" clId="{52163427-3E63-4487-BD88-23EA5CCD03BB}" dt="2024-03-12T12:22:05.638" v="207"/>
          <ac:grpSpMkLst>
            <pc:docMk/>
            <pc:sldMk cId="4273639525" sldId="917"/>
            <ac:grpSpMk id="14" creationId="{492BA703-F18E-E0E9-9E22-990B6A6F639C}"/>
          </ac:grpSpMkLst>
        </pc:grpChg>
      </pc:sldChg>
      <pc:sldChg chg="addSp delSp modSp mod">
        <pc:chgData name="Nataliia Chornii (UA)" userId="4e4b8b3d-5f31-49bb-9f80-8a25c04abfff" providerId="ADAL" clId="{52163427-3E63-4487-BD88-23EA5CCD03BB}" dt="2024-03-12T12:22:03.192" v="204" actId="478"/>
        <pc:sldMkLst>
          <pc:docMk/>
          <pc:sldMk cId="785221003" sldId="918"/>
        </pc:sldMkLst>
        <pc:spChg chg="del mod">
          <ac:chgData name="Nataliia Chornii (UA)" userId="4e4b8b3d-5f31-49bb-9f80-8a25c04abfff" providerId="ADAL" clId="{52163427-3E63-4487-BD88-23EA5CCD03BB}" dt="2024-03-12T12:22:03.192" v="204" actId="478"/>
          <ac:spMkLst>
            <pc:docMk/>
            <pc:sldMk cId="785221003" sldId="918"/>
            <ac:spMk id="9" creationId="{D6675418-2A93-363B-B413-4411681F4838}"/>
          </ac:spMkLst>
        </pc:spChg>
        <pc:spChg chg="add mod">
          <ac:chgData name="Nataliia Chornii (UA)" userId="4e4b8b3d-5f31-49bb-9f80-8a25c04abfff" providerId="ADAL" clId="{52163427-3E63-4487-BD88-23EA5CCD03BB}" dt="2024-03-12T11:09:16.671" v="33"/>
          <ac:spMkLst>
            <pc:docMk/>
            <pc:sldMk cId="785221003" sldId="918"/>
            <ac:spMk id="18" creationId="{8718CE4C-95ED-99AC-270C-360B29FB6AD4}"/>
          </ac:spMkLst>
        </pc:spChg>
        <pc:spChg chg="mod">
          <ac:chgData name="Nataliia Chornii (UA)" userId="4e4b8b3d-5f31-49bb-9f80-8a25c04abfff" providerId="ADAL" clId="{52163427-3E63-4487-BD88-23EA5CCD03BB}" dt="2024-03-12T12:22:02.207" v="203"/>
          <ac:spMkLst>
            <pc:docMk/>
            <pc:sldMk cId="785221003" sldId="918"/>
            <ac:spMk id="34" creationId="{C87FCEB5-73C2-4FBE-4A19-EA996E36EE39}"/>
          </ac:spMkLst>
        </pc:spChg>
        <pc:spChg chg="mod">
          <ac:chgData name="Nataliia Chornii (UA)" userId="4e4b8b3d-5f31-49bb-9f80-8a25c04abfff" providerId="ADAL" clId="{52163427-3E63-4487-BD88-23EA5CCD03BB}" dt="2024-03-12T12:22:02.207" v="203"/>
          <ac:spMkLst>
            <pc:docMk/>
            <pc:sldMk cId="785221003" sldId="918"/>
            <ac:spMk id="35" creationId="{89F13B56-964C-87A2-18FB-B820270895D4}"/>
          </ac:spMkLst>
        </pc:spChg>
        <pc:grpChg chg="add mod">
          <ac:chgData name="Nataliia Chornii (UA)" userId="4e4b8b3d-5f31-49bb-9f80-8a25c04abfff" providerId="ADAL" clId="{52163427-3E63-4487-BD88-23EA5CCD03BB}" dt="2024-03-12T12:22:02.207" v="203"/>
          <ac:grpSpMkLst>
            <pc:docMk/>
            <pc:sldMk cId="785221003" sldId="918"/>
            <ac:grpSpMk id="33" creationId="{0E1E50A3-2B0B-2403-ED72-97408228FBA9}"/>
          </ac:grpSpMkLst>
        </pc:grpChg>
      </pc:sldChg>
      <pc:sldChg chg="addSp delSp modSp mod">
        <pc:chgData name="Nataliia Chornii (UA)" userId="4e4b8b3d-5f31-49bb-9f80-8a25c04abfff" providerId="ADAL" clId="{52163427-3E63-4487-BD88-23EA5CCD03BB}" dt="2024-03-12T12:22:12.592" v="211" actId="478"/>
        <pc:sldMkLst>
          <pc:docMk/>
          <pc:sldMk cId="2008209705" sldId="919"/>
        </pc:sldMkLst>
        <pc:spChg chg="mod">
          <ac:chgData name="Nataliia Chornii (UA)" userId="4e4b8b3d-5f31-49bb-9f80-8a25c04abfff" providerId="ADAL" clId="{52163427-3E63-4487-BD88-23EA5CCD03BB}" dt="2024-03-12T11:09:22.539" v="35"/>
          <ac:spMkLst>
            <pc:docMk/>
            <pc:sldMk cId="2008209705" sldId="919"/>
            <ac:spMk id="2" creationId="{1A11DA6D-DA25-ED8D-5C57-8D2D2452FA26}"/>
          </ac:spMkLst>
        </pc:spChg>
        <pc:spChg chg="del mod">
          <ac:chgData name="Nataliia Chornii (UA)" userId="4e4b8b3d-5f31-49bb-9f80-8a25c04abfff" providerId="ADAL" clId="{52163427-3E63-4487-BD88-23EA5CCD03BB}" dt="2024-03-12T12:22:12.592" v="211" actId="478"/>
          <ac:spMkLst>
            <pc:docMk/>
            <pc:sldMk cId="2008209705" sldId="919"/>
            <ac:spMk id="15" creationId="{5AD0BD56-73F9-7FB2-F558-97697187F40F}"/>
          </ac:spMkLst>
        </pc:spChg>
        <pc:spChg chg="mod">
          <ac:chgData name="Nataliia Chornii (UA)" userId="4e4b8b3d-5f31-49bb-9f80-8a25c04abfff" providerId="ADAL" clId="{52163427-3E63-4487-BD88-23EA5CCD03BB}" dt="2024-03-12T12:22:11.066" v="210"/>
          <ac:spMkLst>
            <pc:docMk/>
            <pc:sldMk cId="2008209705" sldId="919"/>
            <ac:spMk id="19" creationId="{DA75954D-4EF1-C25C-FD4D-7F2391CE4BC1}"/>
          </ac:spMkLst>
        </pc:spChg>
        <pc:spChg chg="mod">
          <ac:chgData name="Nataliia Chornii (UA)" userId="4e4b8b3d-5f31-49bb-9f80-8a25c04abfff" providerId="ADAL" clId="{52163427-3E63-4487-BD88-23EA5CCD03BB}" dt="2024-03-12T12:22:07.623" v="209"/>
          <ac:spMkLst>
            <pc:docMk/>
            <pc:sldMk cId="2008209705" sldId="919"/>
            <ac:spMk id="21" creationId="{07F3CB26-4CE3-7AB6-C1A7-5645E59C0132}"/>
          </ac:spMkLst>
        </pc:spChg>
        <pc:grpChg chg="add mod">
          <ac:chgData name="Nataliia Chornii (UA)" userId="4e4b8b3d-5f31-49bb-9f80-8a25c04abfff" providerId="ADAL" clId="{52163427-3E63-4487-BD88-23EA5CCD03BB}" dt="2024-03-12T12:22:07.623" v="209"/>
          <ac:grpSpMkLst>
            <pc:docMk/>
            <pc:sldMk cId="2008209705" sldId="919"/>
            <ac:grpSpMk id="17" creationId="{181D2E81-913A-426F-D928-E7AE90B36605}"/>
          </ac:grpSpMkLst>
        </pc:grpChg>
      </pc:sldChg>
      <pc:sldChg chg="addSp delSp modSp mod">
        <pc:chgData name="Nataliia Chornii (UA)" userId="4e4b8b3d-5f31-49bb-9f80-8a25c04abfff" providerId="ADAL" clId="{52163427-3E63-4487-BD88-23EA5CCD03BB}" dt="2024-03-12T12:22:25.761" v="218" actId="478"/>
        <pc:sldMkLst>
          <pc:docMk/>
          <pc:sldMk cId="2755231185" sldId="920"/>
        </pc:sldMkLst>
        <pc:spChg chg="mod">
          <ac:chgData name="Nataliia Chornii (UA)" userId="4e4b8b3d-5f31-49bb-9f80-8a25c04abfff" providerId="ADAL" clId="{52163427-3E63-4487-BD88-23EA5CCD03BB}" dt="2024-03-12T11:09:24.861" v="37"/>
          <ac:spMkLst>
            <pc:docMk/>
            <pc:sldMk cId="2755231185" sldId="920"/>
            <ac:spMk id="6" creationId="{B43CD9A4-2C97-7D6A-7A53-C7898F589C28}"/>
          </ac:spMkLst>
        </pc:spChg>
        <pc:spChg chg="del mod">
          <ac:chgData name="Nataliia Chornii (UA)" userId="4e4b8b3d-5f31-49bb-9f80-8a25c04abfff" providerId="ADAL" clId="{52163427-3E63-4487-BD88-23EA5CCD03BB}" dt="2024-03-12T12:22:25.761" v="218" actId="478"/>
          <ac:spMkLst>
            <pc:docMk/>
            <pc:sldMk cId="2755231185" sldId="920"/>
            <ac:spMk id="15" creationId="{F03290B5-C181-1DC0-3FC7-05E4ED60A773}"/>
          </ac:spMkLst>
        </pc:spChg>
        <pc:spChg chg="mod">
          <ac:chgData name="Nataliia Chornii (UA)" userId="4e4b8b3d-5f31-49bb-9f80-8a25c04abfff" providerId="ADAL" clId="{52163427-3E63-4487-BD88-23EA5CCD03BB}" dt="2024-03-12T12:22:24.395" v="217"/>
          <ac:spMkLst>
            <pc:docMk/>
            <pc:sldMk cId="2755231185" sldId="920"/>
            <ac:spMk id="19" creationId="{08D1B730-3E4A-E251-98BF-4207441A6F9C}"/>
          </ac:spMkLst>
        </pc:spChg>
        <pc:spChg chg="mod">
          <ac:chgData name="Nataliia Chornii (UA)" userId="4e4b8b3d-5f31-49bb-9f80-8a25c04abfff" providerId="ADAL" clId="{52163427-3E63-4487-BD88-23EA5CCD03BB}" dt="2024-03-12T12:22:20.329" v="216"/>
          <ac:spMkLst>
            <pc:docMk/>
            <pc:sldMk cId="2755231185" sldId="920"/>
            <ac:spMk id="21" creationId="{76E521C5-7816-ABBC-525A-901979C4185E}"/>
          </ac:spMkLst>
        </pc:spChg>
        <pc:grpChg chg="add mod">
          <ac:chgData name="Nataliia Chornii (UA)" userId="4e4b8b3d-5f31-49bb-9f80-8a25c04abfff" providerId="ADAL" clId="{52163427-3E63-4487-BD88-23EA5CCD03BB}" dt="2024-03-12T12:22:20.329" v="216"/>
          <ac:grpSpMkLst>
            <pc:docMk/>
            <pc:sldMk cId="2755231185" sldId="920"/>
            <ac:grpSpMk id="17" creationId="{94004B0E-52BD-56B9-A17A-2417C950F3F8}"/>
          </ac:grpSpMkLst>
        </pc:grpChg>
      </pc:sldChg>
      <pc:sldChg chg="addSp delSp modSp mod">
        <pc:chgData name="Nataliia Chornii (UA)" userId="4e4b8b3d-5f31-49bb-9f80-8a25c04abfff" providerId="ADAL" clId="{52163427-3E63-4487-BD88-23EA5CCD03BB}" dt="2024-03-12T12:22:18.074" v="214" actId="478"/>
        <pc:sldMkLst>
          <pc:docMk/>
          <pc:sldMk cId="1632897735" sldId="921"/>
        </pc:sldMkLst>
        <pc:spChg chg="mod">
          <ac:chgData name="Nataliia Chornii (UA)" userId="4e4b8b3d-5f31-49bb-9f80-8a25c04abfff" providerId="ADAL" clId="{52163427-3E63-4487-BD88-23EA5CCD03BB}" dt="2024-03-12T11:09:23.682" v="36"/>
          <ac:spMkLst>
            <pc:docMk/>
            <pc:sldMk cId="1632897735" sldId="921"/>
            <ac:spMk id="6" creationId="{4C448523-D199-838D-0012-DA39AE2F2FF6}"/>
          </ac:spMkLst>
        </pc:spChg>
        <pc:spChg chg="del mod">
          <ac:chgData name="Nataliia Chornii (UA)" userId="4e4b8b3d-5f31-49bb-9f80-8a25c04abfff" providerId="ADAL" clId="{52163427-3E63-4487-BD88-23EA5CCD03BB}" dt="2024-03-12T12:22:18.074" v="214" actId="478"/>
          <ac:spMkLst>
            <pc:docMk/>
            <pc:sldMk cId="1632897735" sldId="921"/>
            <ac:spMk id="15" creationId="{195BC487-1210-1AD0-818D-2F292AAC6012}"/>
          </ac:spMkLst>
        </pc:spChg>
        <pc:spChg chg="mod">
          <ac:chgData name="Nataliia Chornii (UA)" userId="4e4b8b3d-5f31-49bb-9f80-8a25c04abfff" providerId="ADAL" clId="{52163427-3E63-4487-BD88-23EA5CCD03BB}" dt="2024-03-12T12:22:17.357" v="213"/>
          <ac:spMkLst>
            <pc:docMk/>
            <pc:sldMk cId="1632897735" sldId="921"/>
            <ac:spMk id="17" creationId="{A0B62BA7-6592-A092-06F6-328959B263E1}"/>
          </ac:spMkLst>
        </pc:spChg>
        <pc:spChg chg="mod">
          <ac:chgData name="Nataliia Chornii (UA)" userId="4e4b8b3d-5f31-49bb-9f80-8a25c04abfff" providerId="ADAL" clId="{52163427-3E63-4487-BD88-23EA5CCD03BB}" dt="2024-03-12T12:22:17.357" v="213"/>
          <ac:spMkLst>
            <pc:docMk/>
            <pc:sldMk cId="1632897735" sldId="921"/>
            <ac:spMk id="18" creationId="{1467D8C3-A103-C272-2A6A-E892FE831788}"/>
          </ac:spMkLst>
        </pc:spChg>
        <pc:grpChg chg="add mod">
          <ac:chgData name="Nataliia Chornii (UA)" userId="4e4b8b3d-5f31-49bb-9f80-8a25c04abfff" providerId="ADAL" clId="{52163427-3E63-4487-BD88-23EA5CCD03BB}" dt="2024-03-12T12:22:17.357" v="213"/>
          <ac:grpSpMkLst>
            <pc:docMk/>
            <pc:sldMk cId="1632897735" sldId="921"/>
            <ac:grpSpMk id="16" creationId="{9A77E11D-913A-0EDC-C3A8-93005FF6D85F}"/>
          </ac:grpSpMkLst>
        </pc:grpChg>
      </pc:sldChg>
      <pc:sldChg chg="addSp delSp modSp mod">
        <pc:chgData name="Nataliia Chornii (UA)" userId="4e4b8b3d-5f31-49bb-9f80-8a25c04abfff" providerId="ADAL" clId="{52163427-3E63-4487-BD88-23EA5CCD03BB}" dt="2024-03-12T12:22:38.378" v="226" actId="478"/>
        <pc:sldMkLst>
          <pc:docMk/>
          <pc:sldMk cId="3183596888" sldId="922"/>
        </pc:sldMkLst>
        <pc:spChg chg="mod">
          <ac:chgData name="Nataliia Chornii (UA)" userId="4e4b8b3d-5f31-49bb-9f80-8a25c04abfff" providerId="ADAL" clId="{52163427-3E63-4487-BD88-23EA5CCD03BB}" dt="2024-03-12T11:09:26.521" v="38"/>
          <ac:spMkLst>
            <pc:docMk/>
            <pc:sldMk cId="3183596888" sldId="922"/>
            <ac:spMk id="5" creationId="{1806521B-FB80-1F07-D596-6A488A95DE31}"/>
          </ac:spMkLst>
        </pc:spChg>
        <pc:spChg chg="del mod">
          <ac:chgData name="Nataliia Chornii (UA)" userId="4e4b8b3d-5f31-49bb-9f80-8a25c04abfff" providerId="ADAL" clId="{52163427-3E63-4487-BD88-23EA5CCD03BB}" dt="2024-03-12T12:22:38.378" v="226" actId="478"/>
          <ac:spMkLst>
            <pc:docMk/>
            <pc:sldMk cId="3183596888" sldId="922"/>
            <ac:spMk id="14" creationId="{C4842404-4092-146E-F10A-12B247EC98A1}"/>
          </ac:spMkLst>
        </pc:spChg>
        <pc:spChg chg="add del">
          <ac:chgData name="Nataliia Chornii (UA)" userId="4e4b8b3d-5f31-49bb-9f80-8a25c04abfff" providerId="ADAL" clId="{52163427-3E63-4487-BD88-23EA5CCD03BB}" dt="2024-03-12T12:22:30.618" v="223" actId="22"/>
          <ac:spMkLst>
            <pc:docMk/>
            <pc:sldMk cId="3183596888" sldId="922"/>
            <ac:spMk id="15" creationId="{CDF34659-A2BB-DB0E-08D5-7B1250DC9B08}"/>
          </ac:spMkLst>
        </pc:spChg>
        <pc:spChg chg="mod">
          <ac:chgData name="Nataliia Chornii (UA)" userId="4e4b8b3d-5f31-49bb-9f80-8a25c04abfff" providerId="ADAL" clId="{52163427-3E63-4487-BD88-23EA5CCD03BB}" dt="2024-03-12T12:22:36.839" v="225"/>
          <ac:spMkLst>
            <pc:docMk/>
            <pc:sldMk cId="3183596888" sldId="922"/>
            <ac:spMk id="19" creationId="{B8D257DE-4209-7234-19FB-BC85EED328CA}"/>
          </ac:spMkLst>
        </pc:spChg>
        <pc:spChg chg="mod">
          <ac:chgData name="Nataliia Chornii (UA)" userId="4e4b8b3d-5f31-49bb-9f80-8a25c04abfff" providerId="ADAL" clId="{52163427-3E63-4487-BD88-23EA5CCD03BB}" dt="2024-03-12T12:22:33.011" v="224"/>
          <ac:spMkLst>
            <pc:docMk/>
            <pc:sldMk cId="3183596888" sldId="922"/>
            <ac:spMk id="20" creationId="{0E5C4484-670C-69E1-B82B-46D640643D12}"/>
          </ac:spMkLst>
        </pc:spChg>
        <pc:grpChg chg="add mod">
          <ac:chgData name="Nataliia Chornii (UA)" userId="4e4b8b3d-5f31-49bb-9f80-8a25c04abfff" providerId="ADAL" clId="{52163427-3E63-4487-BD88-23EA5CCD03BB}" dt="2024-03-12T12:22:33.011" v="224"/>
          <ac:grpSpMkLst>
            <pc:docMk/>
            <pc:sldMk cId="3183596888" sldId="922"/>
            <ac:grpSpMk id="16" creationId="{FB9AF507-3DC6-14DD-C3D8-12994B3D7208}"/>
          </ac:grpSpMkLst>
        </pc:grpChg>
      </pc:sldChg>
      <pc:sldChg chg="addSp delSp modSp mod">
        <pc:chgData name="Nataliia Chornii (UA)" userId="4e4b8b3d-5f31-49bb-9f80-8a25c04abfff" providerId="ADAL" clId="{52163427-3E63-4487-BD88-23EA5CCD03BB}" dt="2024-03-12T11:08:17.838" v="9"/>
        <pc:sldMkLst>
          <pc:docMk/>
          <pc:sldMk cId="2333946943" sldId="924"/>
        </pc:sldMkLst>
        <pc:spChg chg="add mod">
          <ac:chgData name="Nataliia Chornii (UA)" userId="4e4b8b3d-5f31-49bb-9f80-8a25c04abfff" providerId="ADAL" clId="{52163427-3E63-4487-BD88-23EA5CCD03BB}" dt="2024-03-12T11:08:17.838" v="9"/>
          <ac:spMkLst>
            <pc:docMk/>
            <pc:sldMk cId="2333946943" sldId="924"/>
            <ac:spMk id="28" creationId="{09F96A6C-BCF7-C92F-10B0-3D0AC98F2671}"/>
          </ac:spMkLst>
        </pc:spChg>
        <pc:spChg chg="del">
          <ac:chgData name="Nataliia Chornii (UA)" userId="4e4b8b3d-5f31-49bb-9f80-8a25c04abfff" providerId="ADAL" clId="{52163427-3E63-4487-BD88-23EA5CCD03BB}" dt="2024-03-12T11:08:17.491" v="8" actId="478"/>
          <ac:spMkLst>
            <pc:docMk/>
            <pc:sldMk cId="2333946943" sldId="924"/>
            <ac:spMk id="40" creationId="{53E5DDFB-E533-6702-E6D6-2A7771983A4B}"/>
          </ac:spMkLst>
        </pc:spChg>
      </pc:sldChg>
      <pc:sldChg chg="addSp delSp modSp mod">
        <pc:chgData name="Nataliia Chornii (UA)" userId="4e4b8b3d-5f31-49bb-9f80-8a25c04abfff" providerId="ADAL" clId="{52163427-3E63-4487-BD88-23EA5CCD03BB}" dt="2024-03-12T12:21:50.361" v="201" actId="113"/>
        <pc:sldMkLst>
          <pc:docMk/>
          <pc:sldMk cId="3431578971" sldId="931"/>
        </pc:sldMkLst>
        <pc:spChg chg="mod">
          <ac:chgData name="Nataliia Chornii (UA)" userId="4e4b8b3d-5f31-49bb-9f80-8a25c04abfff" providerId="ADAL" clId="{52163427-3E63-4487-BD88-23EA5CCD03BB}" dt="2024-03-12T12:19:27.818" v="112" actId="948"/>
          <ac:spMkLst>
            <pc:docMk/>
            <pc:sldMk cId="3431578971" sldId="931"/>
            <ac:spMk id="3" creationId="{F4CCF02E-F3C4-C376-8F56-61BD85A2E74B}"/>
          </ac:spMkLst>
        </pc:spChg>
        <pc:spChg chg="mod">
          <ac:chgData name="Nataliia Chornii (UA)" userId="4e4b8b3d-5f31-49bb-9f80-8a25c04abfff" providerId="ADAL" clId="{52163427-3E63-4487-BD88-23EA5CCD03BB}" dt="2024-03-12T11:08:56.544" v="23"/>
          <ac:spMkLst>
            <pc:docMk/>
            <pc:sldMk cId="3431578971" sldId="931"/>
            <ac:spMk id="8" creationId="{3E1B33AD-40C6-3992-E0C2-7519E160295A}"/>
          </ac:spMkLst>
        </pc:spChg>
        <pc:spChg chg="add del mod">
          <ac:chgData name="Nataliia Chornii (UA)" userId="4e4b8b3d-5f31-49bb-9f80-8a25c04abfff" providerId="ADAL" clId="{52163427-3E63-4487-BD88-23EA5CCD03BB}" dt="2024-03-12T12:18:13.150" v="93" actId="478"/>
          <ac:spMkLst>
            <pc:docMk/>
            <pc:sldMk cId="3431578971" sldId="931"/>
            <ac:spMk id="31" creationId="{7A0CB8EC-08CC-0BCB-D7D0-B20A9F3173CC}"/>
          </ac:spMkLst>
        </pc:spChg>
        <pc:spChg chg="add del mod">
          <ac:chgData name="Nataliia Chornii (UA)" userId="4e4b8b3d-5f31-49bb-9f80-8a25c04abfff" providerId="ADAL" clId="{52163427-3E63-4487-BD88-23EA5CCD03BB}" dt="2024-03-12T12:19:16.878" v="107" actId="478"/>
          <ac:spMkLst>
            <pc:docMk/>
            <pc:sldMk cId="3431578971" sldId="931"/>
            <ac:spMk id="32" creationId="{E208D820-DF31-F771-6C3B-E8EA3B5908BC}"/>
          </ac:spMkLst>
        </pc:spChg>
        <pc:spChg chg="add del mod">
          <ac:chgData name="Nataliia Chornii (UA)" userId="4e4b8b3d-5f31-49bb-9f80-8a25c04abfff" providerId="ADAL" clId="{52163427-3E63-4487-BD88-23EA5CCD03BB}" dt="2024-03-12T12:19:52.449" v="156" actId="478"/>
          <ac:spMkLst>
            <pc:docMk/>
            <pc:sldMk cId="3431578971" sldId="931"/>
            <ac:spMk id="33" creationId="{46C942BB-8A51-833C-2228-68908BC87830}"/>
          </ac:spMkLst>
        </pc:spChg>
        <pc:spChg chg="add del mod modVis">
          <ac:chgData name="Nataliia Chornii (UA)" userId="4e4b8b3d-5f31-49bb-9f80-8a25c04abfff" providerId="ADAL" clId="{52163427-3E63-4487-BD88-23EA5CCD03BB}" dt="2024-03-12T12:19:27.866" v="148"/>
          <ac:spMkLst>
            <pc:docMk/>
            <pc:sldMk cId="3431578971" sldId="931"/>
            <ac:spMk id="34" creationId="{7D233890-97CA-5A59-48D7-6018560CC1BD}"/>
          </ac:spMkLst>
        </pc:spChg>
        <pc:spChg chg="add del mod">
          <ac:chgData name="Nataliia Chornii (UA)" userId="4e4b8b3d-5f31-49bb-9f80-8a25c04abfff" providerId="ADAL" clId="{52163427-3E63-4487-BD88-23EA5CCD03BB}" dt="2024-03-12T12:20:23.710" v="168" actId="478"/>
          <ac:spMkLst>
            <pc:docMk/>
            <pc:sldMk cId="3431578971" sldId="931"/>
            <ac:spMk id="35" creationId="{CAB75EBC-06CB-A036-49FA-24F1B27A325A}"/>
          </ac:spMkLst>
        </pc:spChg>
        <pc:spChg chg="add mod">
          <ac:chgData name="Nataliia Chornii (UA)" userId="4e4b8b3d-5f31-49bb-9f80-8a25c04abfff" providerId="ADAL" clId="{52163427-3E63-4487-BD88-23EA5CCD03BB}" dt="2024-03-12T12:20:59.197" v="181" actId="164"/>
          <ac:spMkLst>
            <pc:docMk/>
            <pc:sldMk cId="3431578971" sldId="931"/>
            <ac:spMk id="38" creationId="{C72A1EE8-17BC-FE3C-D219-11BEE967A4BF}"/>
          </ac:spMkLst>
        </pc:spChg>
        <pc:spChg chg="mod">
          <ac:chgData name="Nataliia Chornii (UA)" userId="4e4b8b3d-5f31-49bb-9f80-8a25c04abfff" providerId="ADAL" clId="{52163427-3E63-4487-BD88-23EA5CCD03BB}" dt="2024-03-12T12:21:50.361" v="201" actId="113"/>
          <ac:spMkLst>
            <pc:docMk/>
            <pc:sldMk cId="3431578971" sldId="931"/>
            <ac:spMk id="57" creationId="{E0007A68-F3EF-5218-37FA-972FF8C8BB56}"/>
          </ac:spMkLst>
        </pc:spChg>
        <pc:grpChg chg="add mod">
          <ac:chgData name="Nataliia Chornii (UA)" userId="4e4b8b3d-5f31-49bb-9f80-8a25c04abfff" providerId="ADAL" clId="{52163427-3E63-4487-BD88-23EA5CCD03BB}" dt="2024-03-12T12:20:59.197" v="181" actId="164"/>
          <ac:grpSpMkLst>
            <pc:docMk/>
            <pc:sldMk cId="3431578971" sldId="931"/>
            <ac:grpSpMk id="52" creationId="{D7FCDA61-A0A7-F257-94EF-D3466B884D7B}"/>
          </ac:grpSpMkLst>
        </pc:grpChg>
        <pc:graphicFrameChg chg="mod">
          <ac:chgData name="Nataliia Chornii (UA)" userId="4e4b8b3d-5f31-49bb-9f80-8a25c04abfff" providerId="ADAL" clId="{52163427-3E63-4487-BD88-23EA5CCD03BB}" dt="2024-03-12T12:19:27.866" v="150"/>
          <ac:graphicFrameMkLst>
            <pc:docMk/>
            <pc:sldMk cId="3431578971" sldId="931"/>
            <ac:graphicFrameMk id="12" creationId="{F6E6AF23-7B86-113A-F559-513B41FEC1FE}"/>
          </ac:graphicFrameMkLst>
        </pc:graphicFrameChg>
      </pc:sldChg>
      <pc:sldChg chg="addSp delSp modSp mod">
        <pc:chgData name="Nataliia Chornii (UA)" userId="4e4b8b3d-5f31-49bb-9f80-8a25c04abfff" providerId="ADAL" clId="{52163427-3E63-4487-BD88-23EA5CCD03BB}" dt="2024-03-12T12:22:49.641" v="232" actId="478"/>
        <pc:sldMkLst>
          <pc:docMk/>
          <pc:sldMk cId="2630099657" sldId="933"/>
        </pc:sldMkLst>
        <pc:spChg chg="mod">
          <ac:chgData name="Nataliia Chornii (UA)" userId="4e4b8b3d-5f31-49bb-9f80-8a25c04abfff" providerId="ADAL" clId="{52163427-3E63-4487-BD88-23EA5CCD03BB}" dt="2024-03-12T11:09:27.887" v="39"/>
          <ac:spMkLst>
            <pc:docMk/>
            <pc:sldMk cId="2630099657" sldId="933"/>
            <ac:spMk id="2" creationId="{68CC9B95-24B4-F548-79EA-0FC37F46459D}"/>
          </ac:spMkLst>
        </pc:spChg>
        <pc:spChg chg="del mod">
          <ac:chgData name="Nataliia Chornii (UA)" userId="4e4b8b3d-5f31-49bb-9f80-8a25c04abfff" providerId="ADAL" clId="{52163427-3E63-4487-BD88-23EA5CCD03BB}" dt="2024-03-12T12:22:49.641" v="232" actId="478"/>
          <ac:spMkLst>
            <pc:docMk/>
            <pc:sldMk cId="2630099657" sldId="933"/>
            <ac:spMk id="30" creationId="{963E5610-254E-8B7B-EFFF-28FB0B3D34A3}"/>
          </ac:spMkLst>
        </pc:spChg>
        <pc:spChg chg="add del">
          <ac:chgData name="Nataliia Chornii (UA)" userId="4e4b8b3d-5f31-49bb-9f80-8a25c04abfff" providerId="ADAL" clId="{52163427-3E63-4487-BD88-23EA5CCD03BB}" dt="2024-03-12T12:22:42.297" v="229" actId="22"/>
          <ac:spMkLst>
            <pc:docMk/>
            <pc:sldMk cId="2630099657" sldId="933"/>
            <ac:spMk id="31" creationId="{75F5177C-3129-E692-2521-F4770E919613}"/>
          </ac:spMkLst>
        </pc:spChg>
        <pc:spChg chg="mod">
          <ac:chgData name="Nataliia Chornii (UA)" userId="4e4b8b3d-5f31-49bb-9f80-8a25c04abfff" providerId="ADAL" clId="{52163427-3E63-4487-BD88-23EA5CCD03BB}" dt="2024-03-12T12:22:48.453" v="231"/>
          <ac:spMkLst>
            <pc:docMk/>
            <pc:sldMk cId="2630099657" sldId="933"/>
            <ac:spMk id="33" creationId="{4343A1D4-278C-9976-9B7F-C63811EF9DC9}"/>
          </ac:spMkLst>
        </pc:spChg>
        <pc:spChg chg="mod">
          <ac:chgData name="Nataliia Chornii (UA)" userId="4e4b8b3d-5f31-49bb-9f80-8a25c04abfff" providerId="ADAL" clId="{52163427-3E63-4487-BD88-23EA5CCD03BB}" dt="2024-03-12T12:22:44.601" v="230"/>
          <ac:spMkLst>
            <pc:docMk/>
            <pc:sldMk cId="2630099657" sldId="933"/>
            <ac:spMk id="34" creationId="{CA8E062C-8775-CB06-C7C0-2EF0A1AFC4EB}"/>
          </ac:spMkLst>
        </pc:spChg>
        <pc:grpChg chg="add mod">
          <ac:chgData name="Nataliia Chornii (UA)" userId="4e4b8b3d-5f31-49bb-9f80-8a25c04abfff" providerId="ADAL" clId="{52163427-3E63-4487-BD88-23EA5CCD03BB}" dt="2024-03-12T12:22:44.601" v="230"/>
          <ac:grpSpMkLst>
            <pc:docMk/>
            <pc:sldMk cId="2630099657" sldId="933"/>
            <ac:grpSpMk id="32" creationId="{5A407E46-3D4F-F074-EB86-6DE17D8F3CCD}"/>
          </ac:grpSpMkLst>
        </pc:grpChg>
      </pc:sldChg>
      <pc:sldChg chg="addSp delSp modSp mod">
        <pc:chgData name="Nataliia Chornii (UA)" userId="4e4b8b3d-5f31-49bb-9f80-8a25c04abfff" providerId="ADAL" clId="{52163427-3E63-4487-BD88-23EA5CCD03BB}" dt="2024-03-12T12:22:53.722" v="235" actId="478"/>
        <pc:sldMkLst>
          <pc:docMk/>
          <pc:sldMk cId="156182905" sldId="934"/>
        </pc:sldMkLst>
        <pc:spChg chg="mod">
          <ac:chgData name="Nataliia Chornii (UA)" userId="4e4b8b3d-5f31-49bb-9f80-8a25c04abfff" providerId="ADAL" clId="{52163427-3E63-4487-BD88-23EA5CCD03BB}" dt="2024-03-12T11:09:29.096" v="40"/>
          <ac:spMkLst>
            <pc:docMk/>
            <pc:sldMk cId="156182905" sldId="934"/>
            <ac:spMk id="2" creationId="{D1D6AC03-28D5-6F25-B774-213412140BFB}"/>
          </ac:spMkLst>
        </pc:spChg>
        <pc:spChg chg="del mod">
          <ac:chgData name="Nataliia Chornii (UA)" userId="4e4b8b3d-5f31-49bb-9f80-8a25c04abfff" providerId="ADAL" clId="{52163427-3E63-4487-BD88-23EA5CCD03BB}" dt="2024-03-12T12:22:53.722" v="235" actId="478"/>
          <ac:spMkLst>
            <pc:docMk/>
            <pc:sldMk cId="156182905" sldId="934"/>
            <ac:spMk id="30" creationId="{8BB93EB4-5376-2754-BE65-B10509DCC21C}"/>
          </ac:spMkLst>
        </pc:spChg>
        <pc:spChg chg="mod">
          <ac:chgData name="Nataliia Chornii (UA)" userId="4e4b8b3d-5f31-49bb-9f80-8a25c04abfff" providerId="ADAL" clId="{52163427-3E63-4487-BD88-23EA5CCD03BB}" dt="2024-03-12T12:22:52.722" v="234"/>
          <ac:spMkLst>
            <pc:docMk/>
            <pc:sldMk cId="156182905" sldId="934"/>
            <ac:spMk id="31" creationId="{4AA8C989-94BD-8BD9-560F-3B2617F2772F}"/>
          </ac:spMkLst>
        </pc:spChg>
        <pc:spChg chg="mod">
          <ac:chgData name="Nataliia Chornii (UA)" userId="4e4b8b3d-5f31-49bb-9f80-8a25c04abfff" providerId="ADAL" clId="{52163427-3E63-4487-BD88-23EA5CCD03BB}" dt="2024-03-12T12:22:52.722" v="234"/>
          <ac:spMkLst>
            <pc:docMk/>
            <pc:sldMk cId="156182905" sldId="934"/>
            <ac:spMk id="32" creationId="{B6766F76-46FE-25AC-24EA-2AEA2F66950A}"/>
          </ac:spMkLst>
        </pc:spChg>
        <pc:grpChg chg="add mod">
          <ac:chgData name="Nataliia Chornii (UA)" userId="4e4b8b3d-5f31-49bb-9f80-8a25c04abfff" providerId="ADAL" clId="{52163427-3E63-4487-BD88-23EA5CCD03BB}" dt="2024-03-12T12:22:52.722" v="234"/>
          <ac:grpSpMkLst>
            <pc:docMk/>
            <pc:sldMk cId="156182905" sldId="934"/>
            <ac:grpSpMk id="23" creationId="{2212D7A8-04E3-121E-8A55-82CEFDF779DF}"/>
          </ac:grpSpMkLst>
        </pc:grpChg>
      </pc:sldChg>
      <pc:sldChg chg="addSp delSp modSp mod">
        <pc:chgData name="Nataliia Chornii (UA)" userId="4e4b8b3d-5f31-49bb-9f80-8a25c04abfff" providerId="ADAL" clId="{52163427-3E63-4487-BD88-23EA5CCD03BB}" dt="2024-03-12T12:22:56.197" v="238"/>
        <pc:sldMkLst>
          <pc:docMk/>
          <pc:sldMk cId="2803239078" sldId="935"/>
        </pc:sldMkLst>
        <pc:spChg chg="mod">
          <ac:chgData name="Nataliia Chornii (UA)" userId="4e4b8b3d-5f31-49bb-9f80-8a25c04abfff" providerId="ADAL" clId="{52163427-3E63-4487-BD88-23EA5CCD03BB}" dt="2024-03-12T11:09:30.287" v="41"/>
          <ac:spMkLst>
            <pc:docMk/>
            <pc:sldMk cId="2803239078" sldId="935"/>
            <ac:spMk id="2" creationId="{CFDF6535-C156-7ADE-BFD5-5D34028DCE11}"/>
          </ac:spMkLst>
        </pc:spChg>
        <pc:spChg chg="del mod">
          <ac:chgData name="Nataliia Chornii (UA)" userId="4e4b8b3d-5f31-49bb-9f80-8a25c04abfff" providerId="ADAL" clId="{52163427-3E63-4487-BD88-23EA5CCD03BB}" dt="2024-03-12T12:22:55.402" v="237" actId="478"/>
          <ac:spMkLst>
            <pc:docMk/>
            <pc:sldMk cId="2803239078" sldId="935"/>
            <ac:spMk id="30" creationId="{E80D5E30-E7FF-0A93-7A54-BD57D8324802}"/>
          </ac:spMkLst>
        </pc:spChg>
        <pc:spChg chg="mod">
          <ac:chgData name="Nataliia Chornii (UA)" userId="4e4b8b3d-5f31-49bb-9f80-8a25c04abfff" providerId="ADAL" clId="{52163427-3E63-4487-BD88-23EA5CCD03BB}" dt="2024-03-12T12:22:56.197" v="238"/>
          <ac:spMkLst>
            <pc:docMk/>
            <pc:sldMk cId="2803239078" sldId="935"/>
            <ac:spMk id="31" creationId="{C8263305-B919-3DC6-F882-1E737C5B2AED}"/>
          </ac:spMkLst>
        </pc:spChg>
        <pc:spChg chg="mod">
          <ac:chgData name="Nataliia Chornii (UA)" userId="4e4b8b3d-5f31-49bb-9f80-8a25c04abfff" providerId="ADAL" clId="{52163427-3E63-4487-BD88-23EA5CCD03BB}" dt="2024-03-12T12:22:56.197" v="238"/>
          <ac:spMkLst>
            <pc:docMk/>
            <pc:sldMk cId="2803239078" sldId="935"/>
            <ac:spMk id="33" creationId="{052A78D0-A332-7F92-B18D-368CC62F7024}"/>
          </ac:spMkLst>
        </pc:spChg>
        <pc:grpChg chg="add mod">
          <ac:chgData name="Nataliia Chornii (UA)" userId="4e4b8b3d-5f31-49bb-9f80-8a25c04abfff" providerId="ADAL" clId="{52163427-3E63-4487-BD88-23EA5CCD03BB}" dt="2024-03-12T12:22:56.197" v="238"/>
          <ac:grpSpMkLst>
            <pc:docMk/>
            <pc:sldMk cId="2803239078" sldId="935"/>
            <ac:grpSpMk id="23" creationId="{096455D1-C7FC-68A6-50AB-47A060BA669E}"/>
          </ac:grpSpMkLst>
        </pc:grpChg>
      </pc:sldChg>
      <pc:sldChg chg="addSp delSp modSp mod">
        <pc:chgData name="Nataliia Chornii (UA)" userId="4e4b8b3d-5f31-49bb-9f80-8a25c04abfff" providerId="ADAL" clId="{52163427-3E63-4487-BD88-23EA5CCD03BB}" dt="2024-03-12T12:26:45.514" v="391" actId="207"/>
        <pc:sldMkLst>
          <pc:docMk/>
          <pc:sldMk cId="1939332489" sldId="936"/>
        </pc:sldMkLst>
        <pc:spChg chg="mod">
          <ac:chgData name="Nataliia Chornii (UA)" userId="4e4b8b3d-5f31-49bb-9f80-8a25c04abfff" providerId="ADAL" clId="{52163427-3E63-4487-BD88-23EA5CCD03BB}" dt="2024-03-12T12:26:45.514" v="391" actId="207"/>
          <ac:spMkLst>
            <pc:docMk/>
            <pc:sldMk cId="1939332489" sldId="936"/>
            <ac:spMk id="4" creationId="{872966CD-924A-B939-E655-A6BAF817DCBF}"/>
          </ac:spMkLst>
        </pc:spChg>
        <pc:spChg chg="mod">
          <ac:chgData name="Nataliia Chornii (UA)" userId="4e4b8b3d-5f31-49bb-9f80-8a25c04abfff" providerId="ADAL" clId="{52163427-3E63-4487-BD88-23EA5CCD03BB}" dt="2024-03-12T12:23:23.884" v="249"/>
          <ac:spMkLst>
            <pc:docMk/>
            <pc:sldMk cId="1939332489" sldId="936"/>
            <ac:spMk id="20" creationId="{A8752193-2A58-13EA-3103-0E80B371FBA1}"/>
          </ac:spMkLst>
        </pc:spChg>
        <pc:spChg chg="mod">
          <ac:chgData name="Nataliia Chornii (UA)" userId="4e4b8b3d-5f31-49bb-9f80-8a25c04abfff" providerId="ADAL" clId="{52163427-3E63-4487-BD88-23EA5CCD03BB}" dt="2024-03-12T11:09:35.324" v="43"/>
          <ac:spMkLst>
            <pc:docMk/>
            <pc:sldMk cId="1939332489" sldId="936"/>
            <ac:spMk id="22" creationId="{DA3782D5-EFBB-96B7-5592-6EB524123095}"/>
          </ac:spMkLst>
        </pc:spChg>
        <pc:spChg chg="mod">
          <ac:chgData name="Nataliia Chornii (UA)" userId="4e4b8b3d-5f31-49bb-9f80-8a25c04abfff" providerId="ADAL" clId="{52163427-3E63-4487-BD88-23EA5CCD03BB}" dt="2024-03-12T12:23:23.884" v="249"/>
          <ac:spMkLst>
            <pc:docMk/>
            <pc:sldMk cId="1939332489" sldId="936"/>
            <ac:spMk id="25" creationId="{D810FC61-59CA-09C2-0F28-39C5292CDDE7}"/>
          </ac:spMkLst>
        </pc:spChg>
        <pc:spChg chg="del">
          <ac:chgData name="Nataliia Chornii (UA)" userId="4e4b8b3d-5f31-49bb-9f80-8a25c04abfff" providerId="ADAL" clId="{52163427-3E63-4487-BD88-23EA5CCD03BB}" dt="2024-03-12T12:23:23.507" v="248" actId="478"/>
          <ac:spMkLst>
            <pc:docMk/>
            <pc:sldMk cId="1939332489" sldId="936"/>
            <ac:spMk id="32" creationId="{2994670C-A959-FD9E-A900-217223B2DE3C}"/>
          </ac:spMkLst>
        </pc:spChg>
        <pc:grpChg chg="add mod">
          <ac:chgData name="Nataliia Chornii (UA)" userId="4e4b8b3d-5f31-49bb-9f80-8a25c04abfff" providerId="ADAL" clId="{52163427-3E63-4487-BD88-23EA5CCD03BB}" dt="2024-03-12T12:23:23.884" v="249"/>
          <ac:grpSpMkLst>
            <pc:docMk/>
            <pc:sldMk cId="1939332489" sldId="936"/>
            <ac:grpSpMk id="18" creationId="{59C0A1B7-030B-0D38-3248-60CDB0F521AA}"/>
          </ac:grpSpMkLst>
        </pc:grpChg>
      </pc:sldChg>
      <pc:sldChg chg="addSp delSp modSp mod">
        <pc:chgData name="Nataliia Chornii (UA)" userId="4e4b8b3d-5f31-49bb-9f80-8a25c04abfff" providerId="ADAL" clId="{52163427-3E63-4487-BD88-23EA5CCD03BB}" dt="2024-03-12T12:23:12.932" v="247" actId="1076"/>
        <pc:sldMkLst>
          <pc:docMk/>
          <pc:sldMk cId="1263375755" sldId="937"/>
        </pc:sldMkLst>
        <pc:spChg chg="mod">
          <ac:chgData name="Nataliia Chornii (UA)" userId="4e4b8b3d-5f31-49bb-9f80-8a25c04abfff" providerId="ADAL" clId="{52163427-3E63-4487-BD88-23EA5CCD03BB}" dt="2024-03-12T11:09:32.849" v="42"/>
          <ac:spMkLst>
            <pc:docMk/>
            <pc:sldMk cId="1263375755" sldId="937"/>
            <ac:spMk id="2" creationId="{ED2943CD-16EE-91FE-30AA-1E91969505A6}"/>
          </ac:spMkLst>
        </pc:spChg>
        <pc:spChg chg="mod">
          <ac:chgData name="Nataliia Chornii (UA)" userId="4e4b8b3d-5f31-49bb-9f80-8a25c04abfff" providerId="ADAL" clId="{52163427-3E63-4487-BD88-23EA5CCD03BB}" dt="2024-03-12T12:23:12.932" v="247" actId="1076"/>
          <ac:spMkLst>
            <pc:docMk/>
            <pc:sldMk cId="1263375755" sldId="937"/>
            <ac:spMk id="6" creationId="{6BDFFD0F-D669-CBFC-F79D-1F7CE72AB8C2}"/>
          </ac:spMkLst>
        </pc:spChg>
        <pc:spChg chg="del mod">
          <ac:chgData name="Nataliia Chornii (UA)" userId="4e4b8b3d-5f31-49bb-9f80-8a25c04abfff" providerId="ADAL" clId="{52163427-3E63-4487-BD88-23EA5CCD03BB}" dt="2024-03-12T12:23:06.518" v="242" actId="478"/>
          <ac:spMkLst>
            <pc:docMk/>
            <pc:sldMk cId="1263375755" sldId="937"/>
            <ac:spMk id="23" creationId="{25611068-7DDA-B2EC-9592-2476E3129359}"/>
          </ac:spMkLst>
        </pc:spChg>
        <pc:spChg chg="mod">
          <ac:chgData name="Nataliia Chornii (UA)" userId="4e4b8b3d-5f31-49bb-9f80-8a25c04abfff" providerId="ADAL" clId="{52163427-3E63-4487-BD88-23EA5CCD03BB}" dt="2024-03-12T12:23:11.782" v="245" actId="3064"/>
          <ac:spMkLst>
            <pc:docMk/>
            <pc:sldMk cId="1263375755" sldId="937"/>
            <ac:spMk id="26" creationId="{93CC1AF4-5735-FAF5-28CE-FDE084412226}"/>
          </ac:spMkLst>
        </pc:spChg>
        <pc:spChg chg="mod">
          <ac:chgData name="Nataliia Chornii (UA)" userId="4e4b8b3d-5f31-49bb-9f80-8a25c04abfff" providerId="ADAL" clId="{52163427-3E63-4487-BD88-23EA5CCD03BB}" dt="2024-03-12T12:23:00.935" v="240"/>
          <ac:spMkLst>
            <pc:docMk/>
            <pc:sldMk cId="1263375755" sldId="937"/>
            <ac:spMk id="27" creationId="{1CFCD6D0-F1EF-88E9-3615-98FAF8A8B978}"/>
          </ac:spMkLst>
        </pc:spChg>
        <pc:grpChg chg="add mod">
          <ac:chgData name="Nataliia Chornii (UA)" userId="4e4b8b3d-5f31-49bb-9f80-8a25c04abfff" providerId="ADAL" clId="{52163427-3E63-4487-BD88-23EA5CCD03BB}" dt="2024-03-12T12:23:00.935" v="240"/>
          <ac:grpSpMkLst>
            <pc:docMk/>
            <pc:sldMk cId="1263375755" sldId="937"/>
            <ac:grpSpMk id="25" creationId="{5426D644-7CFD-72FF-3126-536E033DF25C}"/>
          </ac:grpSpMkLst>
        </pc:grpChg>
      </pc:sldChg>
      <pc:sldChg chg="addSp delSp modSp mod">
        <pc:chgData name="Nataliia Chornii (UA)" userId="4e4b8b3d-5f31-49bb-9f80-8a25c04abfff" providerId="ADAL" clId="{52163427-3E63-4487-BD88-23EA5CCD03BB}" dt="2024-03-12T12:26:49.016" v="392" actId="207"/>
        <pc:sldMkLst>
          <pc:docMk/>
          <pc:sldMk cId="2976985460" sldId="938"/>
        </pc:sldMkLst>
        <pc:spChg chg="mod">
          <ac:chgData name="Nataliia Chornii (UA)" userId="4e4b8b3d-5f31-49bb-9f80-8a25c04abfff" providerId="ADAL" clId="{52163427-3E63-4487-BD88-23EA5CCD03BB}" dt="2024-03-12T11:09:37.071" v="44"/>
          <ac:spMkLst>
            <pc:docMk/>
            <pc:sldMk cId="2976985460" sldId="938"/>
            <ac:spMk id="2" creationId="{522041E8-8E88-02C5-E03A-E769C521DA8E}"/>
          </ac:spMkLst>
        </pc:spChg>
        <pc:spChg chg="mod">
          <ac:chgData name="Nataliia Chornii (UA)" userId="4e4b8b3d-5f31-49bb-9f80-8a25c04abfff" providerId="ADAL" clId="{52163427-3E63-4487-BD88-23EA5CCD03BB}" dt="2024-03-12T12:26:49.016" v="392" actId="207"/>
          <ac:spMkLst>
            <pc:docMk/>
            <pc:sldMk cId="2976985460" sldId="938"/>
            <ac:spMk id="4" creationId="{872966CD-924A-B939-E655-A6BAF817DCBF}"/>
          </ac:spMkLst>
        </pc:spChg>
        <pc:spChg chg="del mod">
          <ac:chgData name="Nataliia Chornii (UA)" userId="4e4b8b3d-5f31-49bb-9f80-8a25c04abfff" providerId="ADAL" clId="{52163427-3E63-4487-BD88-23EA5CCD03BB}" dt="2024-03-12T12:23:28.844" v="251" actId="478"/>
          <ac:spMkLst>
            <pc:docMk/>
            <pc:sldMk cId="2976985460" sldId="938"/>
            <ac:spMk id="23" creationId="{B57D46C5-1D17-93F3-422D-931D413F17E2}"/>
          </ac:spMkLst>
        </pc:spChg>
        <pc:spChg chg="mod">
          <ac:chgData name="Nataliia Chornii (UA)" userId="4e4b8b3d-5f31-49bb-9f80-8a25c04abfff" providerId="ADAL" clId="{52163427-3E63-4487-BD88-23EA5CCD03BB}" dt="2024-03-12T12:23:29.191" v="252"/>
          <ac:spMkLst>
            <pc:docMk/>
            <pc:sldMk cId="2976985460" sldId="938"/>
            <ac:spMk id="26" creationId="{EBEA41E2-D524-614A-1D5A-D4E30027DBEB}"/>
          </ac:spMkLst>
        </pc:spChg>
        <pc:spChg chg="mod">
          <ac:chgData name="Nataliia Chornii (UA)" userId="4e4b8b3d-5f31-49bb-9f80-8a25c04abfff" providerId="ADAL" clId="{52163427-3E63-4487-BD88-23EA5CCD03BB}" dt="2024-03-12T12:23:29.191" v="252"/>
          <ac:spMkLst>
            <pc:docMk/>
            <pc:sldMk cId="2976985460" sldId="938"/>
            <ac:spMk id="27" creationId="{B4EED10B-54A1-7B9A-DA53-46AB40847E3D}"/>
          </ac:spMkLst>
        </pc:spChg>
        <pc:grpChg chg="add mod">
          <ac:chgData name="Nataliia Chornii (UA)" userId="4e4b8b3d-5f31-49bb-9f80-8a25c04abfff" providerId="ADAL" clId="{52163427-3E63-4487-BD88-23EA5CCD03BB}" dt="2024-03-12T12:23:29.191" v="252"/>
          <ac:grpSpMkLst>
            <pc:docMk/>
            <pc:sldMk cId="2976985460" sldId="938"/>
            <ac:grpSpMk id="25" creationId="{1109D70E-6C4A-B808-2E0F-25DA50FFAC3B}"/>
          </ac:grpSpMkLst>
        </pc:grpChg>
      </pc:sldChg>
      <pc:sldChg chg="addSp delSp modSp mod">
        <pc:chgData name="Nataliia Chornii (UA)" userId="4e4b8b3d-5f31-49bb-9f80-8a25c04abfff" providerId="ADAL" clId="{52163427-3E63-4487-BD88-23EA5CCD03BB}" dt="2024-03-12T12:24:22.391" v="270" actId="164"/>
        <pc:sldMkLst>
          <pc:docMk/>
          <pc:sldMk cId="558100583" sldId="939"/>
        </pc:sldMkLst>
        <pc:spChg chg="mod">
          <ac:chgData name="Nataliia Chornii (UA)" userId="4e4b8b3d-5f31-49bb-9f80-8a25c04abfff" providerId="ADAL" clId="{52163427-3E63-4487-BD88-23EA5CCD03BB}" dt="2024-03-12T11:09:38.557" v="45"/>
          <ac:spMkLst>
            <pc:docMk/>
            <pc:sldMk cId="558100583" sldId="939"/>
            <ac:spMk id="2" creationId="{1E225718-E008-467A-5BFC-8A08C55E0544}"/>
          </ac:spMkLst>
        </pc:spChg>
        <pc:spChg chg="del mod">
          <ac:chgData name="Nataliia Chornii (UA)" userId="4e4b8b3d-5f31-49bb-9f80-8a25c04abfff" providerId="ADAL" clId="{52163427-3E63-4487-BD88-23EA5CCD03BB}" dt="2024-03-12T12:23:41.102" v="257" actId="478"/>
          <ac:spMkLst>
            <pc:docMk/>
            <pc:sldMk cId="558100583" sldId="939"/>
            <ac:spMk id="30" creationId="{27823F89-4964-863D-A03A-9A8E94BFE0D8}"/>
          </ac:spMkLst>
        </pc:spChg>
        <pc:spChg chg="mod topLvl">
          <ac:chgData name="Nataliia Chornii (UA)" userId="4e4b8b3d-5f31-49bb-9f80-8a25c04abfff" providerId="ADAL" clId="{52163427-3E63-4487-BD88-23EA5CCD03BB}" dt="2024-03-12T12:24:22.391" v="270" actId="164"/>
          <ac:spMkLst>
            <pc:docMk/>
            <pc:sldMk cId="558100583" sldId="939"/>
            <ac:spMk id="33" creationId="{312D369A-CC40-B8F5-631A-A9E34C7452EE}"/>
          </ac:spMkLst>
        </pc:spChg>
        <pc:spChg chg="mod topLvl">
          <ac:chgData name="Nataliia Chornii (UA)" userId="4e4b8b3d-5f31-49bb-9f80-8a25c04abfff" providerId="ADAL" clId="{52163427-3E63-4487-BD88-23EA5CCD03BB}" dt="2024-03-12T12:24:22.391" v="270" actId="164"/>
          <ac:spMkLst>
            <pc:docMk/>
            <pc:sldMk cId="558100583" sldId="939"/>
            <ac:spMk id="34" creationId="{D3CC88FF-6286-C940-EE45-65706753B659}"/>
          </ac:spMkLst>
        </pc:spChg>
        <pc:grpChg chg="add del mod">
          <ac:chgData name="Nataliia Chornii (UA)" userId="4e4b8b3d-5f31-49bb-9f80-8a25c04abfff" providerId="ADAL" clId="{52163427-3E63-4487-BD88-23EA5CCD03BB}" dt="2024-03-12T12:24:20.371" v="268" actId="165"/>
          <ac:grpSpMkLst>
            <pc:docMk/>
            <pc:sldMk cId="558100583" sldId="939"/>
            <ac:grpSpMk id="32" creationId="{649A2156-5AD6-204D-86E0-16EBA73EAA4B}"/>
          </ac:grpSpMkLst>
        </pc:grpChg>
        <pc:grpChg chg="add mod">
          <ac:chgData name="Nataliia Chornii (UA)" userId="4e4b8b3d-5f31-49bb-9f80-8a25c04abfff" providerId="ADAL" clId="{52163427-3E63-4487-BD88-23EA5CCD03BB}" dt="2024-03-12T12:24:22.391" v="270" actId="164"/>
          <ac:grpSpMkLst>
            <pc:docMk/>
            <pc:sldMk cId="558100583" sldId="939"/>
            <ac:grpSpMk id="35" creationId="{DE754E08-BB00-B980-A307-12C13C90E8DB}"/>
          </ac:grpSpMkLst>
        </pc:grpChg>
      </pc:sldChg>
      <pc:sldChg chg="addSp delSp modSp mod">
        <pc:chgData name="Nataliia Chornii (UA)" userId="4e4b8b3d-5f31-49bb-9f80-8a25c04abfff" providerId="ADAL" clId="{52163427-3E63-4487-BD88-23EA5CCD03BB}" dt="2024-03-12T12:24:27.937" v="272"/>
        <pc:sldMkLst>
          <pc:docMk/>
          <pc:sldMk cId="2169785454" sldId="940"/>
        </pc:sldMkLst>
        <pc:spChg chg="mod">
          <ac:chgData name="Nataliia Chornii (UA)" userId="4e4b8b3d-5f31-49bb-9f80-8a25c04abfff" providerId="ADAL" clId="{52163427-3E63-4487-BD88-23EA5CCD03BB}" dt="2024-03-12T11:09:40.126" v="46"/>
          <ac:spMkLst>
            <pc:docMk/>
            <pc:sldMk cId="2169785454" sldId="940"/>
            <ac:spMk id="2" creationId="{26CBEC25-69EE-FABD-D9B3-821EC29127F9}"/>
          </ac:spMkLst>
        </pc:spChg>
        <pc:spChg chg="del mod">
          <ac:chgData name="Nataliia Chornii (UA)" userId="4e4b8b3d-5f31-49bb-9f80-8a25c04abfff" providerId="ADAL" clId="{52163427-3E63-4487-BD88-23EA5CCD03BB}" dt="2024-03-12T12:24:02.276" v="263" actId="478"/>
          <ac:spMkLst>
            <pc:docMk/>
            <pc:sldMk cId="2169785454" sldId="940"/>
            <ac:spMk id="21" creationId="{5F3D2569-C1F1-791B-F491-08CB63AD8D90}"/>
          </ac:spMkLst>
        </pc:spChg>
        <pc:spChg chg="mod">
          <ac:chgData name="Nataliia Chornii (UA)" userId="4e4b8b3d-5f31-49bb-9f80-8a25c04abfff" providerId="ADAL" clId="{52163427-3E63-4487-BD88-23EA5CCD03BB}" dt="2024-03-12T12:23:59.051" v="262"/>
          <ac:spMkLst>
            <pc:docMk/>
            <pc:sldMk cId="2169785454" sldId="940"/>
            <ac:spMk id="23" creationId="{9F565B03-B91A-4A57-230F-C674CFD42994}"/>
          </ac:spMkLst>
        </pc:spChg>
        <pc:spChg chg="mod">
          <ac:chgData name="Nataliia Chornii (UA)" userId="4e4b8b3d-5f31-49bb-9f80-8a25c04abfff" providerId="ADAL" clId="{52163427-3E63-4487-BD88-23EA5CCD03BB}" dt="2024-03-12T12:23:59.051" v="262"/>
          <ac:spMkLst>
            <pc:docMk/>
            <pc:sldMk cId="2169785454" sldId="940"/>
            <ac:spMk id="24" creationId="{6241C636-F08A-858D-8C86-5A63C45B196A}"/>
          </ac:spMkLst>
        </pc:spChg>
        <pc:spChg chg="mod">
          <ac:chgData name="Nataliia Chornii (UA)" userId="4e4b8b3d-5f31-49bb-9f80-8a25c04abfff" providerId="ADAL" clId="{52163427-3E63-4487-BD88-23EA5CCD03BB}" dt="2024-03-12T12:24:27.937" v="272"/>
          <ac:spMkLst>
            <pc:docMk/>
            <pc:sldMk cId="2169785454" sldId="940"/>
            <ac:spMk id="27" creationId="{469C9D93-50A4-5B2B-F704-EC09936EEECD}"/>
          </ac:spMkLst>
        </pc:spChg>
        <pc:spChg chg="mod">
          <ac:chgData name="Nataliia Chornii (UA)" userId="4e4b8b3d-5f31-49bb-9f80-8a25c04abfff" providerId="ADAL" clId="{52163427-3E63-4487-BD88-23EA5CCD03BB}" dt="2024-03-12T12:24:27.937" v="272"/>
          <ac:spMkLst>
            <pc:docMk/>
            <pc:sldMk cId="2169785454" sldId="940"/>
            <ac:spMk id="28" creationId="{A4C79EC0-5C27-3DDA-AD3B-409B7D704DEC}"/>
          </ac:spMkLst>
        </pc:spChg>
        <pc:grpChg chg="add del mod">
          <ac:chgData name="Nataliia Chornii (UA)" userId="4e4b8b3d-5f31-49bb-9f80-8a25c04abfff" providerId="ADAL" clId="{52163427-3E63-4487-BD88-23EA5CCD03BB}" dt="2024-03-12T12:24:27.334" v="271" actId="478"/>
          <ac:grpSpMkLst>
            <pc:docMk/>
            <pc:sldMk cId="2169785454" sldId="940"/>
            <ac:grpSpMk id="22" creationId="{72C7FAA7-AD0F-EA4C-C474-6D4FC95E4F8D}"/>
          </ac:grpSpMkLst>
        </pc:grpChg>
        <pc:grpChg chg="add mod">
          <ac:chgData name="Nataliia Chornii (UA)" userId="4e4b8b3d-5f31-49bb-9f80-8a25c04abfff" providerId="ADAL" clId="{52163427-3E63-4487-BD88-23EA5CCD03BB}" dt="2024-03-12T12:24:27.937" v="272"/>
          <ac:grpSpMkLst>
            <pc:docMk/>
            <pc:sldMk cId="2169785454" sldId="940"/>
            <ac:grpSpMk id="26" creationId="{47E9C767-523E-A201-9C13-87E61A5EE729}"/>
          </ac:grpSpMkLst>
        </pc:grpChg>
      </pc:sldChg>
      <pc:sldChg chg="addSp delSp modSp mod">
        <pc:chgData name="Nataliia Chornii (UA)" userId="4e4b8b3d-5f31-49bb-9f80-8a25c04abfff" providerId="ADAL" clId="{52163427-3E63-4487-BD88-23EA5CCD03BB}" dt="2024-03-12T12:24:41.533" v="276" actId="478"/>
        <pc:sldMkLst>
          <pc:docMk/>
          <pc:sldMk cId="4229434319" sldId="941"/>
        </pc:sldMkLst>
        <pc:spChg chg="add del mod modVis">
          <ac:chgData name="Nataliia Chornii (UA)" userId="4e4b8b3d-5f31-49bb-9f80-8a25c04abfff" providerId="ADAL" clId="{52163427-3E63-4487-BD88-23EA5CCD03BB}" dt="2024-03-12T11:09:46.786" v="72"/>
          <ac:spMkLst>
            <pc:docMk/>
            <pc:sldMk cId="4229434319" sldId="941"/>
            <ac:spMk id="2" creationId="{85F2E3E3-0D8F-D850-2C77-FD030572E091}"/>
          </ac:spMkLst>
        </pc:spChg>
        <pc:spChg chg="mod">
          <ac:chgData name="Nataliia Chornii (UA)" userId="4e4b8b3d-5f31-49bb-9f80-8a25c04abfff" providerId="ADAL" clId="{52163427-3E63-4487-BD88-23EA5CCD03BB}" dt="2024-03-12T11:09:46.723" v="49" actId="948"/>
          <ac:spMkLst>
            <pc:docMk/>
            <pc:sldMk cId="4229434319" sldId="941"/>
            <ac:spMk id="3" creationId="{F4CCF02E-F3C4-C376-8F56-61BD85A2E74B}"/>
          </ac:spMkLst>
        </pc:spChg>
        <pc:spChg chg="mod">
          <ac:chgData name="Nataliia Chornii (UA)" userId="4e4b8b3d-5f31-49bb-9f80-8a25c04abfff" providerId="ADAL" clId="{52163427-3E63-4487-BD88-23EA5CCD03BB}" dt="2024-03-12T11:09:42.048" v="47"/>
          <ac:spMkLst>
            <pc:docMk/>
            <pc:sldMk cId="4229434319" sldId="941"/>
            <ac:spMk id="5" creationId="{3EE9A8D7-974A-0CF9-3140-9CBC7B279E05}"/>
          </ac:spMkLst>
        </pc:spChg>
        <pc:spChg chg="mod">
          <ac:chgData name="Nataliia Chornii (UA)" userId="4e4b8b3d-5f31-49bb-9f80-8a25c04abfff" providerId="ADAL" clId="{52163427-3E63-4487-BD88-23EA5CCD03BB}" dt="2024-03-12T12:24:40.285" v="275"/>
          <ac:spMkLst>
            <pc:docMk/>
            <pc:sldMk cId="4229434319" sldId="941"/>
            <ac:spMk id="23" creationId="{741B907D-7A83-A3AE-8435-171CA406F057}"/>
          </ac:spMkLst>
        </pc:spChg>
        <pc:spChg chg="del mod">
          <ac:chgData name="Nataliia Chornii (UA)" userId="4e4b8b3d-5f31-49bb-9f80-8a25c04abfff" providerId="ADAL" clId="{52163427-3E63-4487-BD88-23EA5CCD03BB}" dt="2024-03-12T12:24:41.533" v="276" actId="478"/>
          <ac:spMkLst>
            <pc:docMk/>
            <pc:sldMk cId="4229434319" sldId="941"/>
            <ac:spMk id="29" creationId="{10CF8497-44F6-D4A2-BC21-9718267BF46C}"/>
          </ac:spMkLst>
        </pc:spChg>
        <pc:spChg chg="mod">
          <ac:chgData name="Nataliia Chornii (UA)" userId="4e4b8b3d-5f31-49bb-9f80-8a25c04abfff" providerId="ADAL" clId="{52163427-3E63-4487-BD88-23EA5CCD03BB}" dt="2024-03-12T12:24:36.117" v="274"/>
          <ac:spMkLst>
            <pc:docMk/>
            <pc:sldMk cId="4229434319" sldId="941"/>
            <ac:spMk id="30" creationId="{670429FC-0BF9-4D66-697C-24E16A7CB369}"/>
          </ac:spMkLst>
        </pc:spChg>
        <pc:grpChg chg="add mod">
          <ac:chgData name="Nataliia Chornii (UA)" userId="4e4b8b3d-5f31-49bb-9f80-8a25c04abfff" providerId="ADAL" clId="{52163427-3E63-4487-BD88-23EA5CCD03BB}" dt="2024-03-12T12:24:36.117" v="274"/>
          <ac:grpSpMkLst>
            <pc:docMk/>
            <pc:sldMk cId="4229434319" sldId="941"/>
            <ac:grpSpMk id="2" creationId="{6D238C93-22D9-249A-7A45-198757C3913C}"/>
          </ac:grpSpMkLst>
        </pc:grpChg>
        <pc:grpChg chg="mod">
          <ac:chgData name="Nataliia Chornii (UA)" userId="4e4b8b3d-5f31-49bb-9f80-8a25c04abfff" providerId="ADAL" clId="{52163427-3E63-4487-BD88-23EA5CCD03BB}" dt="2024-03-12T11:09:46.180" v="48" actId="553"/>
          <ac:grpSpMkLst>
            <pc:docMk/>
            <pc:sldMk cId="4229434319" sldId="941"/>
            <ac:grpSpMk id="20" creationId="{1476811F-6F80-556F-F119-B8BF7156FE00}"/>
          </ac:grpSpMkLst>
        </pc:grpChg>
        <pc:graphicFrameChg chg="mod">
          <ac:chgData name="Nataliia Chornii (UA)" userId="4e4b8b3d-5f31-49bb-9f80-8a25c04abfff" providerId="ADAL" clId="{52163427-3E63-4487-BD88-23EA5CCD03BB}" dt="2024-03-12T11:09:46.786" v="74"/>
          <ac:graphicFrameMkLst>
            <pc:docMk/>
            <pc:sldMk cId="4229434319" sldId="941"/>
            <ac:graphicFrameMk id="9" creationId="{D9E6BB6A-4571-FBF8-9A7D-06ADE4374D4D}"/>
          </ac:graphicFrameMkLst>
        </pc:graphicFrameChg>
      </pc:sldChg>
      <pc:sldChg chg="addSp delSp modSp mod">
        <pc:chgData name="Nataliia Chornii (UA)" userId="4e4b8b3d-5f31-49bb-9f80-8a25c04abfff" providerId="ADAL" clId="{52163427-3E63-4487-BD88-23EA5CCD03BB}" dt="2024-03-12T12:24:46.689" v="279" actId="478"/>
        <pc:sldMkLst>
          <pc:docMk/>
          <pc:sldMk cId="3615584869" sldId="942"/>
        </pc:sldMkLst>
        <pc:spChg chg="mod">
          <ac:chgData name="Nataliia Chornii (UA)" userId="4e4b8b3d-5f31-49bb-9f80-8a25c04abfff" providerId="ADAL" clId="{52163427-3E63-4487-BD88-23EA5CCD03BB}" dt="2024-03-12T11:09:49.584" v="75"/>
          <ac:spMkLst>
            <pc:docMk/>
            <pc:sldMk cId="3615584869" sldId="942"/>
            <ac:spMk id="2" creationId="{8EE1DE98-DB4B-314F-4BB5-97B8B97A8B14}"/>
          </ac:spMkLst>
        </pc:spChg>
        <pc:spChg chg="del mod">
          <ac:chgData name="Nataliia Chornii (UA)" userId="4e4b8b3d-5f31-49bb-9f80-8a25c04abfff" providerId="ADAL" clId="{52163427-3E63-4487-BD88-23EA5CCD03BB}" dt="2024-03-12T12:24:46.689" v="279" actId="478"/>
          <ac:spMkLst>
            <pc:docMk/>
            <pc:sldMk cId="3615584869" sldId="942"/>
            <ac:spMk id="25" creationId="{75EFC37F-1063-4F82-B810-0A2208C5BE0E}"/>
          </ac:spMkLst>
        </pc:spChg>
        <pc:spChg chg="mod">
          <ac:chgData name="Nataliia Chornii (UA)" userId="4e4b8b3d-5f31-49bb-9f80-8a25c04abfff" providerId="ADAL" clId="{52163427-3E63-4487-BD88-23EA5CCD03BB}" dt="2024-03-12T12:24:45.528" v="278"/>
          <ac:spMkLst>
            <pc:docMk/>
            <pc:sldMk cId="3615584869" sldId="942"/>
            <ac:spMk id="33" creationId="{A4334331-5F84-6273-1AF0-089D538C43F6}"/>
          </ac:spMkLst>
        </pc:spChg>
        <pc:spChg chg="mod">
          <ac:chgData name="Nataliia Chornii (UA)" userId="4e4b8b3d-5f31-49bb-9f80-8a25c04abfff" providerId="ADAL" clId="{52163427-3E63-4487-BD88-23EA5CCD03BB}" dt="2024-03-12T12:24:45.528" v="278"/>
          <ac:spMkLst>
            <pc:docMk/>
            <pc:sldMk cId="3615584869" sldId="942"/>
            <ac:spMk id="34" creationId="{A5134FB1-B788-69C1-DC74-5A91615C6113}"/>
          </ac:spMkLst>
        </pc:spChg>
        <pc:grpChg chg="add mod">
          <ac:chgData name="Nataliia Chornii (UA)" userId="4e4b8b3d-5f31-49bb-9f80-8a25c04abfff" providerId="ADAL" clId="{52163427-3E63-4487-BD88-23EA5CCD03BB}" dt="2024-03-12T12:24:45.528" v="278"/>
          <ac:grpSpMkLst>
            <pc:docMk/>
            <pc:sldMk cId="3615584869" sldId="942"/>
            <ac:grpSpMk id="32" creationId="{D2005991-8570-9E35-F692-CF8213DEC4AF}"/>
          </ac:grpSpMkLst>
        </pc:grpChg>
      </pc:sldChg>
      <pc:sldChg chg="addSp delSp modSp mod">
        <pc:chgData name="Nataliia Chornii (UA)" userId="4e4b8b3d-5f31-49bb-9f80-8a25c04abfff" providerId="ADAL" clId="{52163427-3E63-4487-BD88-23EA5CCD03BB}" dt="2024-03-12T12:25:24.875" v="380"/>
        <pc:sldMkLst>
          <pc:docMk/>
          <pc:sldMk cId="2603595337" sldId="945"/>
        </pc:sldMkLst>
        <pc:spChg chg="mod">
          <ac:chgData name="Nataliia Chornii (UA)" userId="4e4b8b3d-5f31-49bb-9f80-8a25c04abfff" providerId="ADAL" clId="{52163427-3E63-4487-BD88-23EA5CCD03BB}" dt="2024-03-12T11:09:59.387" v="81"/>
          <ac:spMkLst>
            <pc:docMk/>
            <pc:sldMk cId="2603595337" sldId="945"/>
            <ac:spMk id="2" creationId="{4C2946A7-6CE6-A78A-F248-0C0A646E970B}"/>
          </ac:spMkLst>
        </pc:spChg>
        <pc:spChg chg="mod">
          <ac:chgData name="Nataliia Chornii (UA)" userId="4e4b8b3d-5f31-49bb-9f80-8a25c04abfff" providerId="ADAL" clId="{52163427-3E63-4487-BD88-23EA5CCD03BB}" dt="2024-03-12T12:25:24.875" v="380"/>
          <ac:spMkLst>
            <pc:docMk/>
            <pc:sldMk cId="2603595337" sldId="945"/>
            <ac:spMk id="17" creationId="{D71C372B-9CBA-6149-8C68-05B504C8427B}"/>
          </ac:spMkLst>
        </pc:spChg>
        <pc:spChg chg="del">
          <ac:chgData name="Nataliia Chornii (UA)" userId="4e4b8b3d-5f31-49bb-9f80-8a25c04abfff" providerId="ADAL" clId="{52163427-3E63-4487-BD88-23EA5CCD03BB}" dt="2024-03-12T12:25:23.973" v="379" actId="478"/>
          <ac:spMkLst>
            <pc:docMk/>
            <pc:sldMk cId="2603595337" sldId="945"/>
            <ac:spMk id="22" creationId="{335F61F5-5C74-1696-932B-44705F59F366}"/>
          </ac:spMkLst>
        </pc:spChg>
        <pc:spChg chg="mod">
          <ac:chgData name="Nataliia Chornii (UA)" userId="4e4b8b3d-5f31-49bb-9f80-8a25c04abfff" providerId="ADAL" clId="{52163427-3E63-4487-BD88-23EA5CCD03BB}" dt="2024-03-12T12:25:24.875" v="380"/>
          <ac:spMkLst>
            <pc:docMk/>
            <pc:sldMk cId="2603595337" sldId="945"/>
            <ac:spMk id="23" creationId="{D599EDDA-17A7-7C56-D6A0-942E29CED5AE}"/>
          </ac:spMkLst>
        </pc:spChg>
        <pc:grpChg chg="add mod">
          <ac:chgData name="Nataliia Chornii (UA)" userId="4e4b8b3d-5f31-49bb-9f80-8a25c04abfff" providerId="ADAL" clId="{52163427-3E63-4487-BD88-23EA5CCD03BB}" dt="2024-03-12T12:25:24.875" v="380"/>
          <ac:grpSpMkLst>
            <pc:docMk/>
            <pc:sldMk cId="2603595337" sldId="945"/>
            <ac:grpSpMk id="5" creationId="{B51EE77F-1A13-13EC-99B5-675A5A78C732}"/>
          </ac:grpSpMkLst>
        </pc:grpChg>
      </pc:sldChg>
      <pc:sldChg chg="addSp delSp modSp mod">
        <pc:chgData name="Nataliia Chornii (UA)" userId="4e4b8b3d-5f31-49bb-9f80-8a25c04abfff" providerId="ADAL" clId="{52163427-3E63-4487-BD88-23EA5CCD03BB}" dt="2024-03-12T12:25:32.977" v="388"/>
        <pc:sldMkLst>
          <pc:docMk/>
          <pc:sldMk cId="3488828484" sldId="946"/>
        </pc:sldMkLst>
        <pc:spChg chg="mod">
          <ac:chgData name="Nataliia Chornii (UA)" userId="4e4b8b3d-5f31-49bb-9f80-8a25c04abfff" providerId="ADAL" clId="{52163427-3E63-4487-BD88-23EA5CCD03BB}" dt="2024-03-12T11:10:02.070" v="82"/>
          <ac:spMkLst>
            <pc:docMk/>
            <pc:sldMk cId="3488828484" sldId="946"/>
            <ac:spMk id="2" creationId="{8119AA81-D51B-6287-E979-F71003D27C65}"/>
          </ac:spMkLst>
        </pc:spChg>
        <pc:spChg chg="del">
          <ac:chgData name="Nataliia Chornii (UA)" userId="4e4b8b3d-5f31-49bb-9f80-8a25c04abfff" providerId="ADAL" clId="{52163427-3E63-4487-BD88-23EA5CCD03BB}" dt="2024-03-12T12:25:32.142" v="387" actId="478"/>
          <ac:spMkLst>
            <pc:docMk/>
            <pc:sldMk cId="3488828484" sldId="946"/>
            <ac:spMk id="16" creationId="{BF1741C3-C6E1-695F-CF3F-D21D1E19FEB8}"/>
          </ac:spMkLst>
        </pc:spChg>
        <pc:spChg chg="add del mod">
          <ac:chgData name="Nataliia Chornii (UA)" userId="4e4b8b3d-5f31-49bb-9f80-8a25c04abfff" providerId="ADAL" clId="{52163427-3E63-4487-BD88-23EA5CCD03BB}" dt="2024-03-12T12:25:31.182" v="386" actId="571"/>
          <ac:spMkLst>
            <pc:docMk/>
            <pc:sldMk cId="3488828484" sldId="946"/>
            <ac:spMk id="17" creationId="{4FF46D52-2797-A3E4-ABC7-527CEC09BF1F}"/>
          </ac:spMkLst>
        </pc:spChg>
        <pc:spChg chg="mod">
          <ac:chgData name="Nataliia Chornii (UA)" userId="4e4b8b3d-5f31-49bb-9f80-8a25c04abfff" providerId="ADAL" clId="{52163427-3E63-4487-BD88-23EA5CCD03BB}" dt="2024-03-12T12:25:27.873" v="382"/>
          <ac:spMkLst>
            <pc:docMk/>
            <pc:sldMk cId="3488828484" sldId="946"/>
            <ac:spMk id="19" creationId="{598A1673-9DDD-5F40-4DB1-F7409FEACFF5}"/>
          </ac:spMkLst>
        </pc:spChg>
        <pc:spChg chg="mod">
          <ac:chgData name="Nataliia Chornii (UA)" userId="4e4b8b3d-5f31-49bb-9f80-8a25c04abfff" providerId="ADAL" clId="{52163427-3E63-4487-BD88-23EA5CCD03BB}" dt="2024-03-12T12:25:27.873" v="382"/>
          <ac:spMkLst>
            <pc:docMk/>
            <pc:sldMk cId="3488828484" sldId="946"/>
            <ac:spMk id="20" creationId="{0A0722CE-5E95-3002-7845-E3599CD8C87C}"/>
          </ac:spMkLst>
        </pc:spChg>
        <pc:spChg chg="mod">
          <ac:chgData name="Nataliia Chornii (UA)" userId="4e4b8b3d-5f31-49bb-9f80-8a25c04abfff" providerId="ADAL" clId="{52163427-3E63-4487-BD88-23EA5CCD03BB}" dt="2024-03-12T12:25:32.977" v="388"/>
          <ac:spMkLst>
            <pc:docMk/>
            <pc:sldMk cId="3488828484" sldId="946"/>
            <ac:spMk id="22" creationId="{F7592D35-71D7-FC31-E5F5-A596135BB344}"/>
          </ac:spMkLst>
        </pc:spChg>
        <pc:spChg chg="mod">
          <ac:chgData name="Nataliia Chornii (UA)" userId="4e4b8b3d-5f31-49bb-9f80-8a25c04abfff" providerId="ADAL" clId="{52163427-3E63-4487-BD88-23EA5CCD03BB}" dt="2024-03-12T12:25:32.977" v="388"/>
          <ac:spMkLst>
            <pc:docMk/>
            <pc:sldMk cId="3488828484" sldId="946"/>
            <ac:spMk id="23" creationId="{C6FA446D-273B-A146-7DA0-AF820BAB40BF}"/>
          </ac:spMkLst>
        </pc:spChg>
        <pc:grpChg chg="add del mod">
          <ac:chgData name="Nataliia Chornii (UA)" userId="4e4b8b3d-5f31-49bb-9f80-8a25c04abfff" providerId="ADAL" clId="{52163427-3E63-4487-BD88-23EA5CCD03BB}" dt="2024-03-12T12:25:30.554" v="385"/>
          <ac:grpSpMkLst>
            <pc:docMk/>
            <pc:sldMk cId="3488828484" sldId="946"/>
            <ac:grpSpMk id="18" creationId="{DE133FC8-B870-BF33-1F37-1ECE542F1742}"/>
          </ac:grpSpMkLst>
        </pc:grpChg>
        <pc:grpChg chg="add mod">
          <ac:chgData name="Nataliia Chornii (UA)" userId="4e4b8b3d-5f31-49bb-9f80-8a25c04abfff" providerId="ADAL" clId="{52163427-3E63-4487-BD88-23EA5CCD03BB}" dt="2024-03-12T12:25:32.977" v="388"/>
          <ac:grpSpMkLst>
            <pc:docMk/>
            <pc:sldMk cId="3488828484" sldId="946"/>
            <ac:grpSpMk id="21" creationId="{377E7149-E9FB-3F6A-82D4-20995D3A1387}"/>
          </ac:grpSpMkLst>
        </pc:grpChg>
      </pc:sldChg>
      <pc:sldChg chg="modSp mod">
        <pc:chgData name="Nataliia Chornii (UA)" userId="4e4b8b3d-5f31-49bb-9f80-8a25c04abfff" providerId="ADAL" clId="{52163427-3E63-4487-BD88-23EA5CCD03BB}" dt="2024-03-12T11:08:59.005" v="24"/>
        <pc:sldMkLst>
          <pc:docMk/>
          <pc:sldMk cId="2283029669" sldId="948"/>
        </pc:sldMkLst>
        <pc:spChg chg="mod">
          <ac:chgData name="Nataliia Chornii (UA)" userId="4e4b8b3d-5f31-49bb-9f80-8a25c04abfff" providerId="ADAL" clId="{52163427-3E63-4487-BD88-23EA5CCD03BB}" dt="2024-03-12T11:08:59.005" v="24"/>
          <ac:spMkLst>
            <pc:docMk/>
            <pc:sldMk cId="2283029669" sldId="948"/>
            <ac:spMk id="3" creationId="{DEB29C57-B3A6-0F16-06E0-A838D8AD6848}"/>
          </ac:spMkLst>
        </pc:spChg>
      </pc:sldChg>
      <pc:sldChg chg="modSp mod">
        <pc:chgData name="Nataliia Chornii (UA)" userId="4e4b8b3d-5f31-49bb-9f80-8a25c04abfff" providerId="ADAL" clId="{52163427-3E63-4487-BD88-23EA5CCD03BB}" dt="2024-03-12T11:10:04.930" v="83"/>
        <pc:sldMkLst>
          <pc:docMk/>
          <pc:sldMk cId="3348140347" sldId="949"/>
        </pc:sldMkLst>
        <pc:spChg chg="mod">
          <ac:chgData name="Nataliia Chornii (UA)" userId="4e4b8b3d-5f31-49bb-9f80-8a25c04abfff" providerId="ADAL" clId="{52163427-3E63-4487-BD88-23EA5CCD03BB}" dt="2024-03-12T11:10:04.930" v="83"/>
          <ac:spMkLst>
            <pc:docMk/>
            <pc:sldMk cId="3348140347" sldId="949"/>
            <ac:spMk id="2" creationId="{F69F0BF9-AAD3-9A06-76E6-3497DDEAE858}"/>
          </ac:spMkLst>
        </pc:spChg>
      </pc:sldChg>
      <pc:sldChg chg="addSp delSp modSp mod">
        <pc:chgData name="Nataliia Chornii (UA)" userId="4e4b8b3d-5f31-49bb-9f80-8a25c04abfff" providerId="ADAL" clId="{52163427-3E63-4487-BD88-23EA5CCD03BB}" dt="2024-03-12T12:25:35.653" v="390"/>
        <pc:sldMkLst>
          <pc:docMk/>
          <pc:sldMk cId="201777098" sldId="950"/>
        </pc:sldMkLst>
        <pc:spChg chg="mod">
          <ac:chgData name="Nataliia Chornii (UA)" userId="4e4b8b3d-5f31-49bb-9f80-8a25c04abfff" providerId="ADAL" clId="{52163427-3E63-4487-BD88-23EA5CCD03BB}" dt="2024-03-12T11:10:06.940" v="84"/>
          <ac:spMkLst>
            <pc:docMk/>
            <pc:sldMk cId="201777098" sldId="950"/>
            <ac:spMk id="5" creationId="{CE8DF088-308E-1DA3-B78E-2A403A65AD68}"/>
          </ac:spMkLst>
        </pc:spChg>
        <pc:spChg chg="del">
          <ac:chgData name="Nataliia Chornii (UA)" userId="4e4b8b3d-5f31-49bb-9f80-8a25c04abfff" providerId="ADAL" clId="{52163427-3E63-4487-BD88-23EA5CCD03BB}" dt="2024-03-12T12:25:35.307" v="389" actId="478"/>
          <ac:spMkLst>
            <pc:docMk/>
            <pc:sldMk cId="201777098" sldId="950"/>
            <ac:spMk id="23" creationId="{94DCF25A-EB68-95E6-AB63-22311838CB2F}"/>
          </ac:spMkLst>
        </pc:spChg>
        <pc:spChg chg="mod">
          <ac:chgData name="Nataliia Chornii (UA)" userId="4e4b8b3d-5f31-49bb-9f80-8a25c04abfff" providerId="ADAL" clId="{52163427-3E63-4487-BD88-23EA5CCD03BB}" dt="2024-03-12T12:25:35.653" v="390"/>
          <ac:spMkLst>
            <pc:docMk/>
            <pc:sldMk cId="201777098" sldId="950"/>
            <ac:spMk id="25" creationId="{C6FF4E10-BB5B-FF1A-C519-4B5DD6405406}"/>
          </ac:spMkLst>
        </pc:spChg>
        <pc:spChg chg="mod">
          <ac:chgData name="Nataliia Chornii (UA)" userId="4e4b8b3d-5f31-49bb-9f80-8a25c04abfff" providerId="ADAL" clId="{52163427-3E63-4487-BD88-23EA5CCD03BB}" dt="2024-03-12T12:25:35.653" v="390"/>
          <ac:spMkLst>
            <pc:docMk/>
            <pc:sldMk cId="201777098" sldId="950"/>
            <ac:spMk id="27" creationId="{8735C16F-BB31-CB26-3073-71C2D6B6EFFC}"/>
          </ac:spMkLst>
        </pc:spChg>
        <pc:grpChg chg="add mod">
          <ac:chgData name="Nataliia Chornii (UA)" userId="4e4b8b3d-5f31-49bb-9f80-8a25c04abfff" providerId="ADAL" clId="{52163427-3E63-4487-BD88-23EA5CCD03BB}" dt="2024-03-12T12:25:35.653" v="390"/>
          <ac:grpSpMkLst>
            <pc:docMk/>
            <pc:sldMk cId="201777098" sldId="950"/>
            <ac:grpSpMk id="24" creationId="{2629CC0D-66C6-97C9-9470-DD97EFC6CD5F}"/>
          </ac:grpSpMkLst>
        </pc:grpChg>
      </pc:sldChg>
      <pc:sldChg chg="modSp mod">
        <pc:chgData name="Nataliia Chornii (UA)" userId="4e4b8b3d-5f31-49bb-9f80-8a25c04abfff" providerId="ADAL" clId="{52163427-3E63-4487-BD88-23EA5CCD03BB}" dt="2024-03-12T11:10:08.879" v="85"/>
        <pc:sldMkLst>
          <pc:docMk/>
          <pc:sldMk cId="3919877977" sldId="951"/>
        </pc:sldMkLst>
        <pc:spChg chg="mod">
          <ac:chgData name="Nataliia Chornii (UA)" userId="4e4b8b3d-5f31-49bb-9f80-8a25c04abfff" providerId="ADAL" clId="{52163427-3E63-4487-BD88-23EA5CCD03BB}" dt="2024-03-12T11:10:08.879" v="85"/>
          <ac:spMkLst>
            <pc:docMk/>
            <pc:sldMk cId="3919877977" sldId="951"/>
            <ac:spMk id="2" creationId="{E492D44C-9EB1-E1BE-49A6-AA9E42D367F6}"/>
          </ac:spMkLst>
        </pc:spChg>
      </pc:sldChg>
      <pc:sldChg chg="modSp mod">
        <pc:chgData name="Nataliia Chornii (UA)" userId="4e4b8b3d-5f31-49bb-9f80-8a25c04abfff" providerId="ADAL" clId="{52163427-3E63-4487-BD88-23EA5CCD03BB}" dt="2024-03-12T11:10:12.281" v="86"/>
        <pc:sldMkLst>
          <pc:docMk/>
          <pc:sldMk cId="1713450018" sldId="952"/>
        </pc:sldMkLst>
        <pc:spChg chg="mod">
          <ac:chgData name="Nataliia Chornii (UA)" userId="4e4b8b3d-5f31-49bb-9f80-8a25c04abfff" providerId="ADAL" clId="{52163427-3E63-4487-BD88-23EA5CCD03BB}" dt="2024-03-12T11:10:12.281" v="86"/>
          <ac:spMkLst>
            <pc:docMk/>
            <pc:sldMk cId="1713450018" sldId="952"/>
            <ac:spMk id="2" creationId="{8AECEEF7-147C-69E9-7E85-66789CF569A3}"/>
          </ac:spMkLst>
        </pc:spChg>
      </pc:sldChg>
      <pc:sldChg chg="modSp mod">
        <pc:chgData name="Nataliia Chornii (UA)" userId="4e4b8b3d-5f31-49bb-9f80-8a25c04abfff" providerId="ADAL" clId="{52163427-3E63-4487-BD88-23EA5CCD03BB}" dt="2024-03-12T11:08:54.216" v="22"/>
        <pc:sldMkLst>
          <pc:docMk/>
          <pc:sldMk cId="3292995886" sldId="954"/>
        </pc:sldMkLst>
        <pc:spChg chg="mod">
          <ac:chgData name="Nataliia Chornii (UA)" userId="4e4b8b3d-5f31-49bb-9f80-8a25c04abfff" providerId="ADAL" clId="{52163427-3E63-4487-BD88-23EA5CCD03BB}" dt="2024-03-12T11:08:54.216" v="22"/>
          <ac:spMkLst>
            <pc:docMk/>
            <pc:sldMk cId="3292995886" sldId="954"/>
            <ac:spMk id="3" creationId="{D62443EF-1EFB-C495-F9E8-EE05C6033CA3}"/>
          </ac:spMkLst>
        </pc:spChg>
      </pc:sldChg>
      <pc:sldChg chg="addSp delSp modSp mod">
        <pc:chgData name="Nataliia Chornii (UA)" userId="4e4b8b3d-5f31-49bb-9f80-8a25c04abfff" providerId="ADAL" clId="{52163427-3E63-4487-BD88-23EA5CCD03BB}" dt="2024-03-12T12:25:12.501" v="378"/>
        <pc:sldMkLst>
          <pc:docMk/>
          <pc:sldMk cId="425128272" sldId="960"/>
        </pc:sldMkLst>
        <pc:spChg chg="mod ord">
          <ac:chgData name="Nataliia Chornii (UA)" userId="4e4b8b3d-5f31-49bb-9f80-8a25c04abfff" providerId="ADAL" clId="{52163427-3E63-4487-BD88-23EA5CCD03BB}" dt="2024-03-12T12:25:12.501" v="366"/>
          <ac:spMkLst>
            <pc:docMk/>
            <pc:sldMk cId="425128272" sldId="960"/>
            <ac:spMk id="2" creationId="{34F1EF69-F6E7-494E-E505-1BE8F9572B6E}"/>
          </ac:spMkLst>
        </pc:spChg>
        <pc:spChg chg="mod ord">
          <ac:chgData name="Nataliia Chornii (UA)" userId="4e4b8b3d-5f31-49bb-9f80-8a25c04abfff" providerId="ADAL" clId="{52163427-3E63-4487-BD88-23EA5CCD03BB}" dt="2024-03-12T12:25:12.484" v="348"/>
          <ac:spMkLst>
            <pc:docMk/>
            <pc:sldMk cId="425128272" sldId="960"/>
            <ac:spMk id="3" creationId="{F4CCF02E-F3C4-C376-8F56-61BD85A2E74B}"/>
          </ac:spMkLst>
        </pc:spChg>
        <pc:spChg chg="mod ord">
          <ac:chgData name="Nataliia Chornii (UA)" userId="4e4b8b3d-5f31-49bb-9f80-8a25c04abfff" providerId="ADAL" clId="{52163427-3E63-4487-BD88-23EA5CCD03BB}" dt="2024-03-12T12:25:12.501" v="374"/>
          <ac:spMkLst>
            <pc:docMk/>
            <pc:sldMk cId="425128272" sldId="960"/>
            <ac:spMk id="4" creationId="{872966CD-924A-B939-E655-A6BAF817DCBF}"/>
          </ac:spMkLst>
        </pc:spChg>
        <pc:spChg chg="add del">
          <ac:chgData name="Nataliia Chornii (UA)" userId="4e4b8b3d-5f31-49bb-9f80-8a25c04abfff" providerId="ADAL" clId="{52163427-3E63-4487-BD88-23EA5CCD03BB}" dt="2024-03-12T11:09:55.538" v="79" actId="22"/>
          <ac:spMkLst>
            <pc:docMk/>
            <pc:sldMk cId="425128272" sldId="960"/>
            <ac:spMk id="6" creationId="{53412345-AE6A-5063-7EF7-D57F2BF20190}"/>
          </ac:spMkLst>
        </pc:spChg>
        <pc:spChg chg="mod">
          <ac:chgData name="Nataliia Chornii (UA)" userId="4e4b8b3d-5f31-49bb-9f80-8a25c04abfff" providerId="ADAL" clId="{52163427-3E63-4487-BD88-23EA5CCD03BB}" dt="2024-03-12T12:25:03.453" v="288"/>
          <ac:spMkLst>
            <pc:docMk/>
            <pc:sldMk cId="425128272" sldId="960"/>
            <ac:spMk id="6" creationId="{9BC8FF52-DDEE-8B16-9044-3BA3DF596E96}"/>
          </ac:spMkLst>
        </pc:spChg>
        <pc:spChg chg="mod">
          <ac:chgData name="Nataliia Chornii (UA)" userId="4e4b8b3d-5f31-49bb-9f80-8a25c04abfff" providerId="ADAL" clId="{52163427-3E63-4487-BD88-23EA5CCD03BB}" dt="2024-03-12T12:25:03.453" v="288"/>
          <ac:spMkLst>
            <pc:docMk/>
            <pc:sldMk cId="425128272" sldId="960"/>
            <ac:spMk id="7" creationId="{C96AAF72-B438-117B-01C7-91AC4C893B12}"/>
          </ac:spMkLst>
        </pc:spChg>
        <pc:spChg chg="mod ord">
          <ac:chgData name="Nataliia Chornii (UA)" userId="4e4b8b3d-5f31-49bb-9f80-8a25c04abfff" providerId="ADAL" clId="{52163427-3E63-4487-BD88-23EA5CCD03BB}" dt="2024-03-12T12:25:12.484" v="358"/>
          <ac:spMkLst>
            <pc:docMk/>
            <pc:sldMk cId="425128272" sldId="960"/>
            <ac:spMk id="8" creationId="{8F84A1C1-A3B2-78F7-2F05-EA937E442831}"/>
          </ac:spMkLst>
        </pc:spChg>
        <pc:spChg chg="mod ord">
          <ac:chgData name="Nataliia Chornii (UA)" userId="4e4b8b3d-5f31-49bb-9f80-8a25c04abfff" providerId="ADAL" clId="{52163427-3E63-4487-BD88-23EA5CCD03BB}" dt="2024-03-12T12:25:12.484" v="360"/>
          <ac:spMkLst>
            <pc:docMk/>
            <pc:sldMk cId="425128272" sldId="960"/>
            <ac:spMk id="13" creationId="{799E30A1-ADE3-D083-090F-C1647AB7B5C5}"/>
          </ac:spMkLst>
        </pc:spChg>
        <pc:spChg chg="mod ord">
          <ac:chgData name="Nataliia Chornii (UA)" userId="4e4b8b3d-5f31-49bb-9f80-8a25c04abfff" providerId="ADAL" clId="{52163427-3E63-4487-BD88-23EA5CCD03BB}" dt="2024-03-12T12:25:12.484" v="362"/>
          <ac:spMkLst>
            <pc:docMk/>
            <pc:sldMk cId="425128272" sldId="960"/>
            <ac:spMk id="14" creationId="{292427B9-6E56-4F0D-79C7-17E043506558}"/>
          </ac:spMkLst>
        </pc:spChg>
        <pc:spChg chg="del">
          <ac:chgData name="Nataliia Chornii (UA)" userId="4e4b8b3d-5f31-49bb-9f80-8a25c04abfff" providerId="ADAL" clId="{52163427-3E63-4487-BD88-23EA5CCD03BB}" dt="2024-03-12T12:25:02.605" v="287" actId="478"/>
          <ac:spMkLst>
            <pc:docMk/>
            <pc:sldMk cId="425128272" sldId="960"/>
            <ac:spMk id="23" creationId="{99027CE6-3148-8B69-47C3-D38CFB081A9D}"/>
          </ac:spMkLst>
        </pc:spChg>
        <pc:spChg chg="mod ord">
          <ac:chgData name="Nataliia Chornii (UA)" userId="4e4b8b3d-5f31-49bb-9f80-8a25c04abfff" providerId="ADAL" clId="{52163427-3E63-4487-BD88-23EA5CCD03BB}" dt="2024-03-12T12:25:12.501" v="368"/>
          <ac:spMkLst>
            <pc:docMk/>
            <pc:sldMk cId="425128272" sldId="960"/>
            <ac:spMk id="24" creationId="{EEBDB999-8D80-71A0-1735-572EAA4ECF55}"/>
          </ac:spMkLst>
        </pc:spChg>
        <pc:spChg chg="add del mod modVis">
          <ac:chgData name="Nataliia Chornii (UA)" userId="4e4b8b3d-5f31-49bb-9f80-8a25c04abfff" providerId="ADAL" clId="{52163427-3E63-4487-BD88-23EA5CCD03BB}" dt="2024-03-12T12:25:07.776" v="341"/>
          <ac:spMkLst>
            <pc:docMk/>
            <pc:sldMk cId="425128272" sldId="960"/>
            <ac:spMk id="25" creationId="{86CD18E6-DF68-3B17-4AB8-833A5616C229}"/>
          </ac:spMkLst>
        </pc:spChg>
        <pc:spChg chg="mod ord">
          <ac:chgData name="Nataliia Chornii (UA)" userId="4e4b8b3d-5f31-49bb-9f80-8a25c04abfff" providerId="ADAL" clId="{52163427-3E63-4487-BD88-23EA5CCD03BB}" dt="2024-03-12T12:25:12.484" v="350"/>
          <ac:spMkLst>
            <pc:docMk/>
            <pc:sldMk cId="425128272" sldId="960"/>
            <ac:spMk id="26" creationId="{5EC1F9AE-82A4-85FE-592B-EF659F76F7EC}"/>
          </ac:spMkLst>
        </pc:spChg>
        <pc:spChg chg="mod ord">
          <ac:chgData name="Nataliia Chornii (UA)" userId="4e4b8b3d-5f31-49bb-9f80-8a25c04abfff" providerId="ADAL" clId="{52163427-3E63-4487-BD88-23EA5CCD03BB}" dt="2024-03-12T12:25:12.484" v="352"/>
          <ac:spMkLst>
            <pc:docMk/>
            <pc:sldMk cId="425128272" sldId="960"/>
            <ac:spMk id="29" creationId="{3915AD89-6428-4A75-0915-328643F1703C}"/>
          </ac:spMkLst>
        </pc:spChg>
        <pc:spChg chg="mod ord">
          <ac:chgData name="Nataliia Chornii (UA)" userId="4e4b8b3d-5f31-49bb-9f80-8a25c04abfff" providerId="ADAL" clId="{52163427-3E63-4487-BD88-23EA5CCD03BB}" dt="2024-03-12T12:25:12.484" v="354"/>
          <ac:spMkLst>
            <pc:docMk/>
            <pc:sldMk cId="425128272" sldId="960"/>
            <ac:spMk id="30" creationId="{373AB206-F1F0-CC72-8C15-85605D9AF2AC}"/>
          </ac:spMkLst>
        </pc:spChg>
        <pc:spChg chg="mod ord">
          <ac:chgData name="Nataliia Chornii (UA)" userId="4e4b8b3d-5f31-49bb-9f80-8a25c04abfff" providerId="ADAL" clId="{52163427-3E63-4487-BD88-23EA5CCD03BB}" dt="2024-03-12T12:25:12.484" v="356"/>
          <ac:spMkLst>
            <pc:docMk/>
            <pc:sldMk cId="425128272" sldId="960"/>
            <ac:spMk id="46" creationId="{09BF84D6-F468-7005-FAB5-AA0B6AE5CFB4}"/>
          </ac:spMkLst>
        </pc:spChg>
        <pc:grpChg chg="add mod ord">
          <ac:chgData name="Nataliia Chornii (UA)" userId="4e4b8b3d-5f31-49bb-9f80-8a25c04abfff" providerId="ADAL" clId="{52163427-3E63-4487-BD88-23EA5CCD03BB}" dt="2024-03-12T12:25:12.501" v="372"/>
          <ac:grpSpMkLst>
            <pc:docMk/>
            <pc:sldMk cId="425128272" sldId="960"/>
            <ac:grpSpMk id="5" creationId="{73F90D89-8440-1431-AC27-9F5B146FABF9}"/>
          </ac:grpSpMkLst>
        </pc:grpChg>
        <pc:grpChg chg="mod ord">
          <ac:chgData name="Nataliia Chornii (UA)" userId="4e4b8b3d-5f31-49bb-9f80-8a25c04abfff" providerId="ADAL" clId="{52163427-3E63-4487-BD88-23EA5CCD03BB}" dt="2024-03-12T12:25:12.501" v="370"/>
          <ac:grpSpMkLst>
            <pc:docMk/>
            <pc:sldMk cId="425128272" sldId="960"/>
            <ac:grpSpMk id="9" creationId="{17CB9501-EA3A-2E37-3C33-CDC8718984BE}"/>
          </ac:grpSpMkLst>
        </pc:grpChg>
        <pc:grpChg chg="mod ord">
          <ac:chgData name="Nataliia Chornii (UA)" userId="4e4b8b3d-5f31-49bb-9f80-8a25c04abfff" providerId="ADAL" clId="{52163427-3E63-4487-BD88-23EA5CCD03BB}" dt="2024-03-12T12:25:12.501" v="364"/>
          <ac:grpSpMkLst>
            <pc:docMk/>
            <pc:sldMk cId="425128272" sldId="960"/>
            <ac:grpSpMk id="15" creationId="{32101DD0-0169-5B84-DBC1-4B151DF9F173}"/>
          </ac:grpSpMkLst>
        </pc:grpChg>
        <pc:graphicFrameChg chg="mod">
          <ac:chgData name="Nataliia Chornii (UA)" userId="4e4b8b3d-5f31-49bb-9f80-8a25c04abfff" providerId="ADAL" clId="{52163427-3E63-4487-BD88-23EA5CCD03BB}" dt="2024-03-12T12:25:12.501" v="378"/>
          <ac:graphicFrameMkLst>
            <pc:docMk/>
            <pc:sldMk cId="425128272" sldId="960"/>
            <ac:graphicFrameMk id="12" creationId="{F6E6AF23-7B86-113A-F559-513B41FEC1FE}"/>
          </ac:graphicFrameMkLst>
        </pc:graphicFrameChg>
        <pc:picChg chg="mod">
          <ac:chgData name="Nataliia Chornii (UA)" userId="4e4b8b3d-5f31-49bb-9f80-8a25c04abfff" providerId="ADAL" clId="{52163427-3E63-4487-BD88-23EA5CCD03BB}" dt="2024-03-12T12:25:12.484" v="346"/>
          <ac:picMkLst>
            <pc:docMk/>
            <pc:sldMk cId="425128272" sldId="960"/>
            <ac:picMk id="3074" creationId="{A956661B-FAE8-8EB1-7E90-80C772C59A2A}"/>
          </ac:picMkLst>
        </pc:picChg>
      </pc:sldChg>
      <pc:sldChg chg="addSp delSp modSp mod">
        <pc:chgData name="Nataliia Chornii (UA)" userId="4e4b8b3d-5f31-49bb-9f80-8a25c04abfff" providerId="ADAL" clId="{52163427-3E63-4487-BD88-23EA5CCD03BB}" dt="2024-03-12T12:26:59.750" v="393" actId="207"/>
        <pc:sldMkLst>
          <pc:docMk/>
          <pc:sldMk cId="4141191697" sldId="963"/>
        </pc:sldMkLst>
        <pc:spChg chg="mod">
          <ac:chgData name="Nataliia Chornii (UA)" userId="4e4b8b3d-5f31-49bb-9f80-8a25c04abfff" providerId="ADAL" clId="{52163427-3E63-4487-BD88-23EA5CCD03BB}" dt="2024-03-12T12:26:59.750" v="393" actId="207"/>
          <ac:spMkLst>
            <pc:docMk/>
            <pc:sldMk cId="4141191697" sldId="963"/>
            <ac:spMk id="4" creationId="{872966CD-924A-B939-E655-A6BAF817DCBF}"/>
          </ac:spMkLst>
        </pc:spChg>
        <pc:spChg chg="mod">
          <ac:chgData name="Nataliia Chornii (UA)" userId="4e4b8b3d-5f31-49bb-9f80-8a25c04abfff" providerId="ADAL" clId="{52163427-3E63-4487-BD88-23EA5CCD03BB}" dt="2024-03-12T11:09:51.395" v="76"/>
          <ac:spMkLst>
            <pc:docMk/>
            <pc:sldMk cId="4141191697" sldId="963"/>
            <ac:spMk id="10" creationId="{8CC33394-EBA6-F8B3-884F-79BAB196D95C}"/>
          </ac:spMkLst>
        </pc:spChg>
        <pc:spChg chg="del mod">
          <ac:chgData name="Nataliia Chornii (UA)" userId="4e4b8b3d-5f31-49bb-9f80-8a25c04abfff" providerId="ADAL" clId="{52163427-3E63-4487-BD88-23EA5CCD03BB}" dt="2024-03-12T12:24:54.219" v="283" actId="478"/>
          <ac:spMkLst>
            <pc:docMk/>
            <pc:sldMk cId="4141191697" sldId="963"/>
            <ac:spMk id="19" creationId="{FABB8E7C-60CE-09CB-AEBF-C00E7EB1273A}"/>
          </ac:spMkLst>
        </pc:spChg>
        <pc:spChg chg="mod">
          <ac:chgData name="Nataliia Chornii (UA)" userId="4e4b8b3d-5f31-49bb-9f80-8a25c04abfff" providerId="ADAL" clId="{52163427-3E63-4487-BD88-23EA5CCD03BB}" dt="2024-03-12T12:24:52.921" v="282"/>
          <ac:spMkLst>
            <pc:docMk/>
            <pc:sldMk cId="4141191697" sldId="963"/>
            <ac:spMk id="20" creationId="{D3132C5D-B790-6958-7A5B-35741E3EEAFE}"/>
          </ac:spMkLst>
        </pc:spChg>
        <pc:spChg chg="mod">
          <ac:chgData name="Nataliia Chornii (UA)" userId="4e4b8b3d-5f31-49bb-9f80-8a25c04abfff" providerId="ADAL" clId="{52163427-3E63-4487-BD88-23EA5CCD03BB}" dt="2024-03-12T12:24:48.875" v="281"/>
          <ac:spMkLst>
            <pc:docMk/>
            <pc:sldMk cId="4141191697" sldId="963"/>
            <ac:spMk id="21" creationId="{86BC0698-7F41-B85F-1A94-879CD83DE818}"/>
          </ac:spMkLst>
        </pc:spChg>
        <pc:grpChg chg="add mod">
          <ac:chgData name="Nataliia Chornii (UA)" userId="4e4b8b3d-5f31-49bb-9f80-8a25c04abfff" providerId="ADAL" clId="{52163427-3E63-4487-BD88-23EA5CCD03BB}" dt="2024-03-12T12:24:48.875" v="281"/>
          <ac:grpSpMkLst>
            <pc:docMk/>
            <pc:sldMk cId="4141191697" sldId="963"/>
            <ac:grpSpMk id="6" creationId="{3B6105E1-77DC-1D76-8C8C-2948FA3BC95C}"/>
          </ac:grpSpMkLst>
        </pc:grpChg>
      </pc:sldChg>
      <pc:sldChg chg="addSp delSp modSp mod">
        <pc:chgData name="Nataliia Chornii (UA)" userId="4e4b8b3d-5f31-49bb-9f80-8a25c04abfff" providerId="ADAL" clId="{52163427-3E63-4487-BD88-23EA5CCD03BB}" dt="2024-03-12T12:27:02.261" v="394" actId="207"/>
        <pc:sldMkLst>
          <pc:docMk/>
          <pc:sldMk cId="1785961526" sldId="964"/>
        </pc:sldMkLst>
        <pc:spChg chg="mod">
          <ac:chgData name="Nataliia Chornii (UA)" userId="4e4b8b3d-5f31-49bb-9f80-8a25c04abfff" providerId="ADAL" clId="{52163427-3E63-4487-BD88-23EA5CCD03BB}" dt="2024-03-12T11:09:53.155" v="77"/>
          <ac:spMkLst>
            <pc:docMk/>
            <pc:sldMk cId="1785961526" sldId="964"/>
            <ac:spMk id="2" creationId="{704047AB-6DDC-C2CE-C1C1-09F2077282B4}"/>
          </ac:spMkLst>
        </pc:spChg>
        <pc:spChg chg="mod">
          <ac:chgData name="Nataliia Chornii (UA)" userId="4e4b8b3d-5f31-49bb-9f80-8a25c04abfff" providerId="ADAL" clId="{52163427-3E63-4487-BD88-23EA5CCD03BB}" dt="2024-03-12T12:27:02.261" v="394" actId="207"/>
          <ac:spMkLst>
            <pc:docMk/>
            <pc:sldMk cId="1785961526" sldId="964"/>
            <ac:spMk id="4" creationId="{872966CD-924A-B939-E655-A6BAF817DCBF}"/>
          </ac:spMkLst>
        </pc:spChg>
        <pc:spChg chg="del mod">
          <ac:chgData name="Nataliia Chornii (UA)" userId="4e4b8b3d-5f31-49bb-9f80-8a25c04abfff" providerId="ADAL" clId="{52163427-3E63-4487-BD88-23EA5CCD03BB}" dt="2024-03-12T12:24:59.587" v="286" actId="478"/>
          <ac:spMkLst>
            <pc:docMk/>
            <pc:sldMk cId="1785961526" sldId="964"/>
            <ac:spMk id="23" creationId="{DC3639F2-FAC5-DA12-818F-826192DCE10F}"/>
          </ac:spMkLst>
        </pc:spChg>
        <pc:spChg chg="mod">
          <ac:chgData name="Nataliia Chornii (UA)" userId="4e4b8b3d-5f31-49bb-9f80-8a25c04abfff" providerId="ADAL" clId="{52163427-3E63-4487-BD88-23EA5CCD03BB}" dt="2024-03-12T12:24:58.576" v="285"/>
          <ac:spMkLst>
            <pc:docMk/>
            <pc:sldMk cId="1785961526" sldId="964"/>
            <ac:spMk id="24" creationId="{696B1991-436D-D11D-7462-6F57272F54B1}"/>
          </ac:spMkLst>
        </pc:spChg>
        <pc:spChg chg="mod">
          <ac:chgData name="Nataliia Chornii (UA)" userId="4e4b8b3d-5f31-49bb-9f80-8a25c04abfff" providerId="ADAL" clId="{52163427-3E63-4487-BD88-23EA5CCD03BB}" dt="2024-03-12T12:24:58.576" v="285"/>
          <ac:spMkLst>
            <pc:docMk/>
            <pc:sldMk cId="1785961526" sldId="964"/>
            <ac:spMk id="25" creationId="{99787729-FB28-0725-8182-7196CAE326ED}"/>
          </ac:spMkLst>
        </pc:spChg>
        <pc:grpChg chg="add mod">
          <ac:chgData name="Nataliia Chornii (UA)" userId="4e4b8b3d-5f31-49bb-9f80-8a25c04abfff" providerId="ADAL" clId="{52163427-3E63-4487-BD88-23EA5CCD03BB}" dt="2024-03-12T12:24:58.576" v="285"/>
          <ac:grpSpMkLst>
            <pc:docMk/>
            <pc:sldMk cId="1785961526" sldId="964"/>
            <ac:grpSpMk id="5" creationId="{24ED0251-E6F5-B0EE-B964-3572CCBD8AA4}"/>
          </ac:grpSpMkLst>
        </pc:grpChg>
      </pc:sldChg>
    </pc:docChg>
  </pc:docChgLst>
  <pc:docChgLst>
    <pc:chgData name="Sindija Kirsteine (LV)" userId="5f25501a-2215-4bb3-9d9c-8d1484ffa7c1" providerId="ADAL" clId="{43220248-5BC8-4AC5-8994-54CB6473C213}"/>
    <pc:docChg chg="custSel replTag">
      <pc:chgData name="Sindija Kirsteine (LV)" userId="5f25501a-2215-4bb3-9d9c-8d1484ffa7c1" providerId="ADAL" clId="{43220248-5BC8-4AC5-8994-54CB6473C213}" dt="2024-09-02T06:32:27.203" v="1"/>
      <pc:docMkLst>
        <pc:docMk/>
      </pc:docMkLst>
    </pc:docChg>
  </pc:docChgLst>
  <pc:docChgLst>
    <pc:chgData name="Annemarija Apine (LV)" userId="S::annemarija.apine@pwc.com::546f5c59-3b8d-47fd-b739-a8fadc631053" providerId="AD" clId="Web-{9FBB0760-85D8-88FE-B8BC-525C8A892D82}"/>
    <pc:docChg chg="modSld">
      <pc:chgData name="Annemarija Apine (LV)" userId="S::annemarija.apine@pwc.com::546f5c59-3b8d-47fd-b739-a8fadc631053" providerId="AD" clId="Web-{9FBB0760-85D8-88FE-B8BC-525C8A892D82}" dt="2024-07-08T11:32:50.570" v="1" actId="20577"/>
      <pc:docMkLst>
        <pc:docMk/>
      </pc:docMkLst>
      <pc:sldChg chg="modSp">
        <pc:chgData name="Annemarija Apine (LV)" userId="S::annemarija.apine@pwc.com::546f5c59-3b8d-47fd-b739-a8fadc631053" providerId="AD" clId="Web-{9FBB0760-85D8-88FE-B8BC-525C8A892D82}" dt="2024-07-08T11:32:50.570" v="1" actId="20577"/>
        <pc:sldMkLst>
          <pc:docMk/>
          <pc:sldMk cId="2630099657" sldId="933"/>
        </pc:sldMkLst>
        <pc:spChg chg="mod">
          <ac:chgData name="Annemarija Apine (LV)" userId="S::annemarija.apine@pwc.com::546f5c59-3b8d-47fd-b739-a8fadc631053" providerId="AD" clId="Web-{9FBB0760-85D8-88FE-B8BC-525C8A892D82}" dt="2024-07-08T11:32:50.570" v="1" actId="20577"/>
          <ac:spMkLst>
            <pc:docMk/>
            <pc:sldMk cId="2630099657" sldId="933"/>
            <ac:spMk id="36" creationId="{A8F39C25-781C-A7DA-387A-D92FCABEE1F5}"/>
          </ac:spMkLst>
        </pc:spChg>
      </pc:sldChg>
    </pc:docChg>
  </pc:docChgLst>
  <pc:docChgLst>
    <pc:chgData name="Sindija Kirsteine (LV)" userId="S::sindija.kirsteine@pwc.com::5f25501a-2215-4bb3-9d9c-8d1484ffa7c1" providerId="AD" clId="Web-{74FBB397-1A0F-7904-4ABD-E1AAA14ED418}"/>
    <pc:docChg chg="modSld">
      <pc:chgData name="Sindija Kirsteine (LV)" userId="S::sindija.kirsteine@pwc.com::5f25501a-2215-4bb3-9d9c-8d1484ffa7c1" providerId="AD" clId="Web-{74FBB397-1A0F-7904-4ABD-E1AAA14ED418}" dt="2024-06-10T11:39:19.209" v="3" actId="20577"/>
      <pc:docMkLst>
        <pc:docMk/>
      </pc:docMkLst>
      <pc:sldChg chg="modSp">
        <pc:chgData name="Sindija Kirsteine (LV)" userId="S::sindija.kirsteine@pwc.com::5f25501a-2215-4bb3-9d9c-8d1484ffa7c1" providerId="AD" clId="Web-{74FBB397-1A0F-7904-4ABD-E1AAA14ED418}" dt="2024-06-10T11:39:19.209" v="3" actId="20577"/>
        <pc:sldMkLst>
          <pc:docMk/>
          <pc:sldMk cId="4177676083" sldId="2147482025"/>
        </pc:sldMkLst>
        <pc:spChg chg="mod">
          <ac:chgData name="Sindija Kirsteine (LV)" userId="S::sindija.kirsteine@pwc.com::5f25501a-2215-4bb3-9d9c-8d1484ffa7c1" providerId="AD" clId="Web-{74FBB397-1A0F-7904-4ABD-E1AAA14ED418}" dt="2024-06-10T11:39:19.209" v="3" actId="20577"/>
          <ac:spMkLst>
            <pc:docMk/>
            <pc:sldMk cId="4177676083" sldId="2147482025"/>
            <ac:spMk id="13" creationId="{E8E0A4EB-3147-3688-FC1E-46F571D3FA32}"/>
          </ac:spMkLst>
        </pc:spChg>
      </pc:sldChg>
    </pc:docChg>
  </pc:docChgLst>
  <pc:docChgLst>
    <pc:chgData name="Annemarija Apine (LV)" userId="S::annemarija.apine@pwc.com::546f5c59-3b8d-47fd-b739-a8fadc631053" providerId="AD" clId="Web-{7CF49EBD-4F8A-2498-C0F1-34C99092C666}"/>
    <pc:docChg chg="delSld">
      <pc:chgData name="Annemarija Apine (LV)" userId="S::annemarija.apine@pwc.com::546f5c59-3b8d-47fd-b739-a8fadc631053" providerId="AD" clId="Web-{7CF49EBD-4F8A-2498-C0F1-34C99092C666}" dt="2024-07-08T00:55:09.862" v="0"/>
      <pc:docMkLst>
        <pc:docMk/>
      </pc:docMkLst>
      <pc:sldChg chg="del">
        <pc:chgData name="Annemarija Apine (LV)" userId="S::annemarija.apine@pwc.com::546f5c59-3b8d-47fd-b739-a8fadc631053" providerId="AD" clId="Web-{7CF49EBD-4F8A-2498-C0F1-34C99092C666}" dt="2024-07-08T00:55:09.862" v="0"/>
        <pc:sldMkLst>
          <pc:docMk/>
          <pc:sldMk cId="817197616" sldId="332"/>
        </pc:sldMkLst>
      </pc:sldChg>
    </pc:docChg>
  </pc:docChgLst>
  <pc:docChgLst>
    <pc:chgData name="Annemarija Apine (LV)" userId="S::annemarija.apine@pwc.com::546f5c59-3b8d-47fd-b739-a8fadc631053" providerId="AD" clId="Web-{1B0A3346-1084-7CAA-3E38-9252BA290384}"/>
    <pc:docChg chg="modSld">
      <pc:chgData name="Annemarija Apine (LV)" userId="S::annemarija.apine@pwc.com::546f5c59-3b8d-47fd-b739-a8fadc631053" providerId="AD" clId="Web-{1B0A3346-1084-7CAA-3E38-9252BA290384}" dt="2024-03-12T07:57:05.772" v="6" actId="20577"/>
      <pc:docMkLst>
        <pc:docMk/>
      </pc:docMkLst>
      <pc:sldChg chg="modSp">
        <pc:chgData name="Annemarija Apine (LV)" userId="S::annemarija.apine@pwc.com::546f5c59-3b8d-47fd-b739-a8fadc631053" providerId="AD" clId="Web-{1B0A3346-1084-7CAA-3E38-9252BA290384}" dt="2024-03-12T07:57:05.772" v="6" actId="20577"/>
        <pc:sldMkLst>
          <pc:docMk/>
          <pc:sldMk cId="817197616" sldId="332"/>
        </pc:sldMkLst>
        <pc:spChg chg="mod">
          <ac:chgData name="Annemarija Apine (LV)" userId="S::annemarija.apine@pwc.com::546f5c59-3b8d-47fd-b739-a8fadc631053" providerId="AD" clId="Web-{1B0A3346-1084-7CAA-3E38-9252BA290384}" dt="2024-03-12T07:57:05.772" v="6" actId="20577"/>
          <ac:spMkLst>
            <pc:docMk/>
            <pc:sldMk cId="817197616" sldId="332"/>
            <ac:spMk id="9" creationId="{9C917BBD-747E-ABCB-3683-E8C68F33230D}"/>
          </ac:spMkLst>
        </pc:spChg>
      </pc:sldChg>
    </pc:docChg>
  </pc:docChgLst>
  <pc:docChgLst>
    <pc:chgData name="Inese Dreimane (LV)" userId="22f883c9-425f-45e3-9561-0d9c55f15b4a" providerId="ADAL" clId="{03F442BB-6A05-4E5C-9F46-8B7840D1E8EB}"/>
    <pc:docChg chg="undo redo custSel addSld delSld modSld sldOrd replTag">
      <pc:chgData name="Inese Dreimane (LV)" userId="22f883c9-425f-45e3-9561-0d9c55f15b4a" providerId="ADAL" clId="{03F442BB-6A05-4E5C-9F46-8B7840D1E8EB}" dt="2024-03-11T08:21:13.507" v="1803"/>
      <pc:docMkLst>
        <pc:docMk/>
      </pc:docMkLst>
      <pc:sldChg chg="del">
        <pc:chgData name="Inese Dreimane (LV)" userId="22f883c9-425f-45e3-9561-0d9c55f15b4a" providerId="ADAL" clId="{03F442BB-6A05-4E5C-9F46-8B7840D1E8EB}" dt="2024-03-08T12:52:58.999" v="690" actId="2696"/>
        <pc:sldMkLst>
          <pc:docMk/>
          <pc:sldMk cId="0" sldId="258"/>
        </pc:sldMkLst>
      </pc:sldChg>
      <pc:sldChg chg="ord">
        <pc:chgData name="Inese Dreimane (LV)" userId="22f883c9-425f-45e3-9561-0d9c55f15b4a" providerId="ADAL" clId="{03F442BB-6A05-4E5C-9F46-8B7840D1E8EB}" dt="2024-03-08T12:22:31.275" v="140" actId="20578"/>
        <pc:sldMkLst>
          <pc:docMk/>
          <pc:sldMk cId="817197616" sldId="332"/>
        </pc:sldMkLst>
      </pc:sldChg>
      <pc:sldChg chg="modSp mod">
        <pc:chgData name="Inese Dreimane (LV)" userId="22f883c9-425f-45e3-9561-0d9c55f15b4a" providerId="ADAL" clId="{03F442BB-6A05-4E5C-9F46-8B7840D1E8EB}" dt="2024-03-08T12:42:42.974" v="412" actId="20577"/>
        <pc:sldMkLst>
          <pc:docMk/>
          <pc:sldMk cId="192098022" sldId="769"/>
        </pc:sldMkLst>
        <pc:spChg chg="mod">
          <ac:chgData name="Inese Dreimane (LV)" userId="22f883c9-425f-45e3-9561-0d9c55f15b4a" providerId="ADAL" clId="{03F442BB-6A05-4E5C-9F46-8B7840D1E8EB}" dt="2024-03-08T12:24:09.364" v="145" actId="20577"/>
          <ac:spMkLst>
            <pc:docMk/>
            <pc:sldMk cId="192098022" sldId="769"/>
            <ac:spMk id="2" creationId="{44641C4F-F07F-7C71-88DD-EEFC9A9A1906}"/>
          </ac:spMkLst>
        </pc:spChg>
        <pc:spChg chg="mod">
          <ac:chgData name="Inese Dreimane (LV)" userId="22f883c9-425f-45e3-9561-0d9c55f15b4a" providerId="ADAL" clId="{03F442BB-6A05-4E5C-9F46-8B7840D1E8EB}" dt="2024-03-08T12:42:42.974" v="412" actId="20577"/>
          <ac:spMkLst>
            <pc:docMk/>
            <pc:sldMk cId="192098022" sldId="769"/>
            <ac:spMk id="6" creationId="{2CB3F9F5-858C-1D21-4D13-EAEDABE2E74A}"/>
          </ac:spMkLst>
        </pc:spChg>
        <pc:spChg chg="mod">
          <ac:chgData name="Inese Dreimane (LV)" userId="22f883c9-425f-45e3-9561-0d9c55f15b4a" providerId="ADAL" clId="{03F442BB-6A05-4E5C-9F46-8B7840D1E8EB}" dt="2024-03-08T12:41:45.563" v="372" actId="14100"/>
          <ac:spMkLst>
            <pc:docMk/>
            <pc:sldMk cId="192098022" sldId="769"/>
            <ac:spMk id="8" creationId="{B6BFA0E2-7135-FFE5-3283-2EDC43146D38}"/>
          </ac:spMkLst>
        </pc:spChg>
      </pc:sldChg>
      <pc:sldChg chg="addSp modSp mod modCm">
        <pc:chgData name="Inese Dreimane (LV)" userId="22f883c9-425f-45e3-9561-0d9c55f15b4a" providerId="ADAL" clId="{03F442BB-6A05-4E5C-9F46-8B7840D1E8EB}" dt="2024-03-08T14:06:27.685" v="1270" actId="1076"/>
        <pc:sldMkLst>
          <pc:docMk/>
          <pc:sldMk cId="2300626159" sldId="908"/>
        </pc:sldMkLst>
        <pc:spChg chg="add mod">
          <ac:chgData name="Inese Dreimane (LV)" userId="22f883c9-425f-45e3-9561-0d9c55f15b4a" providerId="ADAL" clId="{03F442BB-6A05-4E5C-9F46-8B7840D1E8EB}" dt="2024-03-08T14:03:01.107" v="1210" actId="20577"/>
          <ac:spMkLst>
            <pc:docMk/>
            <pc:sldMk cId="2300626159" sldId="908"/>
            <ac:spMk id="2" creationId="{B3B9B40C-89D0-00A8-E1FD-6C775139BEFB}"/>
          </ac:spMkLst>
        </pc:spChg>
        <pc:spChg chg="add mod">
          <ac:chgData name="Inese Dreimane (LV)" userId="22f883c9-425f-45e3-9561-0d9c55f15b4a" providerId="ADAL" clId="{03F442BB-6A05-4E5C-9F46-8B7840D1E8EB}" dt="2024-03-08T14:06:27.685" v="1270" actId="1076"/>
          <ac:spMkLst>
            <pc:docMk/>
            <pc:sldMk cId="2300626159" sldId="908"/>
            <ac:spMk id="5" creationId="{9B9A4561-429C-6EAE-F170-E90F8BD220FB}"/>
          </ac:spMkLst>
        </pc:spChg>
        <pc:extLst>
          <p:ext xmlns:p="http://schemas.openxmlformats.org/presentationml/2006/main" uri="{D6D511B9-2390-475A-947B-AFAB55BFBCF1}">
            <pc226:cmChg xmlns:pc226="http://schemas.microsoft.com/office/powerpoint/2022/06/main/command" chg="mod">
              <pc226:chgData name="Inese Dreimane (LV)" userId="22f883c9-425f-45e3-9561-0d9c55f15b4a" providerId="ADAL" clId="{03F442BB-6A05-4E5C-9F46-8B7840D1E8EB}" dt="2024-03-08T14:05:46.634" v="1265"/>
              <pc2:cmMkLst xmlns:pc2="http://schemas.microsoft.com/office/powerpoint/2019/9/main/command">
                <pc:docMk/>
                <pc:sldMk cId="2300626159" sldId="908"/>
                <pc2:cmMk id="{FC7E61B3-0B67-4E2A-96C5-34AA02841D10}"/>
              </pc2:cmMkLst>
            </pc226:cmChg>
            <pc226:cmChg xmlns:pc226="http://schemas.microsoft.com/office/powerpoint/2022/06/main/command" chg="mod">
              <pc226:chgData name="Inese Dreimane (LV)" userId="22f883c9-425f-45e3-9561-0d9c55f15b4a" providerId="ADAL" clId="{03F442BB-6A05-4E5C-9F46-8B7840D1E8EB}" dt="2024-03-08T14:05:44.465" v="1264"/>
              <pc2:cmMkLst xmlns:pc2="http://schemas.microsoft.com/office/powerpoint/2019/9/main/command">
                <pc:docMk/>
                <pc:sldMk cId="2300626159" sldId="908"/>
                <pc2:cmMk id="{EB40C0CD-5758-4469-A4F4-96B6F7B1BF19}"/>
              </pc2:cmMkLst>
            </pc226:cmChg>
          </p:ext>
        </pc:extLst>
      </pc:sldChg>
      <pc:sldChg chg="modSp mod modCm">
        <pc:chgData name="Inese Dreimane (LV)" userId="22f883c9-425f-45e3-9561-0d9c55f15b4a" providerId="ADAL" clId="{03F442BB-6A05-4E5C-9F46-8B7840D1E8EB}" dt="2024-03-08T14:11:16.993" v="1433" actId="20577"/>
        <pc:sldMkLst>
          <pc:docMk/>
          <pc:sldMk cId="3183596888" sldId="922"/>
        </pc:sldMkLst>
        <pc:spChg chg="mod">
          <ac:chgData name="Inese Dreimane (LV)" userId="22f883c9-425f-45e3-9561-0d9c55f15b4a" providerId="ADAL" clId="{03F442BB-6A05-4E5C-9F46-8B7840D1E8EB}" dt="2024-03-08T14:11:16.993" v="1433" actId="20577"/>
          <ac:spMkLst>
            <pc:docMk/>
            <pc:sldMk cId="3183596888" sldId="922"/>
            <ac:spMk id="17" creationId="{6FA36F9D-90F9-114F-5453-39394D16CFF6}"/>
          </ac:spMkLst>
        </pc:spChg>
        <pc:extLst>
          <p:ext xmlns:p="http://schemas.openxmlformats.org/presentationml/2006/main" uri="{D6D511B9-2390-475A-947B-AFAB55BFBCF1}">
            <pc226:cmChg xmlns:pc226="http://schemas.microsoft.com/office/powerpoint/2022/06/main/command" chg="mod">
              <pc226:chgData name="Inese Dreimane (LV)" userId="22f883c9-425f-45e3-9561-0d9c55f15b4a" providerId="ADAL" clId="{03F442BB-6A05-4E5C-9F46-8B7840D1E8EB}" dt="2024-03-08T14:11:16.993" v="1433" actId="20577"/>
              <pc2:cmMkLst xmlns:pc2="http://schemas.microsoft.com/office/powerpoint/2019/9/main/command">
                <pc:docMk/>
                <pc:sldMk cId="3183596888" sldId="922"/>
                <pc2:cmMk id="{C97982E5-43BF-453B-B11A-79E886B6EB60}"/>
              </pc2:cmMkLst>
            </pc226:cmChg>
          </p:ext>
        </pc:extLst>
      </pc:sldChg>
      <pc:sldChg chg="modSp mod">
        <pc:chgData name="Inese Dreimane (LV)" userId="22f883c9-425f-45e3-9561-0d9c55f15b4a" providerId="ADAL" clId="{03F442BB-6A05-4E5C-9F46-8B7840D1E8EB}" dt="2024-03-08T12:32:02.859" v="234" actId="20577"/>
        <pc:sldMkLst>
          <pc:docMk/>
          <pc:sldMk cId="4107124933" sldId="925"/>
        </pc:sldMkLst>
        <pc:spChg chg="mod">
          <ac:chgData name="Inese Dreimane (LV)" userId="22f883c9-425f-45e3-9561-0d9c55f15b4a" providerId="ADAL" clId="{03F442BB-6A05-4E5C-9F46-8B7840D1E8EB}" dt="2024-03-08T12:32:02.859" v="234" actId="20577"/>
          <ac:spMkLst>
            <pc:docMk/>
            <pc:sldMk cId="4107124933" sldId="925"/>
            <ac:spMk id="2" creationId="{00000000-0000-0000-0000-000000000000}"/>
          </ac:spMkLst>
        </pc:spChg>
      </pc:sldChg>
      <pc:sldChg chg="modSp mod">
        <pc:chgData name="Inese Dreimane (LV)" userId="22f883c9-425f-45e3-9561-0d9c55f15b4a" providerId="ADAL" clId="{03F442BB-6A05-4E5C-9F46-8B7840D1E8EB}" dt="2024-03-08T12:32:29.646" v="250" actId="20577"/>
        <pc:sldMkLst>
          <pc:docMk/>
          <pc:sldMk cId="76717427" sldId="926"/>
        </pc:sldMkLst>
        <pc:spChg chg="mod">
          <ac:chgData name="Inese Dreimane (LV)" userId="22f883c9-425f-45e3-9561-0d9c55f15b4a" providerId="ADAL" clId="{03F442BB-6A05-4E5C-9F46-8B7840D1E8EB}" dt="2024-03-08T12:32:29.646" v="250" actId="20577"/>
          <ac:spMkLst>
            <pc:docMk/>
            <pc:sldMk cId="76717427" sldId="926"/>
            <ac:spMk id="2" creationId="{00000000-0000-0000-0000-000000000000}"/>
          </ac:spMkLst>
        </pc:spChg>
      </pc:sldChg>
      <pc:sldChg chg="modSp mod">
        <pc:chgData name="Inese Dreimane (LV)" userId="22f883c9-425f-45e3-9561-0d9c55f15b4a" providerId="ADAL" clId="{03F442BB-6A05-4E5C-9F46-8B7840D1E8EB}" dt="2024-03-08T12:32:16.078" v="241" actId="20577"/>
        <pc:sldMkLst>
          <pc:docMk/>
          <pc:sldMk cId="4266541344" sldId="927"/>
        </pc:sldMkLst>
        <pc:spChg chg="mod">
          <ac:chgData name="Inese Dreimane (LV)" userId="22f883c9-425f-45e3-9561-0d9c55f15b4a" providerId="ADAL" clId="{03F442BB-6A05-4E5C-9F46-8B7840D1E8EB}" dt="2024-03-08T12:32:16.078" v="241" actId="20577"/>
          <ac:spMkLst>
            <pc:docMk/>
            <pc:sldMk cId="4266541344" sldId="927"/>
            <ac:spMk id="2" creationId="{00000000-0000-0000-0000-000000000000}"/>
          </ac:spMkLst>
        </pc:spChg>
      </pc:sldChg>
      <pc:sldChg chg="modSp mod">
        <pc:chgData name="Inese Dreimane (LV)" userId="22f883c9-425f-45e3-9561-0d9c55f15b4a" providerId="ADAL" clId="{03F442BB-6A05-4E5C-9F46-8B7840D1E8EB}" dt="2024-03-08T12:32:36.459" v="256" actId="20577"/>
        <pc:sldMkLst>
          <pc:docMk/>
          <pc:sldMk cId="2463822678" sldId="928"/>
        </pc:sldMkLst>
        <pc:spChg chg="mod">
          <ac:chgData name="Inese Dreimane (LV)" userId="22f883c9-425f-45e3-9561-0d9c55f15b4a" providerId="ADAL" clId="{03F442BB-6A05-4E5C-9F46-8B7840D1E8EB}" dt="2024-03-08T12:32:36.459" v="256" actId="20577"/>
          <ac:spMkLst>
            <pc:docMk/>
            <pc:sldMk cId="2463822678" sldId="928"/>
            <ac:spMk id="2" creationId="{00000000-0000-0000-0000-000000000000}"/>
          </ac:spMkLst>
        </pc:spChg>
      </pc:sldChg>
      <pc:sldChg chg="addSp delSp modSp mod">
        <pc:chgData name="Inese Dreimane (LV)" userId="22f883c9-425f-45e3-9561-0d9c55f15b4a" providerId="ADAL" clId="{03F442BB-6A05-4E5C-9F46-8B7840D1E8EB}" dt="2024-03-08T14:56:38.305" v="1636" actId="14100"/>
        <pc:sldMkLst>
          <pc:docMk/>
          <pc:sldMk cId="2803239078" sldId="935"/>
        </pc:sldMkLst>
        <pc:spChg chg="add mod">
          <ac:chgData name="Inese Dreimane (LV)" userId="22f883c9-425f-45e3-9561-0d9c55f15b4a" providerId="ADAL" clId="{03F442BB-6A05-4E5C-9F46-8B7840D1E8EB}" dt="2024-03-08T14:56:38.305" v="1636" actId="14100"/>
          <ac:spMkLst>
            <pc:docMk/>
            <pc:sldMk cId="2803239078" sldId="935"/>
            <ac:spMk id="32" creationId="{6741534F-AD2B-D1F2-AC91-19476BE24A77}"/>
          </ac:spMkLst>
        </pc:spChg>
        <pc:spChg chg="del">
          <ac:chgData name="Inese Dreimane (LV)" userId="22f883c9-425f-45e3-9561-0d9c55f15b4a" providerId="ADAL" clId="{03F442BB-6A05-4E5C-9F46-8B7840D1E8EB}" dt="2024-03-08T14:13:37.674" v="1437" actId="478"/>
          <ac:spMkLst>
            <pc:docMk/>
            <pc:sldMk cId="2803239078" sldId="935"/>
            <ac:spMk id="47" creationId="{52EFA549-659C-B799-9809-BDFAA940A669}"/>
          </ac:spMkLst>
        </pc:spChg>
        <pc:picChg chg="add del mod">
          <ac:chgData name="Inese Dreimane (LV)" userId="22f883c9-425f-45e3-9561-0d9c55f15b4a" providerId="ADAL" clId="{03F442BB-6A05-4E5C-9F46-8B7840D1E8EB}" dt="2024-03-08T14:13:52.438" v="1441" actId="478"/>
          <ac:picMkLst>
            <pc:docMk/>
            <pc:sldMk cId="2803239078" sldId="935"/>
            <ac:picMk id="19" creationId="{308E262B-3E44-97D6-5096-7AC1064534E3}"/>
          </ac:picMkLst>
        </pc:picChg>
        <pc:picChg chg="add del mod">
          <ac:chgData name="Inese Dreimane (LV)" userId="22f883c9-425f-45e3-9561-0d9c55f15b4a" providerId="ADAL" clId="{03F442BB-6A05-4E5C-9F46-8B7840D1E8EB}" dt="2024-03-08T14:17:28.082" v="1445" actId="478"/>
          <ac:picMkLst>
            <pc:docMk/>
            <pc:sldMk cId="2803239078" sldId="935"/>
            <ac:picMk id="25" creationId="{1B7B0C16-1376-105B-B81B-F3DB8FD286BF}"/>
          </ac:picMkLst>
        </pc:picChg>
        <pc:picChg chg="add del mod">
          <ac:chgData name="Inese Dreimane (LV)" userId="22f883c9-425f-45e3-9561-0d9c55f15b4a" providerId="ADAL" clId="{03F442BB-6A05-4E5C-9F46-8B7840D1E8EB}" dt="2024-03-08T14:17:49.951" v="1448" actId="478"/>
          <ac:picMkLst>
            <pc:docMk/>
            <pc:sldMk cId="2803239078" sldId="935"/>
            <ac:picMk id="27" creationId="{5627A446-E8CC-69E4-4364-F42D91A66F8D}"/>
          </ac:picMkLst>
        </pc:picChg>
        <pc:picChg chg="add del mod ord">
          <ac:chgData name="Inese Dreimane (LV)" userId="22f883c9-425f-45e3-9561-0d9c55f15b4a" providerId="ADAL" clId="{03F442BB-6A05-4E5C-9F46-8B7840D1E8EB}" dt="2024-03-08T14:18:19.062" v="1452" actId="478"/>
          <ac:picMkLst>
            <pc:docMk/>
            <pc:sldMk cId="2803239078" sldId="935"/>
            <ac:picMk id="29" creationId="{3142E825-D45F-9904-D8EE-9BAC192F3783}"/>
          </ac:picMkLst>
        </pc:picChg>
        <pc:picChg chg="add mod ord">
          <ac:chgData name="Inese Dreimane (LV)" userId="22f883c9-425f-45e3-9561-0d9c55f15b4a" providerId="ADAL" clId="{03F442BB-6A05-4E5C-9F46-8B7840D1E8EB}" dt="2024-03-08T14:18:39.050" v="1455" actId="167"/>
          <ac:picMkLst>
            <pc:docMk/>
            <pc:sldMk cId="2803239078" sldId="935"/>
            <ac:picMk id="31" creationId="{7F2DD1AC-4868-22BF-65A5-2D52181F0AEC}"/>
          </ac:picMkLst>
        </pc:picChg>
        <pc:picChg chg="del">
          <ac:chgData name="Inese Dreimane (LV)" userId="22f883c9-425f-45e3-9561-0d9c55f15b4a" providerId="ADAL" clId="{03F442BB-6A05-4E5C-9F46-8B7840D1E8EB}" dt="2024-03-08T14:13:39.579" v="1438" actId="478"/>
          <ac:picMkLst>
            <pc:docMk/>
            <pc:sldMk cId="2803239078" sldId="935"/>
            <ac:picMk id="45" creationId="{5D0DB068-C11E-6713-BDC0-2DC5047C66E1}"/>
          </ac:picMkLst>
        </pc:picChg>
      </pc:sldChg>
      <pc:sldChg chg="addSp modSp mod modCm">
        <pc:chgData name="Inese Dreimane (LV)" userId="22f883c9-425f-45e3-9561-0d9c55f15b4a" providerId="ADAL" clId="{03F442BB-6A05-4E5C-9F46-8B7840D1E8EB}" dt="2024-03-08T14:09:19.891" v="1380"/>
        <pc:sldMkLst>
          <pc:docMk/>
          <pc:sldMk cId="1939332489" sldId="936"/>
        </pc:sldMkLst>
        <pc:spChg chg="add mod">
          <ac:chgData name="Inese Dreimane (LV)" userId="22f883c9-425f-45e3-9561-0d9c55f15b4a" providerId="ADAL" clId="{03F442BB-6A05-4E5C-9F46-8B7840D1E8EB}" dt="2024-03-08T14:08:44.279" v="1378" actId="20577"/>
          <ac:spMkLst>
            <pc:docMk/>
            <pc:sldMk cId="1939332489" sldId="936"/>
            <ac:spMk id="2" creationId="{ECED2237-CB7F-C2CD-11A3-62DC16CCA5B1}"/>
          </ac:spMkLst>
        </pc:spChg>
        <pc:spChg chg="add mod">
          <ac:chgData name="Inese Dreimane (LV)" userId="22f883c9-425f-45e3-9561-0d9c55f15b4a" providerId="ADAL" clId="{03F442BB-6A05-4E5C-9F46-8B7840D1E8EB}" dt="2024-03-08T14:09:02.453" v="1379" actId="1076"/>
          <ac:spMkLst>
            <pc:docMk/>
            <pc:sldMk cId="1939332489" sldId="936"/>
            <ac:spMk id="15" creationId="{D9C7FB84-E19B-43A1-0AEE-2A2D83D46DBD}"/>
          </ac:spMkLst>
        </pc:spChg>
        <pc:extLst>
          <p:ext xmlns:p="http://schemas.openxmlformats.org/presentationml/2006/main" uri="{D6D511B9-2390-475A-947B-AFAB55BFBCF1}">
            <pc226:cmChg xmlns:pc226="http://schemas.microsoft.com/office/powerpoint/2022/06/main/command" chg="mod">
              <pc226:chgData name="Inese Dreimane (LV)" userId="22f883c9-425f-45e3-9561-0d9c55f15b4a" providerId="ADAL" clId="{03F442BB-6A05-4E5C-9F46-8B7840D1E8EB}" dt="2024-03-08T14:09:19.891" v="1380"/>
              <pc2:cmMkLst xmlns:pc2="http://schemas.microsoft.com/office/powerpoint/2019/9/main/command">
                <pc:docMk/>
                <pc:sldMk cId="1939332489" sldId="936"/>
                <pc2:cmMk id="{F7CBB20B-C670-4C10-BA6C-BE97153D81AD}"/>
              </pc2:cmMkLst>
            </pc226:cmChg>
          </p:ext>
        </pc:extLst>
      </pc:sldChg>
      <pc:sldChg chg="modSp mod modCm">
        <pc:chgData name="Inese Dreimane (LV)" userId="22f883c9-425f-45e3-9561-0d9c55f15b4a" providerId="ADAL" clId="{03F442BB-6A05-4E5C-9F46-8B7840D1E8EB}" dt="2024-03-08T14:09:37.091" v="1385"/>
        <pc:sldMkLst>
          <pc:docMk/>
          <pc:sldMk cId="4229434319" sldId="941"/>
        </pc:sldMkLst>
        <pc:spChg chg="mod">
          <ac:chgData name="Inese Dreimane (LV)" userId="22f883c9-425f-45e3-9561-0d9c55f15b4a" providerId="ADAL" clId="{03F442BB-6A05-4E5C-9F46-8B7840D1E8EB}" dt="2024-03-08T12:36:53.708" v="330" actId="21"/>
          <ac:spMkLst>
            <pc:docMk/>
            <pc:sldMk cId="4229434319" sldId="941"/>
            <ac:spMk id="21" creationId="{47F90413-FED8-5E76-8366-C80AC457EE4C}"/>
          </ac:spMkLst>
        </pc:spChg>
        <pc:extLst>
          <p:ext xmlns:p="http://schemas.openxmlformats.org/presentationml/2006/main" uri="{D6D511B9-2390-475A-947B-AFAB55BFBCF1}">
            <pc226:cmChg xmlns:pc226="http://schemas.microsoft.com/office/powerpoint/2022/06/main/command" chg="mod">
              <pc226:chgData name="Inese Dreimane (LV)" userId="22f883c9-425f-45e3-9561-0d9c55f15b4a" providerId="ADAL" clId="{03F442BB-6A05-4E5C-9F46-8B7840D1E8EB}" dt="2024-03-08T14:09:37.091" v="1385"/>
              <pc2:cmMkLst xmlns:pc2="http://schemas.microsoft.com/office/powerpoint/2019/9/main/command">
                <pc:docMk/>
                <pc:sldMk cId="4229434319" sldId="941"/>
                <pc2:cmMk id="{4B5F507B-5212-4E21-B0C3-C08158A94BED}"/>
              </pc2:cmMkLst>
            </pc226:cmChg>
            <pc226:cmChg xmlns:pc226="http://schemas.microsoft.com/office/powerpoint/2022/06/main/command" chg="mod">
              <pc226:chgData name="Inese Dreimane (LV)" userId="22f883c9-425f-45e3-9561-0d9c55f15b4a" providerId="ADAL" clId="{03F442BB-6A05-4E5C-9F46-8B7840D1E8EB}" dt="2024-03-08T12:36:53.708" v="330" actId="21"/>
              <pc2:cmMkLst xmlns:pc2="http://schemas.microsoft.com/office/powerpoint/2019/9/main/command">
                <pc:docMk/>
                <pc:sldMk cId="4229434319" sldId="941"/>
                <pc2:cmMk id="{8590AEC1-A34A-45D3-8F8B-CA9F66F14848}"/>
              </pc2:cmMkLst>
            </pc226:cmChg>
          </p:ext>
        </pc:extLst>
      </pc:sldChg>
      <pc:sldChg chg="addSp delSp modSp mod">
        <pc:chgData name="Inese Dreimane (LV)" userId="22f883c9-425f-45e3-9561-0d9c55f15b4a" providerId="ADAL" clId="{03F442BB-6A05-4E5C-9F46-8B7840D1E8EB}" dt="2024-03-08T14:56:17.321" v="1633" actId="1076"/>
        <pc:sldMkLst>
          <pc:docMk/>
          <pc:sldMk cId="256155706" sldId="943"/>
        </pc:sldMkLst>
        <pc:spChg chg="add mod">
          <ac:chgData name="Inese Dreimane (LV)" userId="22f883c9-425f-45e3-9561-0d9c55f15b4a" providerId="ADAL" clId="{03F442BB-6A05-4E5C-9F46-8B7840D1E8EB}" dt="2024-03-08T14:56:17.321" v="1633" actId="1076"/>
          <ac:spMkLst>
            <pc:docMk/>
            <pc:sldMk cId="256155706" sldId="943"/>
            <ac:spMk id="10" creationId="{164C9440-3E17-A4DC-F886-2B0A9EA3C538}"/>
          </ac:spMkLst>
        </pc:spChg>
        <pc:spChg chg="del">
          <ac:chgData name="Inese Dreimane (LV)" userId="22f883c9-425f-45e3-9561-0d9c55f15b4a" providerId="ADAL" clId="{03F442BB-6A05-4E5C-9F46-8B7840D1E8EB}" dt="2024-03-08T14:42:25.373" v="1489" actId="478"/>
          <ac:spMkLst>
            <pc:docMk/>
            <pc:sldMk cId="256155706" sldId="943"/>
            <ac:spMk id="42" creationId="{50830596-224D-A11D-D251-21B0CA3EB02E}"/>
          </ac:spMkLst>
        </pc:spChg>
        <pc:picChg chg="add del mod">
          <ac:chgData name="Inese Dreimane (LV)" userId="22f883c9-425f-45e3-9561-0d9c55f15b4a" providerId="ADAL" clId="{03F442BB-6A05-4E5C-9F46-8B7840D1E8EB}" dt="2024-03-08T14:42:29.158" v="1491" actId="478"/>
          <ac:picMkLst>
            <pc:docMk/>
            <pc:sldMk cId="256155706" sldId="943"/>
            <ac:picMk id="5" creationId="{0A0DA75D-FFB4-7187-7E4E-3588FAE8A1BF}"/>
          </ac:picMkLst>
        </pc:picChg>
        <pc:picChg chg="add mod ord">
          <ac:chgData name="Inese Dreimane (LV)" userId="22f883c9-425f-45e3-9561-0d9c55f15b4a" providerId="ADAL" clId="{03F442BB-6A05-4E5C-9F46-8B7840D1E8EB}" dt="2024-03-08T14:42:35.716" v="1494" actId="167"/>
          <ac:picMkLst>
            <pc:docMk/>
            <pc:sldMk cId="256155706" sldId="943"/>
            <ac:picMk id="7" creationId="{F0EA3F29-7534-5D16-8730-7EB925B87D3E}"/>
          </ac:picMkLst>
        </pc:picChg>
        <pc:picChg chg="del">
          <ac:chgData name="Inese Dreimane (LV)" userId="22f883c9-425f-45e3-9561-0d9c55f15b4a" providerId="ADAL" clId="{03F442BB-6A05-4E5C-9F46-8B7840D1E8EB}" dt="2024-03-08T14:42:30.123" v="1492" actId="478"/>
          <ac:picMkLst>
            <pc:docMk/>
            <pc:sldMk cId="256155706" sldId="943"/>
            <ac:picMk id="13" creationId="{00A41EEB-AD8A-07E9-A204-094CF7B91A1C}"/>
          </ac:picMkLst>
        </pc:picChg>
      </pc:sldChg>
      <pc:sldChg chg="addSp delSp modSp mod">
        <pc:chgData name="Inese Dreimane (LV)" userId="22f883c9-425f-45e3-9561-0d9c55f15b4a" providerId="ADAL" clId="{03F442BB-6A05-4E5C-9F46-8B7840D1E8EB}" dt="2024-03-08T14:56:10.909" v="1630" actId="1076"/>
        <pc:sldMkLst>
          <pc:docMk/>
          <pc:sldMk cId="3911462717" sldId="947"/>
        </pc:sldMkLst>
        <pc:spChg chg="add mod">
          <ac:chgData name="Inese Dreimane (LV)" userId="22f883c9-425f-45e3-9561-0d9c55f15b4a" providerId="ADAL" clId="{03F442BB-6A05-4E5C-9F46-8B7840D1E8EB}" dt="2024-03-08T14:56:10.909" v="1630" actId="1076"/>
          <ac:spMkLst>
            <pc:docMk/>
            <pc:sldMk cId="3911462717" sldId="947"/>
            <ac:spMk id="19" creationId="{2ACC2107-8F44-193D-2F4F-9A72038EFDD4}"/>
          </ac:spMkLst>
        </pc:spChg>
        <pc:spChg chg="del">
          <ac:chgData name="Inese Dreimane (LV)" userId="22f883c9-425f-45e3-9561-0d9c55f15b4a" providerId="ADAL" clId="{03F442BB-6A05-4E5C-9F46-8B7840D1E8EB}" dt="2024-03-08T14:35:09.029" v="1469" actId="478"/>
          <ac:spMkLst>
            <pc:docMk/>
            <pc:sldMk cId="3911462717" sldId="947"/>
            <ac:spMk id="42" creationId="{50830596-224D-A11D-D251-21B0CA3EB02E}"/>
          </ac:spMkLst>
        </pc:spChg>
        <pc:picChg chg="add del mod ord">
          <ac:chgData name="Inese Dreimane (LV)" userId="22f883c9-425f-45e3-9561-0d9c55f15b4a" providerId="ADAL" clId="{03F442BB-6A05-4E5C-9F46-8B7840D1E8EB}" dt="2024-03-08T14:36:41.097" v="1482" actId="931"/>
          <ac:picMkLst>
            <pc:docMk/>
            <pc:sldMk cId="3911462717" sldId="947"/>
            <ac:picMk id="6" creationId="{F772326E-4B09-3FA7-9C59-255D9D94B37C}"/>
          </ac:picMkLst>
        </pc:picChg>
        <pc:picChg chg="add del">
          <ac:chgData name="Inese Dreimane (LV)" userId="22f883c9-425f-45e3-9561-0d9c55f15b4a" providerId="ADAL" clId="{03F442BB-6A05-4E5C-9F46-8B7840D1E8EB}" dt="2024-03-08T14:42:03.933" v="1484" actId="478"/>
          <ac:picMkLst>
            <pc:docMk/>
            <pc:sldMk cId="3911462717" sldId="947"/>
            <ac:picMk id="7" creationId="{69E92208-2175-97C9-FE3E-BD01D2A19E7C}"/>
          </ac:picMkLst>
        </pc:picChg>
        <pc:picChg chg="add del mod ord">
          <ac:chgData name="Inese Dreimane (LV)" userId="22f883c9-425f-45e3-9561-0d9c55f15b4a" providerId="ADAL" clId="{03F442BB-6A05-4E5C-9F46-8B7840D1E8EB}" dt="2024-03-08T14:52:45.488" v="1541" actId="478"/>
          <ac:picMkLst>
            <pc:docMk/>
            <pc:sldMk cId="3911462717" sldId="947"/>
            <ac:picMk id="10" creationId="{7306F7F7-0D65-FD3B-C2F8-74867459A9D1}"/>
          </ac:picMkLst>
        </pc:picChg>
        <pc:picChg chg="add mod ord">
          <ac:chgData name="Inese Dreimane (LV)" userId="22f883c9-425f-45e3-9561-0d9c55f15b4a" providerId="ADAL" clId="{03F442BB-6A05-4E5C-9F46-8B7840D1E8EB}" dt="2024-03-08T14:53:42.818" v="1579" actId="167"/>
          <ac:picMkLst>
            <pc:docMk/>
            <pc:sldMk cId="3911462717" sldId="947"/>
            <ac:picMk id="18" creationId="{31E2A41D-B0CE-CD93-AA46-61D03886A5D4}"/>
          </ac:picMkLst>
        </pc:picChg>
      </pc:sldChg>
      <pc:sldChg chg="modSp mod">
        <pc:chgData name="Inese Dreimane (LV)" userId="22f883c9-425f-45e3-9561-0d9c55f15b4a" providerId="ADAL" clId="{03F442BB-6A05-4E5C-9F46-8B7840D1E8EB}" dt="2024-03-08T12:34:31.653" v="311" actId="20577"/>
        <pc:sldMkLst>
          <pc:docMk/>
          <pc:sldMk cId="2937916867" sldId="953"/>
        </pc:sldMkLst>
        <pc:spChg chg="mod">
          <ac:chgData name="Inese Dreimane (LV)" userId="22f883c9-425f-45e3-9561-0d9c55f15b4a" providerId="ADAL" clId="{03F442BB-6A05-4E5C-9F46-8B7840D1E8EB}" dt="2024-03-08T12:34:31.653" v="311" actId="20577"/>
          <ac:spMkLst>
            <pc:docMk/>
            <pc:sldMk cId="2937916867" sldId="953"/>
            <ac:spMk id="2" creationId="{00000000-0000-0000-0000-000000000000}"/>
          </ac:spMkLst>
        </pc:spChg>
      </pc:sldChg>
      <pc:sldChg chg="addSp delSp modSp new del mod">
        <pc:chgData name="Inese Dreimane (LV)" userId="22f883c9-425f-45e3-9561-0d9c55f15b4a" providerId="ADAL" clId="{03F442BB-6A05-4E5C-9F46-8B7840D1E8EB}" dt="2024-03-08T12:50:15.540" v="523" actId="2696"/>
        <pc:sldMkLst>
          <pc:docMk/>
          <pc:sldMk cId="433965355" sldId="954"/>
        </pc:sldMkLst>
        <pc:spChg chg="mod">
          <ac:chgData name="Inese Dreimane (LV)" userId="22f883c9-425f-45e3-9561-0d9c55f15b4a" providerId="ADAL" clId="{03F442BB-6A05-4E5C-9F46-8B7840D1E8EB}" dt="2024-03-08T12:49:53.922" v="520" actId="2711"/>
          <ac:spMkLst>
            <pc:docMk/>
            <pc:sldMk cId="433965355" sldId="954"/>
            <ac:spMk id="2" creationId="{F13D8070-A3CA-71B2-DB85-5DDC3FDC9104}"/>
          </ac:spMkLst>
        </pc:spChg>
        <pc:spChg chg="mod">
          <ac:chgData name="Inese Dreimane (LV)" userId="22f883c9-425f-45e3-9561-0d9c55f15b4a" providerId="ADAL" clId="{03F442BB-6A05-4E5C-9F46-8B7840D1E8EB}" dt="2024-03-08T12:48:45.432" v="506" actId="207"/>
          <ac:spMkLst>
            <pc:docMk/>
            <pc:sldMk cId="433965355" sldId="954"/>
            <ac:spMk id="3" creationId="{4B5E9CB0-E678-AA92-CB4F-AAB849D9F06F}"/>
          </ac:spMkLst>
        </pc:spChg>
        <pc:spChg chg="add del mod ord">
          <ac:chgData name="Inese Dreimane (LV)" userId="22f883c9-425f-45e3-9561-0d9c55f15b4a" providerId="ADAL" clId="{03F442BB-6A05-4E5C-9F46-8B7840D1E8EB}" dt="2024-03-08T12:47:07.972" v="464" actId="478"/>
          <ac:spMkLst>
            <pc:docMk/>
            <pc:sldMk cId="433965355" sldId="954"/>
            <ac:spMk id="7" creationId="{7A2D25EF-6821-BE80-1979-AEA9ECA0C9D5}"/>
          </ac:spMkLst>
        </pc:spChg>
        <pc:spChg chg="add mod ord">
          <ac:chgData name="Inese Dreimane (LV)" userId="22f883c9-425f-45e3-9561-0d9c55f15b4a" providerId="ADAL" clId="{03F442BB-6A05-4E5C-9F46-8B7840D1E8EB}" dt="2024-03-08T12:48:37.987" v="505" actId="167"/>
          <ac:spMkLst>
            <pc:docMk/>
            <pc:sldMk cId="433965355" sldId="954"/>
            <ac:spMk id="8" creationId="{1BCA0921-2A86-BC92-DF02-39651574F107}"/>
          </ac:spMkLst>
        </pc:spChg>
        <pc:spChg chg="add mod ord">
          <ac:chgData name="Inese Dreimane (LV)" userId="22f883c9-425f-45e3-9561-0d9c55f15b4a" providerId="ADAL" clId="{03F442BB-6A05-4E5C-9F46-8B7840D1E8EB}" dt="2024-03-08T12:49:25.836" v="515" actId="167"/>
          <ac:spMkLst>
            <pc:docMk/>
            <pc:sldMk cId="433965355" sldId="954"/>
            <ac:spMk id="11" creationId="{EC3C6358-D603-6260-2EE2-D3AB0432BB59}"/>
          </ac:spMkLst>
        </pc:spChg>
        <pc:spChg chg="add mod ord">
          <ac:chgData name="Inese Dreimane (LV)" userId="22f883c9-425f-45e3-9561-0d9c55f15b4a" providerId="ADAL" clId="{03F442BB-6A05-4E5C-9F46-8B7840D1E8EB}" dt="2024-03-08T12:49:25.836" v="515" actId="167"/>
          <ac:spMkLst>
            <pc:docMk/>
            <pc:sldMk cId="433965355" sldId="954"/>
            <ac:spMk id="12" creationId="{9BA8C79F-E140-2D26-713F-4213A3147D14}"/>
          </ac:spMkLst>
        </pc:spChg>
        <pc:spChg chg="add mod ord">
          <ac:chgData name="Inese Dreimane (LV)" userId="22f883c9-425f-45e3-9561-0d9c55f15b4a" providerId="ADAL" clId="{03F442BB-6A05-4E5C-9F46-8B7840D1E8EB}" dt="2024-03-08T12:49:25.836" v="515" actId="167"/>
          <ac:spMkLst>
            <pc:docMk/>
            <pc:sldMk cId="433965355" sldId="954"/>
            <ac:spMk id="13" creationId="{F2AC4C0D-231D-8599-62AA-EDB80EB16ED6}"/>
          </ac:spMkLst>
        </pc:spChg>
        <pc:spChg chg="add mod ord">
          <ac:chgData name="Inese Dreimane (LV)" userId="22f883c9-425f-45e3-9561-0d9c55f15b4a" providerId="ADAL" clId="{03F442BB-6A05-4E5C-9F46-8B7840D1E8EB}" dt="2024-03-08T12:49:25.836" v="515" actId="167"/>
          <ac:spMkLst>
            <pc:docMk/>
            <pc:sldMk cId="433965355" sldId="954"/>
            <ac:spMk id="14" creationId="{EB368E4B-E205-96B0-EC9C-ECE5FE38B431}"/>
          </ac:spMkLst>
        </pc:spChg>
        <pc:spChg chg="add mod ord">
          <ac:chgData name="Inese Dreimane (LV)" userId="22f883c9-425f-45e3-9561-0d9c55f15b4a" providerId="ADAL" clId="{03F442BB-6A05-4E5C-9F46-8B7840D1E8EB}" dt="2024-03-08T12:49:25.836" v="515" actId="167"/>
          <ac:spMkLst>
            <pc:docMk/>
            <pc:sldMk cId="433965355" sldId="954"/>
            <ac:spMk id="15" creationId="{14888159-FB40-1F4B-87AF-2A59C24FCAD9}"/>
          </ac:spMkLst>
        </pc:spChg>
        <pc:picChg chg="add mod ord">
          <ac:chgData name="Inese Dreimane (LV)" userId="22f883c9-425f-45e3-9561-0d9c55f15b4a" providerId="ADAL" clId="{03F442BB-6A05-4E5C-9F46-8B7840D1E8EB}" dt="2024-03-08T12:49:02.041" v="510" actId="167"/>
          <ac:picMkLst>
            <pc:docMk/>
            <pc:sldMk cId="433965355" sldId="954"/>
            <ac:picMk id="9" creationId="{39510DD3-256E-3DAF-E3C0-C2AF9C69850E}"/>
          </ac:picMkLst>
        </pc:picChg>
        <pc:picChg chg="add mod ord">
          <ac:chgData name="Inese Dreimane (LV)" userId="22f883c9-425f-45e3-9561-0d9c55f15b4a" providerId="ADAL" clId="{03F442BB-6A05-4E5C-9F46-8B7840D1E8EB}" dt="2024-03-08T12:49:33.959" v="516" actId="167"/>
          <ac:picMkLst>
            <pc:docMk/>
            <pc:sldMk cId="433965355" sldId="954"/>
            <ac:picMk id="10" creationId="{C91DA8E7-C0A9-EA4A-250E-C22ABC444AC6}"/>
          </ac:picMkLst>
        </pc:picChg>
      </pc:sldChg>
      <pc:sldChg chg="addSp delSp modSp add mod modShow">
        <pc:chgData name="Inese Dreimane (LV)" userId="22f883c9-425f-45e3-9561-0d9c55f15b4a" providerId="ADAL" clId="{03F442BB-6A05-4E5C-9F46-8B7840D1E8EB}" dt="2024-03-08T15:07:07.075" v="1683" actId="14100"/>
        <pc:sldMkLst>
          <pc:docMk/>
          <pc:sldMk cId="3292995886" sldId="954"/>
        </pc:sldMkLst>
        <pc:spChg chg="mod">
          <ac:chgData name="Inese Dreimane (LV)" userId="22f883c9-425f-45e3-9561-0d9c55f15b4a" providerId="ADAL" clId="{03F442BB-6A05-4E5C-9F46-8B7840D1E8EB}" dt="2024-03-08T13:29:23.459" v="912" actId="20577"/>
          <ac:spMkLst>
            <pc:docMk/>
            <pc:sldMk cId="3292995886" sldId="954"/>
            <ac:spMk id="2" creationId="{00000000-0000-0000-0000-000000000000}"/>
          </ac:spMkLst>
        </pc:spChg>
        <pc:spChg chg="del">
          <ac:chgData name="Inese Dreimane (LV)" userId="22f883c9-425f-45e3-9561-0d9c55f15b4a" providerId="ADAL" clId="{03F442BB-6A05-4E5C-9F46-8B7840D1E8EB}" dt="2024-03-08T12:50:41.078" v="535" actId="478"/>
          <ac:spMkLst>
            <pc:docMk/>
            <pc:sldMk cId="3292995886" sldId="954"/>
            <ac:spMk id="3" creationId="{DD291347-1263-8A12-F54A-52749B83C743}"/>
          </ac:spMkLst>
        </pc:spChg>
        <pc:spChg chg="mod">
          <ac:chgData name="Inese Dreimane (LV)" userId="22f883c9-425f-45e3-9561-0d9c55f15b4a" providerId="ADAL" clId="{03F442BB-6A05-4E5C-9F46-8B7840D1E8EB}" dt="2024-03-08T13:29:51.833" v="917" actId="164"/>
          <ac:spMkLst>
            <pc:docMk/>
            <pc:sldMk cId="3292995886" sldId="954"/>
            <ac:spMk id="13" creationId="{EBC48018-9352-BCE7-EC18-F64F9523FBE2}"/>
          </ac:spMkLst>
        </pc:spChg>
        <pc:spChg chg="mod">
          <ac:chgData name="Inese Dreimane (LV)" userId="22f883c9-425f-45e3-9561-0d9c55f15b4a" providerId="ADAL" clId="{03F442BB-6A05-4E5C-9F46-8B7840D1E8EB}" dt="2024-03-08T13:29:51.833" v="917" actId="164"/>
          <ac:spMkLst>
            <pc:docMk/>
            <pc:sldMk cId="3292995886" sldId="954"/>
            <ac:spMk id="14" creationId="{A6EA8E27-8E20-4FA2-6F3F-47AB069C7A15}"/>
          </ac:spMkLst>
        </pc:spChg>
        <pc:spChg chg="mod">
          <ac:chgData name="Inese Dreimane (LV)" userId="22f883c9-425f-45e3-9561-0d9c55f15b4a" providerId="ADAL" clId="{03F442BB-6A05-4E5C-9F46-8B7840D1E8EB}" dt="2024-03-08T13:29:51.833" v="917" actId="164"/>
          <ac:spMkLst>
            <pc:docMk/>
            <pc:sldMk cId="3292995886" sldId="954"/>
            <ac:spMk id="17" creationId="{727C3B93-672E-9475-DFE2-94264EF24635}"/>
          </ac:spMkLst>
        </pc:spChg>
        <pc:spChg chg="mod">
          <ac:chgData name="Inese Dreimane (LV)" userId="22f883c9-425f-45e3-9561-0d9c55f15b4a" providerId="ADAL" clId="{03F442BB-6A05-4E5C-9F46-8B7840D1E8EB}" dt="2024-03-08T13:29:51.833" v="917" actId="164"/>
          <ac:spMkLst>
            <pc:docMk/>
            <pc:sldMk cId="3292995886" sldId="954"/>
            <ac:spMk id="18" creationId="{23FEABF4-ACC6-6BA5-26A6-57105BBF3D63}"/>
          </ac:spMkLst>
        </pc:spChg>
        <pc:spChg chg="mod">
          <ac:chgData name="Inese Dreimane (LV)" userId="22f883c9-425f-45e3-9561-0d9c55f15b4a" providerId="ADAL" clId="{03F442BB-6A05-4E5C-9F46-8B7840D1E8EB}" dt="2024-03-08T13:29:51.833" v="917" actId="164"/>
          <ac:spMkLst>
            <pc:docMk/>
            <pc:sldMk cId="3292995886" sldId="954"/>
            <ac:spMk id="19" creationId="{640260A6-5B69-D0BB-2ADE-6121D1B73C97}"/>
          </ac:spMkLst>
        </pc:spChg>
        <pc:spChg chg="mod">
          <ac:chgData name="Inese Dreimane (LV)" userId="22f883c9-425f-45e3-9561-0d9c55f15b4a" providerId="ADAL" clId="{03F442BB-6A05-4E5C-9F46-8B7840D1E8EB}" dt="2024-03-08T13:29:51.833" v="917" actId="164"/>
          <ac:spMkLst>
            <pc:docMk/>
            <pc:sldMk cId="3292995886" sldId="954"/>
            <ac:spMk id="20" creationId="{6748D0C1-5B92-F6E9-0A59-E6156DD31117}"/>
          </ac:spMkLst>
        </pc:spChg>
        <pc:spChg chg="mod">
          <ac:chgData name="Inese Dreimane (LV)" userId="22f883c9-425f-45e3-9561-0d9c55f15b4a" providerId="ADAL" clId="{03F442BB-6A05-4E5C-9F46-8B7840D1E8EB}" dt="2024-03-08T13:29:51.833" v="917" actId="164"/>
          <ac:spMkLst>
            <pc:docMk/>
            <pc:sldMk cId="3292995886" sldId="954"/>
            <ac:spMk id="21" creationId="{AD8FAEBD-9C40-1056-EDEE-D682D22C4018}"/>
          </ac:spMkLst>
        </pc:spChg>
        <pc:spChg chg="mod">
          <ac:chgData name="Inese Dreimane (LV)" userId="22f883c9-425f-45e3-9561-0d9c55f15b4a" providerId="ADAL" clId="{03F442BB-6A05-4E5C-9F46-8B7840D1E8EB}" dt="2024-03-08T13:16:11.006" v="865" actId="790"/>
          <ac:spMkLst>
            <pc:docMk/>
            <pc:sldMk cId="3292995886" sldId="954"/>
            <ac:spMk id="23" creationId="{3E50A70C-AE98-4C4C-DD4B-01F345345628}"/>
          </ac:spMkLst>
        </pc:spChg>
        <pc:spChg chg="mod">
          <ac:chgData name="Inese Dreimane (LV)" userId="22f883c9-425f-45e3-9561-0d9c55f15b4a" providerId="ADAL" clId="{03F442BB-6A05-4E5C-9F46-8B7840D1E8EB}" dt="2024-03-08T13:29:51.833" v="917" actId="164"/>
          <ac:spMkLst>
            <pc:docMk/>
            <pc:sldMk cId="3292995886" sldId="954"/>
            <ac:spMk id="25" creationId="{FA38E11F-EB0A-CDA0-8C36-9EFAAEF89052}"/>
          </ac:spMkLst>
        </pc:spChg>
        <pc:spChg chg="del mod">
          <ac:chgData name="Inese Dreimane (LV)" userId="22f883c9-425f-45e3-9561-0d9c55f15b4a" providerId="ADAL" clId="{03F442BB-6A05-4E5C-9F46-8B7840D1E8EB}" dt="2024-03-08T13:16:14.067" v="866" actId="478"/>
          <ac:spMkLst>
            <pc:docMk/>
            <pc:sldMk cId="3292995886" sldId="954"/>
            <ac:spMk id="26" creationId="{CA23CC84-4AA0-2EC3-44A4-A0C1C2A2A595}"/>
          </ac:spMkLst>
        </pc:spChg>
        <pc:spChg chg="mod">
          <ac:chgData name="Inese Dreimane (LV)" userId="22f883c9-425f-45e3-9561-0d9c55f15b4a" providerId="ADAL" clId="{03F442BB-6A05-4E5C-9F46-8B7840D1E8EB}" dt="2024-03-08T13:29:51.833" v="917" actId="164"/>
          <ac:spMkLst>
            <pc:docMk/>
            <pc:sldMk cId="3292995886" sldId="954"/>
            <ac:spMk id="27" creationId="{9BD1E965-D91B-3C2F-FE9D-C8C3604F3517}"/>
          </ac:spMkLst>
        </pc:spChg>
        <pc:spChg chg="mod">
          <ac:chgData name="Inese Dreimane (LV)" userId="22f883c9-425f-45e3-9561-0d9c55f15b4a" providerId="ADAL" clId="{03F442BB-6A05-4E5C-9F46-8B7840D1E8EB}" dt="2024-03-08T13:29:51.833" v="917" actId="164"/>
          <ac:spMkLst>
            <pc:docMk/>
            <pc:sldMk cId="3292995886" sldId="954"/>
            <ac:spMk id="28" creationId="{085CC3C1-7BCE-2CFF-6FE9-8B051CE5BAE1}"/>
          </ac:spMkLst>
        </pc:spChg>
        <pc:spChg chg="mod">
          <ac:chgData name="Inese Dreimane (LV)" userId="22f883c9-425f-45e3-9561-0d9c55f15b4a" providerId="ADAL" clId="{03F442BB-6A05-4E5C-9F46-8B7840D1E8EB}" dt="2024-03-08T13:29:51.833" v="917" actId="164"/>
          <ac:spMkLst>
            <pc:docMk/>
            <pc:sldMk cId="3292995886" sldId="954"/>
            <ac:spMk id="29" creationId="{22B7628C-AF1F-ECC4-7997-9A5DA3213126}"/>
          </ac:spMkLst>
        </pc:spChg>
        <pc:spChg chg="mod">
          <ac:chgData name="Inese Dreimane (LV)" userId="22f883c9-425f-45e3-9561-0d9c55f15b4a" providerId="ADAL" clId="{03F442BB-6A05-4E5C-9F46-8B7840D1E8EB}" dt="2024-03-08T13:29:51.833" v="917" actId="164"/>
          <ac:spMkLst>
            <pc:docMk/>
            <pc:sldMk cId="3292995886" sldId="954"/>
            <ac:spMk id="30" creationId="{CBECDA33-3DF1-41DE-1ABB-16C633BAC804}"/>
          </ac:spMkLst>
        </pc:spChg>
        <pc:spChg chg="mod">
          <ac:chgData name="Inese Dreimane (LV)" userId="22f883c9-425f-45e3-9561-0d9c55f15b4a" providerId="ADAL" clId="{03F442BB-6A05-4E5C-9F46-8B7840D1E8EB}" dt="2024-03-08T13:29:51.833" v="917" actId="164"/>
          <ac:spMkLst>
            <pc:docMk/>
            <pc:sldMk cId="3292995886" sldId="954"/>
            <ac:spMk id="31" creationId="{32D800BF-7D51-BDDC-0E3A-1EC21D1841D8}"/>
          </ac:spMkLst>
        </pc:spChg>
        <pc:spChg chg="mod">
          <ac:chgData name="Inese Dreimane (LV)" userId="22f883c9-425f-45e3-9561-0d9c55f15b4a" providerId="ADAL" clId="{03F442BB-6A05-4E5C-9F46-8B7840D1E8EB}" dt="2024-03-08T13:29:51.833" v="917" actId="164"/>
          <ac:spMkLst>
            <pc:docMk/>
            <pc:sldMk cId="3292995886" sldId="954"/>
            <ac:spMk id="32" creationId="{3904F4A1-8632-ECDA-CFE9-8DE85E254BF1}"/>
          </ac:spMkLst>
        </pc:spChg>
        <pc:spChg chg="mod">
          <ac:chgData name="Inese Dreimane (LV)" userId="22f883c9-425f-45e3-9561-0d9c55f15b4a" providerId="ADAL" clId="{03F442BB-6A05-4E5C-9F46-8B7840D1E8EB}" dt="2024-03-08T13:29:51.833" v="917" actId="164"/>
          <ac:spMkLst>
            <pc:docMk/>
            <pc:sldMk cId="3292995886" sldId="954"/>
            <ac:spMk id="33" creationId="{EF2B0D7D-72D6-DA32-14A0-AAEB0DC31610}"/>
          </ac:spMkLst>
        </pc:spChg>
        <pc:spChg chg="add del mod">
          <ac:chgData name="Inese Dreimane (LV)" userId="22f883c9-425f-45e3-9561-0d9c55f15b4a" providerId="ADAL" clId="{03F442BB-6A05-4E5C-9F46-8B7840D1E8EB}" dt="2024-03-08T13:29:51.833" v="917" actId="164"/>
          <ac:spMkLst>
            <pc:docMk/>
            <pc:sldMk cId="3292995886" sldId="954"/>
            <ac:spMk id="34" creationId="{726C93E4-4142-75A2-547C-0711EA5DF011}"/>
          </ac:spMkLst>
        </pc:spChg>
        <pc:spChg chg="del">
          <ac:chgData name="Inese Dreimane (LV)" userId="22f883c9-425f-45e3-9561-0d9c55f15b4a" providerId="ADAL" clId="{03F442BB-6A05-4E5C-9F46-8B7840D1E8EB}" dt="2024-03-08T13:05:35.869" v="787" actId="478"/>
          <ac:spMkLst>
            <pc:docMk/>
            <pc:sldMk cId="3292995886" sldId="954"/>
            <ac:spMk id="35" creationId="{D96F6E80-9CC0-4E4E-9F30-BE471DD02E2A}"/>
          </ac:spMkLst>
        </pc:spChg>
        <pc:spChg chg="del">
          <ac:chgData name="Inese Dreimane (LV)" userId="22f883c9-425f-45e3-9561-0d9c55f15b4a" providerId="ADAL" clId="{03F442BB-6A05-4E5C-9F46-8B7840D1E8EB}" dt="2024-03-08T13:05:37.952" v="788" actId="478"/>
          <ac:spMkLst>
            <pc:docMk/>
            <pc:sldMk cId="3292995886" sldId="954"/>
            <ac:spMk id="36" creationId="{B8BDC995-8ABA-1E47-BFD3-3D75AD69DB79}"/>
          </ac:spMkLst>
        </pc:spChg>
        <pc:spChg chg="del">
          <ac:chgData name="Inese Dreimane (LV)" userId="22f883c9-425f-45e3-9561-0d9c55f15b4a" providerId="ADAL" clId="{03F442BB-6A05-4E5C-9F46-8B7840D1E8EB}" dt="2024-03-08T13:05:40.225" v="789" actId="478"/>
          <ac:spMkLst>
            <pc:docMk/>
            <pc:sldMk cId="3292995886" sldId="954"/>
            <ac:spMk id="37" creationId="{3713EDBB-E808-DB43-9D13-D983F8E4F9E3}"/>
          </ac:spMkLst>
        </pc:spChg>
        <pc:spChg chg="del">
          <ac:chgData name="Inese Dreimane (LV)" userId="22f883c9-425f-45e3-9561-0d9c55f15b4a" providerId="ADAL" clId="{03F442BB-6A05-4E5C-9F46-8B7840D1E8EB}" dt="2024-03-08T13:05:43.540" v="790" actId="478"/>
          <ac:spMkLst>
            <pc:docMk/>
            <pc:sldMk cId="3292995886" sldId="954"/>
            <ac:spMk id="38" creationId="{84CF10D2-2DD2-E94B-B688-4AE679F609AE}"/>
          </ac:spMkLst>
        </pc:spChg>
        <pc:spChg chg="del">
          <ac:chgData name="Inese Dreimane (LV)" userId="22f883c9-425f-45e3-9561-0d9c55f15b4a" providerId="ADAL" clId="{03F442BB-6A05-4E5C-9F46-8B7840D1E8EB}" dt="2024-03-08T13:05:46.326" v="791" actId="478"/>
          <ac:spMkLst>
            <pc:docMk/>
            <pc:sldMk cId="3292995886" sldId="954"/>
            <ac:spMk id="39" creationId="{D03FE053-9C77-C74A-ACA6-C51A3C3B1FD0}"/>
          </ac:spMkLst>
        </pc:spChg>
        <pc:spChg chg="del">
          <ac:chgData name="Inese Dreimane (LV)" userId="22f883c9-425f-45e3-9561-0d9c55f15b4a" providerId="ADAL" clId="{03F442BB-6A05-4E5C-9F46-8B7840D1E8EB}" dt="2024-03-08T13:05:48.312" v="792" actId="478"/>
          <ac:spMkLst>
            <pc:docMk/>
            <pc:sldMk cId="3292995886" sldId="954"/>
            <ac:spMk id="40" creationId="{9578F692-1706-974E-B5D3-AD6B159461BC}"/>
          </ac:spMkLst>
        </pc:spChg>
        <pc:spChg chg="del">
          <ac:chgData name="Inese Dreimane (LV)" userId="22f883c9-425f-45e3-9561-0d9c55f15b4a" providerId="ADAL" clId="{03F442BB-6A05-4E5C-9F46-8B7840D1E8EB}" dt="2024-03-08T13:06:02.104" v="794" actId="478"/>
          <ac:spMkLst>
            <pc:docMk/>
            <pc:sldMk cId="3292995886" sldId="954"/>
            <ac:spMk id="41" creationId="{19F3A3EA-1A15-1B4C-8DCB-26EE245E8AFC}"/>
          </ac:spMkLst>
        </pc:spChg>
        <pc:spChg chg="del">
          <ac:chgData name="Inese Dreimane (LV)" userId="22f883c9-425f-45e3-9561-0d9c55f15b4a" providerId="ADAL" clId="{03F442BB-6A05-4E5C-9F46-8B7840D1E8EB}" dt="2024-03-08T13:05:57.920" v="793" actId="478"/>
          <ac:spMkLst>
            <pc:docMk/>
            <pc:sldMk cId="3292995886" sldId="954"/>
            <ac:spMk id="42" creationId="{F4B34ACD-2BEF-AB41-80A8-244233F6E0F2}"/>
          </ac:spMkLst>
        </pc:spChg>
        <pc:spChg chg="add del mod">
          <ac:chgData name="Inese Dreimane (LV)" userId="22f883c9-425f-45e3-9561-0d9c55f15b4a" providerId="ADAL" clId="{03F442BB-6A05-4E5C-9F46-8B7840D1E8EB}" dt="2024-03-08T13:29:44.996" v="916"/>
          <ac:spMkLst>
            <pc:docMk/>
            <pc:sldMk cId="3292995886" sldId="954"/>
            <ac:spMk id="66" creationId="{2B60E6B7-CB75-2633-F1A6-462352B4D1C8}"/>
          </ac:spMkLst>
        </pc:spChg>
        <pc:spChg chg="add mod">
          <ac:chgData name="Inese Dreimane (LV)" userId="22f883c9-425f-45e3-9561-0d9c55f15b4a" providerId="ADAL" clId="{03F442BB-6A05-4E5C-9F46-8B7840D1E8EB}" dt="2024-03-08T13:41:24.354" v="1000" actId="108"/>
          <ac:spMkLst>
            <pc:docMk/>
            <pc:sldMk cId="3292995886" sldId="954"/>
            <ac:spMk id="68" creationId="{512F80CF-595E-3A80-F495-3198099BF352}"/>
          </ac:spMkLst>
        </pc:spChg>
        <pc:spChg chg="add mod">
          <ac:chgData name="Inese Dreimane (LV)" userId="22f883c9-425f-45e3-9561-0d9c55f15b4a" providerId="ADAL" clId="{03F442BB-6A05-4E5C-9F46-8B7840D1E8EB}" dt="2024-03-08T13:34:50.909" v="971" actId="20577"/>
          <ac:spMkLst>
            <pc:docMk/>
            <pc:sldMk cId="3292995886" sldId="954"/>
            <ac:spMk id="72" creationId="{389AB09B-1895-53B3-B2BF-1941E31431C3}"/>
          </ac:spMkLst>
        </pc:spChg>
        <pc:spChg chg="add mod">
          <ac:chgData name="Inese Dreimane (LV)" userId="22f883c9-425f-45e3-9561-0d9c55f15b4a" providerId="ADAL" clId="{03F442BB-6A05-4E5C-9F46-8B7840D1E8EB}" dt="2024-03-08T13:44:41.407" v="1041" actId="164"/>
          <ac:spMkLst>
            <pc:docMk/>
            <pc:sldMk cId="3292995886" sldId="954"/>
            <ac:spMk id="73" creationId="{31125C22-727E-9F1A-6243-9118C9184F00}"/>
          </ac:spMkLst>
        </pc:spChg>
        <pc:spChg chg="add mod">
          <ac:chgData name="Inese Dreimane (LV)" userId="22f883c9-425f-45e3-9561-0d9c55f15b4a" providerId="ADAL" clId="{03F442BB-6A05-4E5C-9F46-8B7840D1E8EB}" dt="2024-03-08T13:44:41.407" v="1041" actId="164"/>
          <ac:spMkLst>
            <pc:docMk/>
            <pc:sldMk cId="3292995886" sldId="954"/>
            <ac:spMk id="74" creationId="{30BC4D96-7AB6-5410-F8A7-11D4C2862746}"/>
          </ac:spMkLst>
        </pc:spChg>
        <pc:spChg chg="add mod">
          <ac:chgData name="Inese Dreimane (LV)" userId="22f883c9-425f-45e3-9561-0d9c55f15b4a" providerId="ADAL" clId="{03F442BB-6A05-4E5C-9F46-8B7840D1E8EB}" dt="2024-03-08T13:44:41.407" v="1041" actId="164"/>
          <ac:spMkLst>
            <pc:docMk/>
            <pc:sldMk cId="3292995886" sldId="954"/>
            <ac:spMk id="75" creationId="{290E10FB-1E9E-BA02-17CE-37048E36D77D}"/>
          </ac:spMkLst>
        </pc:spChg>
        <pc:spChg chg="add mod">
          <ac:chgData name="Inese Dreimane (LV)" userId="22f883c9-425f-45e3-9561-0d9c55f15b4a" providerId="ADAL" clId="{03F442BB-6A05-4E5C-9F46-8B7840D1E8EB}" dt="2024-03-08T13:44:41.407" v="1041" actId="164"/>
          <ac:spMkLst>
            <pc:docMk/>
            <pc:sldMk cId="3292995886" sldId="954"/>
            <ac:spMk id="76" creationId="{38DBB93D-57B0-B54F-E839-6C98B0A631BA}"/>
          </ac:spMkLst>
        </pc:spChg>
        <pc:spChg chg="add mod">
          <ac:chgData name="Inese Dreimane (LV)" userId="22f883c9-425f-45e3-9561-0d9c55f15b4a" providerId="ADAL" clId="{03F442BB-6A05-4E5C-9F46-8B7840D1E8EB}" dt="2024-03-08T13:44:41.407" v="1041" actId="164"/>
          <ac:spMkLst>
            <pc:docMk/>
            <pc:sldMk cId="3292995886" sldId="954"/>
            <ac:spMk id="77" creationId="{DDB6C16B-57BB-AF2A-E53B-4AB987146955}"/>
          </ac:spMkLst>
        </pc:spChg>
        <pc:spChg chg="add mod">
          <ac:chgData name="Inese Dreimane (LV)" userId="22f883c9-425f-45e3-9561-0d9c55f15b4a" providerId="ADAL" clId="{03F442BB-6A05-4E5C-9F46-8B7840D1E8EB}" dt="2024-03-08T15:07:07.075" v="1683" actId="14100"/>
          <ac:spMkLst>
            <pc:docMk/>
            <pc:sldMk cId="3292995886" sldId="954"/>
            <ac:spMk id="79" creationId="{72A92D02-BCC4-F084-7D68-CD45A6DC8E1C}"/>
          </ac:spMkLst>
        </pc:spChg>
        <pc:grpChg chg="add mod">
          <ac:chgData name="Inese Dreimane (LV)" userId="22f883c9-425f-45e3-9561-0d9c55f15b4a" providerId="ADAL" clId="{03F442BB-6A05-4E5C-9F46-8B7840D1E8EB}" dt="2024-03-08T13:29:51.833" v="917" actId="164"/>
          <ac:grpSpMkLst>
            <pc:docMk/>
            <pc:sldMk cId="3292995886" sldId="954"/>
            <ac:grpSpMk id="67" creationId="{2D2798A6-DB77-8DF8-0FBA-D6A5F593466B}"/>
          </ac:grpSpMkLst>
        </pc:grpChg>
        <pc:grpChg chg="add mod ord">
          <ac:chgData name="Inese Dreimane (LV)" userId="22f883c9-425f-45e3-9561-0d9c55f15b4a" providerId="ADAL" clId="{03F442BB-6A05-4E5C-9F46-8B7840D1E8EB}" dt="2024-03-08T15:07:02.053" v="1682" actId="166"/>
          <ac:grpSpMkLst>
            <pc:docMk/>
            <pc:sldMk cId="3292995886" sldId="954"/>
            <ac:grpSpMk id="78" creationId="{32B6BDBB-7194-CDE7-F6B7-C8AFABCE0031}"/>
          </ac:grpSpMkLst>
        </pc:grpChg>
        <pc:picChg chg="add del mod">
          <ac:chgData name="Inese Dreimane (LV)" userId="22f883c9-425f-45e3-9561-0d9c55f15b4a" providerId="ADAL" clId="{03F442BB-6A05-4E5C-9F46-8B7840D1E8EB}" dt="2024-03-08T13:01:59.463" v="761" actId="478"/>
          <ac:picMkLst>
            <pc:docMk/>
            <pc:sldMk cId="3292995886" sldId="954"/>
            <ac:picMk id="5" creationId="{E509BB8A-1843-F8E5-1A15-1E89DF6DFA6A}"/>
          </ac:picMkLst>
        </pc:picChg>
        <pc:picChg chg="add del mod ord">
          <ac:chgData name="Inese Dreimane (LV)" userId="22f883c9-425f-45e3-9561-0d9c55f15b4a" providerId="ADAL" clId="{03F442BB-6A05-4E5C-9F46-8B7840D1E8EB}" dt="2024-03-08T13:04:10.432" v="773" actId="478"/>
          <ac:picMkLst>
            <pc:docMk/>
            <pc:sldMk cId="3292995886" sldId="954"/>
            <ac:picMk id="7" creationId="{776DFF13-A2DE-9BF2-AAE4-9D337E7B22DF}"/>
          </ac:picMkLst>
        </pc:picChg>
        <pc:picChg chg="add mod ord">
          <ac:chgData name="Inese Dreimane (LV)" userId="22f883c9-425f-45e3-9561-0d9c55f15b4a" providerId="ADAL" clId="{03F442BB-6A05-4E5C-9F46-8B7840D1E8EB}" dt="2024-03-08T13:04:49.574" v="776" actId="167"/>
          <ac:picMkLst>
            <pc:docMk/>
            <pc:sldMk cId="3292995886" sldId="954"/>
            <ac:picMk id="9" creationId="{3BD27262-4779-ADB8-12BD-E78A69C7BF00}"/>
          </ac:picMkLst>
        </pc:picChg>
        <pc:picChg chg="add del mod">
          <ac:chgData name="Inese Dreimane (LV)" userId="22f883c9-425f-45e3-9561-0d9c55f15b4a" providerId="ADAL" clId="{03F442BB-6A05-4E5C-9F46-8B7840D1E8EB}" dt="2024-03-08T13:07:32.288" v="801" actId="478"/>
          <ac:picMkLst>
            <pc:docMk/>
            <pc:sldMk cId="3292995886" sldId="954"/>
            <ac:picMk id="11" creationId="{6823E800-49C8-81CE-B916-866EF8C969E9}"/>
          </ac:picMkLst>
        </pc:picChg>
        <pc:picChg chg="add mod">
          <ac:chgData name="Inese Dreimane (LV)" userId="22f883c9-425f-45e3-9561-0d9c55f15b4a" providerId="ADAL" clId="{03F442BB-6A05-4E5C-9F46-8B7840D1E8EB}" dt="2024-03-08T13:29:51.833" v="917" actId="164"/>
          <ac:picMkLst>
            <pc:docMk/>
            <pc:sldMk cId="3292995886" sldId="954"/>
            <ac:picMk id="15" creationId="{56D5031E-9BB8-DB92-8641-EE3099AEAFC2}"/>
          </ac:picMkLst>
        </pc:picChg>
        <pc:picChg chg="del">
          <ac:chgData name="Inese Dreimane (LV)" userId="22f883c9-425f-45e3-9561-0d9c55f15b4a" providerId="ADAL" clId="{03F442BB-6A05-4E5C-9F46-8B7840D1E8EB}" dt="2024-03-08T12:50:41.836" v="536" actId="478"/>
          <ac:picMkLst>
            <pc:docMk/>
            <pc:sldMk cId="3292995886" sldId="954"/>
            <ac:picMk id="22" creationId="{3FC3DC7B-39D2-9EAB-034F-B0CAB0821C6F}"/>
          </ac:picMkLst>
        </pc:picChg>
        <pc:picChg chg="add mod">
          <ac:chgData name="Inese Dreimane (LV)" userId="22f883c9-425f-45e3-9561-0d9c55f15b4a" providerId="ADAL" clId="{03F442BB-6A05-4E5C-9F46-8B7840D1E8EB}" dt="2024-03-08T13:29:51.833" v="917" actId="164"/>
          <ac:picMkLst>
            <pc:docMk/>
            <pc:sldMk cId="3292995886" sldId="954"/>
            <ac:picMk id="43" creationId="{B1930482-85CF-0828-289A-911A88D162FC}"/>
          </ac:picMkLst>
        </pc:picChg>
        <pc:picChg chg="add mod">
          <ac:chgData name="Inese Dreimane (LV)" userId="22f883c9-425f-45e3-9561-0d9c55f15b4a" providerId="ADAL" clId="{03F442BB-6A05-4E5C-9F46-8B7840D1E8EB}" dt="2024-03-08T13:29:51.833" v="917" actId="164"/>
          <ac:picMkLst>
            <pc:docMk/>
            <pc:sldMk cId="3292995886" sldId="954"/>
            <ac:picMk id="45" creationId="{CB7F7362-D009-3746-71A4-C82A3EAECE53}"/>
          </ac:picMkLst>
        </pc:picChg>
        <pc:picChg chg="add mod">
          <ac:chgData name="Inese Dreimane (LV)" userId="22f883c9-425f-45e3-9561-0d9c55f15b4a" providerId="ADAL" clId="{03F442BB-6A05-4E5C-9F46-8B7840D1E8EB}" dt="2024-03-08T13:29:51.833" v="917" actId="164"/>
          <ac:picMkLst>
            <pc:docMk/>
            <pc:sldMk cId="3292995886" sldId="954"/>
            <ac:picMk id="47" creationId="{1843502D-878E-5D1D-EC6D-637822DA957D}"/>
          </ac:picMkLst>
        </pc:picChg>
        <pc:picChg chg="add mod">
          <ac:chgData name="Inese Dreimane (LV)" userId="22f883c9-425f-45e3-9561-0d9c55f15b4a" providerId="ADAL" clId="{03F442BB-6A05-4E5C-9F46-8B7840D1E8EB}" dt="2024-03-08T13:29:51.833" v="917" actId="164"/>
          <ac:picMkLst>
            <pc:docMk/>
            <pc:sldMk cId="3292995886" sldId="954"/>
            <ac:picMk id="49" creationId="{CE2EC60D-BCC6-E24D-CC9D-94DDDB0D6EF8}"/>
          </ac:picMkLst>
        </pc:picChg>
        <pc:picChg chg="add mod">
          <ac:chgData name="Inese Dreimane (LV)" userId="22f883c9-425f-45e3-9561-0d9c55f15b4a" providerId="ADAL" clId="{03F442BB-6A05-4E5C-9F46-8B7840D1E8EB}" dt="2024-03-08T13:29:51.833" v="917" actId="164"/>
          <ac:picMkLst>
            <pc:docMk/>
            <pc:sldMk cId="3292995886" sldId="954"/>
            <ac:picMk id="51" creationId="{B7BCAF95-4E75-7D80-5968-6AB8067240FF}"/>
          </ac:picMkLst>
        </pc:picChg>
        <pc:picChg chg="add mod">
          <ac:chgData name="Inese Dreimane (LV)" userId="22f883c9-425f-45e3-9561-0d9c55f15b4a" providerId="ADAL" clId="{03F442BB-6A05-4E5C-9F46-8B7840D1E8EB}" dt="2024-03-08T13:29:51.833" v="917" actId="164"/>
          <ac:picMkLst>
            <pc:docMk/>
            <pc:sldMk cId="3292995886" sldId="954"/>
            <ac:picMk id="53" creationId="{F1451C2A-ADFE-AF0D-DFB9-1EB6C4E57003}"/>
          </ac:picMkLst>
        </pc:picChg>
        <pc:picChg chg="add mod">
          <ac:chgData name="Inese Dreimane (LV)" userId="22f883c9-425f-45e3-9561-0d9c55f15b4a" providerId="ADAL" clId="{03F442BB-6A05-4E5C-9F46-8B7840D1E8EB}" dt="2024-03-08T13:29:51.833" v="917" actId="164"/>
          <ac:picMkLst>
            <pc:docMk/>
            <pc:sldMk cId="3292995886" sldId="954"/>
            <ac:picMk id="55" creationId="{81FB2B37-3861-158D-B102-4866A1069E5C}"/>
          </ac:picMkLst>
        </pc:picChg>
        <pc:picChg chg="add del mod">
          <ac:chgData name="Inese Dreimane (LV)" userId="22f883c9-425f-45e3-9561-0d9c55f15b4a" providerId="ADAL" clId="{03F442BB-6A05-4E5C-9F46-8B7840D1E8EB}" dt="2024-03-08T13:20:15.793" v="870" actId="478"/>
          <ac:picMkLst>
            <pc:docMk/>
            <pc:sldMk cId="3292995886" sldId="954"/>
            <ac:picMk id="57" creationId="{8C7DCC6E-B796-1D22-283E-A446EB66F963}"/>
          </ac:picMkLst>
        </pc:picChg>
        <pc:picChg chg="add mod">
          <ac:chgData name="Inese Dreimane (LV)" userId="22f883c9-425f-45e3-9561-0d9c55f15b4a" providerId="ADAL" clId="{03F442BB-6A05-4E5C-9F46-8B7840D1E8EB}" dt="2024-03-08T13:32:46.403" v="969" actId="208"/>
          <ac:picMkLst>
            <pc:docMk/>
            <pc:sldMk cId="3292995886" sldId="954"/>
            <ac:picMk id="70" creationId="{71E5741B-6DE9-9932-652B-773C9A802D0D}"/>
          </ac:picMkLst>
        </pc:picChg>
        <pc:cxnChg chg="add mod">
          <ac:chgData name="Inese Dreimane (LV)" userId="22f883c9-425f-45e3-9561-0d9c55f15b4a" providerId="ADAL" clId="{03F442BB-6A05-4E5C-9F46-8B7840D1E8EB}" dt="2024-03-08T13:29:51.833" v="917" actId="164"/>
          <ac:cxnSpMkLst>
            <pc:docMk/>
            <pc:sldMk cId="3292995886" sldId="954"/>
            <ac:cxnSpMk id="58" creationId="{60097C3E-95FF-1A87-5F2F-91053212AE11}"/>
          </ac:cxnSpMkLst>
        </pc:cxnChg>
        <pc:cxnChg chg="add mod">
          <ac:chgData name="Inese Dreimane (LV)" userId="22f883c9-425f-45e3-9561-0d9c55f15b4a" providerId="ADAL" clId="{03F442BB-6A05-4E5C-9F46-8B7840D1E8EB}" dt="2024-03-08T13:29:51.833" v="917" actId="164"/>
          <ac:cxnSpMkLst>
            <pc:docMk/>
            <pc:sldMk cId="3292995886" sldId="954"/>
            <ac:cxnSpMk id="59" creationId="{9C90833B-60CC-5E5E-3CD3-754141C666B0}"/>
          </ac:cxnSpMkLst>
        </pc:cxnChg>
        <pc:cxnChg chg="add mod">
          <ac:chgData name="Inese Dreimane (LV)" userId="22f883c9-425f-45e3-9561-0d9c55f15b4a" providerId="ADAL" clId="{03F442BB-6A05-4E5C-9F46-8B7840D1E8EB}" dt="2024-03-08T13:29:51.833" v="917" actId="164"/>
          <ac:cxnSpMkLst>
            <pc:docMk/>
            <pc:sldMk cId="3292995886" sldId="954"/>
            <ac:cxnSpMk id="60" creationId="{FACF80ED-B110-F707-029A-D22DA28450C2}"/>
          </ac:cxnSpMkLst>
        </pc:cxnChg>
        <pc:cxnChg chg="add mod">
          <ac:chgData name="Inese Dreimane (LV)" userId="22f883c9-425f-45e3-9561-0d9c55f15b4a" providerId="ADAL" clId="{03F442BB-6A05-4E5C-9F46-8B7840D1E8EB}" dt="2024-03-08T13:29:51.833" v="917" actId="164"/>
          <ac:cxnSpMkLst>
            <pc:docMk/>
            <pc:sldMk cId="3292995886" sldId="954"/>
            <ac:cxnSpMk id="61" creationId="{5E817EE8-C0F5-AD0B-6B82-B17A6679F1EF}"/>
          </ac:cxnSpMkLst>
        </pc:cxnChg>
        <pc:cxnChg chg="add mod">
          <ac:chgData name="Inese Dreimane (LV)" userId="22f883c9-425f-45e3-9561-0d9c55f15b4a" providerId="ADAL" clId="{03F442BB-6A05-4E5C-9F46-8B7840D1E8EB}" dt="2024-03-08T13:29:51.833" v="917" actId="164"/>
          <ac:cxnSpMkLst>
            <pc:docMk/>
            <pc:sldMk cId="3292995886" sldId="954"/>
            <ac:cxnSpMk id="62" creationId="{9019D7AB-38B5-8ADF-40A9-C960F67FB740}"/>
          </ac:cxnSpMkLst>
        </pc:cxnChg>
        <pc:cxnChg chg="add mod">
          <ac:chgData name="Inese Dreimane (LV)" userId="22f883c9-425f-45e3-9561-0d9c55f15b4a" providerId="ADAL" clId="{03F442BB-6A05-4E5C-9F46-8B7840D1E8EB}" dt="2024-03-08T13:29:51.833" v="917" actId="164"/>
          <ac:cxnSpMkLst>
            <pc:docMk/>
            <pc:sldMk cId="3292995886" sldId="954"/>
            <ac:cxnSpMk id="63" creationId="{6E1A9B63-C020-BEB6-B577-2797FC7F197A}"/>
          </ac:cxnSpMkLst>
        </pc:cxnChg>
        <pc:cxnChg chg="add mod">
          <ac:chgData name="Inese Dreimane (LV)" userId="22f883c9-425f-45e3-9561-0d9c55f15b4a" providerId="ADAL" clId="{03F442BB-6A05-4E5C-9F46-8B7840D1E8EB}" dt="2024-03-08T13:29:51.833" v="917" actId="164"/>
          <ac:cxnSpMkLst>
            <pc:docMk/>
            <pc:sldMk cId="3292995886" sldId="954"/>
            <ac:cxnSpMk id="64" creationId="{0A72AA48-9739-1CC1-781A-D70A103C1399}"/>
          </ac:cxnSpMkLst>
        </pc:cxnChg>
        <pc:cxnChg chg="add mod">
          <ac:chgData name="Inese Dreimane (LV)" userId="22f883c9-425f-45e3-9561-0d9c55f15b4a" providerId="ADAL" clId="{03F442BB-6A05-4E5C-9F46-8B7840D1E8EB}" dt="2024-03-08T13:29:51.833" v="917" actId="164"/>
          <ac:cxnSpMkLst>
            <pc:docMk/>
            <pc:sldMk cId="3292995886" sldId="954"/>
            <ac:cxnSpMk id="65" creationId="{FEBC0E08-34CD-CBCA-5F9B-F84B1C59B5EA}"/>
          </ac:cxnSpMkLst>
        </pc:cxnChg>
        <pc:cxnChg chg="add mod">
          <ac:chgData name="Inese Dreimane (LV)" userId="22f883c9-425f-45e3-9561-0d9c55f15b4a" providerId="ADAL" clId="{03F442BB-6A05-4E5C-9F46-8B7840D1E8EB}" dt="2024-03-08T13:31:13.431" v="948"/>
          <ac:cxnSpMkLst>
            <pc:docMk/>
            <pc:sldMk cId="3292995886" sldId="954"/>
            <ac:cxnSpMk id="71" creationId="{BB5578A7-C7B3-121A-1EC0-BBB5C91477DD}"/>
          </ac:cxnSpMkLst>
        </pc:cxnChg>
      </pc:sldChg>
      <pc:sldChg chg="new del">
        <pc:chgData name="Inese Dreimane (LV)" userId="22f883c9-425f-45e3-9561-0d9c55f15b4a" providerId="ADAL" clId="{03F442BB-6A05-4E5C-9F46-8B7840D1E8EB}" dt="2024-03-08T12:46:31.002" v="456" actId="47"/>
        <pc:sldMkLst>
          <pc:docMk/>
          <pc:sldMk cId="4285937224" sldId="954"/>
        </pc:sldMkLst>
      </pc:sldChg>
      <pc:sldChg chg="addSp delSp modSp add mod">
        <pc:chgData name="Inese Dreimane (LV)" userId="22f883c9-425f-45e3-9561-0d9c55f15b4a" providerId="ADAL" clId="{03F442BB-6A05-4E5C-9F46-8B7840D1E8EB}" dt="2024-03-08T14:56:48.226" v="1640" actId="14100"/>
        <pc:sldMkLst>
          <pc:docMk/>
          <pc:sldMk cId="1412199469" sldId="955"/>
        </pc:sldMkLst>
        <pc:spChg chg="add mod">
          <ac:chgData name="Inese Dreimane (LV)" userId="22f883c9-425f-45e3-9561-0d9c55f15b4a" providerId="ADAL" clId="{03F442BB-6A05-4E5C-9F46-8B7840D1E8EB}" dt="2024-03-08T14:56:48.226" v="1640" actId="14100"/>
          <ac:spMkLst>
            <pc:docMk/>
            <pc:sldMk cId="1412199469" sldId="955"/>
            <ac:spMk id="26" creationId="{489708D9-335F-879B-C48D-75D2D18478DE}"/>
          </ac:spMkLst>
        </pc:spChg>
        <pc:picChg chg="add del mod">
          <ac:chgData name="Inese Dreimane (LV)" userId="22f883c9-425f-45e3-9561-0d9c55f15b4a" providerId="ADAL" clId="{03F442BB-6A05-4E5C-9F46-8B7840D1E8EB}" dt="2024-03-08T14:47:13.129" v="1516" actId="478"/>
          <ac:picMkLst>
            <pc:docMk/>
            <pc:sldMk cId="1412199469" sldId="955"/>
            <ac:picMk id="19" creationId="{BA0C7731-A34B-F753-E836-4F9F9A54A32B}"/>
          </ac:picMkLst>
        </pc:picChg>
        <pc:picChg chg="add mod ord">
          <ac:chgData name="Inese Dreimane (LV)" userId="22f883c9-425f-45e3-9561-0d9c55f15b4a" providerId="ADAL" clId="{03F442BB-6A05-4E5C-9F46-8B7840D1E8EB}" dt="2024-03-08T14:47:39.657" v="1519" actId="167"/>
          <ac:picMkLst>
            <pc:docMk/>
            <pc:sldMk cId="1412199469" sldId="955"/>
            <ac:picMk id="25" creationId="{C43E8E4A-54B3-4DD6-7E8E-C84E2376FA3D}"/>
          </ac:picMkLst>
        </pc:picChg>
        <pc:picChg chg="del">
          <ac:chgData name="Inese Dreimane (LV)" userId="22f883c9-425f-45e3-9561-0d9c55f15b4a" providerId="ADAL" clId="{03F442BB-6A05-4E5C-9F46-8B7840D1E8EB}" dt="2024-03-08T14:46:18.229" v="1512" actId="478"/>
          <ac:picMkLst>
            <pc:docMk/>
            <pc:sldMk cId="1412199469" sldId="955"/>
            <ac:picMk id="31" creationId="{7F2DD1AC-4868-22BF-65A5-2D52181F0AEC}"/>
          </ac:picMkLst>
        </pc:picChg>
      </pc:sldChg>
      <pc:sldChg chg="addSp delSp modSp add mod">
        <pc:chgData name="Inese Dreimane (LV)" userId="22f883c9-425f-45e3-9561-0d9c55f15b4a" providerId="ADAL" clId="{03F442BB-6A05-4E5C-9F46-8B7840D1E8EB}" dt="2024-03-08T14:56:06.414" v="1627" actId="1076"/>
        <pc:sldMkLst>
          <pc:docMk/>
          <pc:sldMk cId="24755804" sldId="956"/>
        </pc:sldMkLst>
        <pc:spChg chg="add mod">
          <ac:chgData name="Inese Dreimane (LV)" userId="22f883c9-425f-45e3-9561-0d9c55f15b4a" providerId="ADAL" clId="{03F442BB-6A05-4E5C-9F46-8B7840D1E8EB}" dt="2024-03-08T14:56:06.414" v="1627" actId="1076"/>
          <ac:spMkLst>
            <pc:docMk/>
            <pc:sldMk cId="24755804" sldId="956"/>
            <ac:spMk id="11" creationId="{89FDF566-1B64-38B3-9A69-C39598C84744}"/>
          </ac:spMkLst>
        </pc:spChg>
        <pc:picChg chg="add del">
          <ac:chgData name="Inese Dreimane (LV)" userId="22f883c9-425f-45e3-9561-0d9c55f15b4a" providerId="ADAL" clId="{03F442BB-6A05-4E5C-9F46-8B7840D1E8EB}" dt="2024-03-08T14:53:50.222" v="1585" actId="478"/>
          <ac:picMkLst>
            <pc:docMk/>
            <pc:sldMk cId="24755804" sldId="956"/>
            <ac:picMk id="7" creationId="{F0EA3F29-7534-5D16-8730-7EB925B87D3E}"/>
          </ac:picMkLst>
        </pc:picChg>
        <pc:picChg chg="add mod ord">
          <ac:chgData name="Inese Dreimane (LV)" userId="22f883c9-425f-45e3-9561-0d9c55f15b4a" providerId="ADAL" clId="{03F442BB-6A05-4E5C-9F46-8B7840D1E8EB}" dt="2024-03-08T14:54:12.794" v="1597" actId="167"/>
          <ac:picMkLst>
            <pc:docMk/>
            <pc:sldMk cId="24755804" sldId="956"/>
            <ac:picMk id="10" creationId="{EE57AF4E-090E-E7F7-6C50-64DE044BD3DA}"/>
          </ac:picMkLst>
        </pc:picChg>
      </pc:sldChg>
      <pc:sldChg chg="addSp delSp modSp add mod">
        <pc:chgData name="Inese Dreimane (LV)" userId="22f883c9-425f-45e3-9561-0d9c55f15b4a" providerId="ADAL" clId="{03F442BB-6A05-4E5C-9F46-8B7840D1E8EB}" dt="2024-03-08T14:56:00.085" v="1624" actId="1076"/>
        <pc:sldMkLst>
          <pc:docMk/>
          <pc:sldMk cId="1014935855" sldId="957"/>
        </pc:sldMkLst>
        <pc:spChg chg="add mod">
          <ac:chgData name="Inese Dreimane (LV)" userId="22f883c9-425f-45e3-9561-0d9c55f15b4a" providerId="ADAL" clId="{03F442BB-6A05-4E5C-9F46-8B7840D1E8EB}" dt="2024-03-08T14:56:00.085" v="1624" actId="1076"/>
          <ac:spMkLst>
            <pc:docMk/>
            <pc:sldMk cId="1014935855" sldId="957"/>
            <ac:spMk id="6" creationId="{80C532BC-476D-9778-B917-A847740102DC}"/>
          </ac:spMkLst>
        </pc:spChg>
        <pc:picChg chg="add mod ord">
          <ac:chgData name="Inese Dreimane (LV)" userId="22f883c9-425f-45e3-9561-0d9c55f15b4a" providerId="ADAL" clId="{03F442BB-6A05-4E5C-9F46-8B7840D1E8EB}" dt="2024-03-08T14:54:21.076" v="1600" actId="167"/>
          <ac:picMkLst>
            <pc:docMk/>
            <pc:sldMk cId="1014935855" sldId="957"/>
            <ac:picMk id="2" creationId="{ABCB9BD2-DAB8-36B6-7DEC-39F0A71CD913}"/>
          </ac:picMkLst>
        </pc:picChg>
        <pc:picChg chg="del">
          <ac:chgData name="Inese Dreimane (LV)" userId="22f883c9-425f-45e3-9561-0d9c55f15b4a" providerId="ADAL" clId="{03F442BB-6A05-4E5C-9F46-8B7840D1E8EB}" dt="2024-03-08T14:53:52.584" v="1587" actId="478"/>
          <ac:picMkLst>
            <pc:docMk/>
            <pc:sldMk cId="1014935855" sldId="957"/>
            <ac:picMk id="10" creationId="{7306F7F7-0D65-FD3B-C2F8-74867459A9D1}"/>
          </ac:picMkLst>
        </pc:picChg>
      </pc:sldChg>
      <pc:sldChg chg="addSp delSp modSp add mod">
        <pc:chgData name="Inese Dreimane (LV)" userId="22f883c9-425f-45e3-9561-0d9c55f15b4a" providerId="ADAL" clId="{03F442BB-6A05-4E5C-9F46-8B7840D1E8EB}" dt="2024-03-08T14:55:54.109" v="1621"/>
        <pc:sldMkLst>
          <pc:docMk/>
          <pc:sldMk cId="2086181770" sldId="958"/>
        </pc:sldMkLst>
        <pc:spChg chg="add mod">
          <ac:chgData name="Inese Dreimane (LV)" userId="22f883c9-425f-45e3-9561-0d9c55f15b4a" providerId="ADAL" clId="{03F442BB-6A05-4E5C-9F46-8B7840D1E8EB}" dt="2024-03-08T14:55:54.109" v="1621"/>
          <ac:spMkLst>
            <pc:docMk/>
            <pc:sldMk cId="2086181770" sldId="958"/>
            <ac:spMk id="11" creationId="{CE7FEFF2-D72E-88B1-AAE6-2517F20F72F1}"/>
          </ac:spMkLst>
        </pc:spChg>
        <pc:picChg chg="del">
          <ac:chgData name="Inese Dreimane (LV)" userId="22f883c9-425f-45e3-9561-0d9c55f15b4a" providerId="ADAL" clId="{03F442BB-6A05-4E5C-9F46-8B7840D1E8EB}" dt="2024-03-08T14:53:57.979" v="1591" actId="478"/>
          <ac:picMkLst>
            <pc:docMk/>
            <pc:sldMk cId="2086181770" sldId="958"/>
            <ac:picMk id="7" creationId="{F0EA3F29-7534-5D16-8730-7EB925B87D3E}"/>
          </ac:picMkLst>
        </pc:picChg>
        <pc:picChg chg="add mod ord">
          <ac:chgData name="Inese Dreimane (LV)" userId="22f883c9-425f-45e3-9561-0d9c55f15b4a" providerId="ADAL" clId="{03F442BB-6A05-4E5C-9F46-8B7840D1E8EB}" dt="2024-03-08T14:54:36.714" v="1604" actId="167"/>
          <ac:picMkLst>
            <pc:docMk/>
            <pc:sldMk cId="2086181770" sldId="958"/>
            <ac:picMk id="10" creationId="{D9A9EE0A-E32C-EBE9-ADDC-CF7317F21A73}"/>
          </ac:picMkLst>
        </pc:picChg>
      </pc:sldChg>
      <pc:sldChg chg="addSp delSp modSp add mod">
        <pc:chgData name="Inese Dreimane (LV)" userId="22f883c9-425f-45e3-9561-0d9c55f15b4a" providerId="ADAL" clId="{03F442BB-6A05-4E5C-9F46-8B7840D1E8EB}" dt="2024-03-08T14:55:50.744" v="1619"/>
        <pc:sldMkLst>
          <pc:docMk/>
          <pc:sldMk cId="1391244758" sldId="959"/>
        </pc:sldMkLst>
        <pc:spChg chg="add mod">
          <ac:chgData name="Inese Dreimane (LV)" userId="22f883c9-425f-45e3-9561-0d9c55f15b4a" providerId="ADAL" clId="{03F442BB-6A05-4E5C-9F46-8B7840D1E8EB}" dt="2024-03-08T14:55:50.744" v="1619"/>
          <ac:spMkLst>
            <pc:docMk/>
            <pc:sldMk cId="1391244758" sldId="959"/>
            <ac:spMk id="6" creationId="{686D4B80-56E5-D13D-8003-B763DAD4E3DD}"/>
          </ac:spMkLst>
        </pc:spChg>
        <pc:picChg chg="add mod ord">
          <ac:chgData name="Inese Dreimane (LV)" userId="22f883c9-425f-45e3-9561-0d9c55f15b4a" providerId="ADAL" clId="{03F442BB-6A05-4E5C-9F46-8B7840D1E8EB}" dt="2024-03-08T14:54:42.923" v="1607" actId="167"/>
          <ac:picMkLst>
            <pc:docMk/>
            <pc:sldMk cId="1391244758" sldId="959"/>
            <ac:picMk id="2" creationId="{6B4CC937-6B70-65C0-140B-A0FD867D01D0}"/>
          </ac:picMkLst>
        </pc:picChg>
        <pc:picChg chg="del">
          <ac:chgData name="Inese Dreimane (LV)" userId="22f883c9-425f-45e3-9561-0d9c55f15b4a" providerId="ADAL" clId="{03F442BB-6A05-4E5C-9F46-8B7840D1E8EB}" dt="2024-03-08T14:54:00.096" v="1593" actId="478"/>
          <ac:picMkLst>
            <pc:docMk/>
            <pc:sldMk cId="1391244758" sldId="959"/>
            <ac:picMk id="10" creationId="{7306F7F7-0D65-FD3B-C2F8-74867459A9D1}"/>
          </ac:picMkLst>
        </pc:picChg>
      </pc:sldChg>
      <pc:sldChg chg="addSp delSp modSp add mod">
        <pc:chgData name="Inese Dreimane (LV)" userId="22f883c9-425f-45e3-9561-0d9c55f15b4a" providerId="ADAL" clId="{03F442BB-6A05-4E5C-9F46-8B7840D1E8EB}" dt="2024-03-08T14:57:44.517" v="1672" actId="167"/>
        <pc:sldMkLst>
          <pc:docMk/>
          <pc:sldMk cId="425128272" sldId="960"/>
        </pc:sldMkLst>
        <pc:spChg chg="add mod ord">
          <ac:chgData name="Inese Dreimane (LV)" userId="22f883c9-425f-45e3-9561-0d9c55f15b4a" providerId="ADAL" clId="{03F442BB-6A05-4E5C-9F46-8B7840D1E8EB}" dt="2024-03-08T14:57:44.517" v="1672" actId="167"/>
          <ac:spMkLst>
            <pc:docMk/>
            <pc:sldMk cId="425128272" sldId="960"/>
            <ac:spMk id="7" creationId="{9C193113-0BD3-4F38-EB05-0C6819F31447}"/>
          </ac:spMkLst>
        </pc:spChg>
        <pc:spChg chg="add del">
          <ac:chgData name="Inese Dreimane (LV)" userId="22f883c9-425f-45e3-9561-0d9c55f15b4a" providerId="ADAL" clId="{03F442BB-6A05-4E5C-9F46-8B7840D1E8EB}" dt="2024-03-08T14:57:11.257" v="1662" actId="478"/>
          <ac:spMkLst>
            <pc:docMk/>
            <pc:sldMk cId="425128272" sldId="960"/>
            <ac:spMk id="42" creationId="{50830596-224D-A11D-D251-21B0CA3EB02E}"/>
          </ac:spMkLst>
        </pc:spChg>
        <pc:picChg chg="add mod">
          <ac:chgData name="Inese Dreimane (LV)" userId="22f883c9-425f-45e3-9561-0d9c55f15b4a" providerId="ADAL" clId="{03F442BB-6A05-4E5C-9F46-8B7840D1E8EB}" dt="2024-03-08T14:57:21.115" v="1665" actId="1076"/>
          <ac:picMkLst>
            <pc:docMk/>
            <pc:sldMk cId="425128272" sldId="960"/>
            <ac:picMk id="5" creationId="{4BC4D78B-9D02-BE32-A038-0B14BEF8131F}"/>
          </ac:picMkLst>
        </pc:picChg>
        <pc:picChg chg="del">
          <ac:chgData name="Inese Dreimane (LV)" userId="22f883c9-425f-45e3-9561-0d9c55f15b4a" providerId="ADAL" clId="{03F442BB-6A05-4E5C-9F46-8B7840D1E8EB}" dt="2024-03-08T14:57:12.046" v="1663" actId="478"/>
          <ac:picMkLst>
            <pc:docMk/>
            <pc:sldMk cId="425128272" sldId="960"/>
            <ac:picMk id="11" creationId="{9EDE60FF-A01C-B5B3-CA54-65A5D78E733A}"/>
          </ac:picMkLst>
        </pc:picChg>
      </pc:sldChg>
      <pc:sldChg chg="add del">
        <pc:chgData name="Inese Dreimane (LV)" userId="22f883c9-425f-45e3-9561-0d9c55f15b4a" providerId="ADAL" clId="{03F442BB-6A05-4E5C-9F46-8B7840D1E8EB}" dt="2024-03-08T15:20:34.498" v="1703" actId="47"/>
        <pc:sldMkLst>
          <pc:docMk/>
          <pc:sldMk cId="1002093639" sldId="961"/>
        </pc:sldMkLst>
      </pc:sldChg>
      <pc:sldChg chg="add del">
        <pc:chgData name="Inese Dreimane (LV)" userId="22f883c9-425f-45e3-9561-0d9c55f15b4a" providerId="ADAL" clId="{03F442BB-6A05-4E5C-9F46-8B7840D1E8EB}" dt="2024-03-08T15:00:43.335" v="1674" actId="47"/>
        <pc:sldMkLst>
          <pc:docMk/>
          <pc:sldMk cId="1172729344" sldId="961"/>
        </pc:sldMkLst>
      </pc:sldChg>
      <pc:sldChg chg="addSp delSp modSp add mod">
        <pc:chgData name="Inese Dreimane (LV)" userId="22f883c9-425f-45e3-9561-0d9c55f15b4a" providerId="ADAL" clId="{03F442BB-6A05-4E5C-9F46-8B7840D1E8EB}" dt="2024-03-08T15:19:00.667" v="1699" actId="167"/>
        <pc:sldMkLst>
          <pc:docMk/>
          <pc:sldMk cId="1511441995" sldId="962"/>
        </pc:sldMkLst>
        <pc:spChg chg="add mod ord">
          <ac:chgData name="Inese Dreimane (LV)" userId="22f883c9-425f-45e3-9561-0d9c55f15b4a" providerId="ADAL" clId="{03F442BB-6A05-4E5C-9F46-8B7840D1E8EB}" dt="2024-03-08T15:18:58.151" v="1698" actId="167"/>
          <ac:spMkLst>
            <pc:docMk/>
            <pc:sldMk cId="1511441995" sldId="962"/>
            <ac:spMk id="15" creationId="{1F474F60-3635-7E96-8795-61FDE4D2A626}"/>
          </ac:spMkLst>
        </pc:spChg>
        <pc:spChg chg="del">
          <ac:chgData name="Inese Dreimane (LV)" userId="22f883c9-425f-45e3-9561-0d9c55f15b4a" providerId="ADAL" clId="{03F442BB-6A05-4E5C-9F46-8B7840D1E8EB}" dt="2024-03-08T15:18:33.405" v="1689" actId="478"/>
          <ac:spMkLst>
            <pc:docMk/>
            <pc:sldMk cId="1511441995" sldId="962"/>
            <ac:spMk id="42" creationId="{50830596-224D-A11D-D251-21B0CA3EB02E}"/>
          </ac:spMkLst>
        </pc:spChg>
        <pc:picChg chg="add mod ord">
          <ac:chgData name="Inese Dreimane (LV)" userId="22f883c9-425f-45e3-9561-0d9c55f15b4a" providerId="ADAL" clId="{03F442BB-6A05-4E5C-9F46-8B7840D1E8EB}" dt="2024-03-08T15:19:00.667" v="1699" actId="167"/>
          <ac:picMkLst>
            <pc:docMk/>
            <pc:sldMk cId="1511441995" sldId="962"/>
            <ac:picMk id="10" creationId="{CDF7EBDF-19CA-D276-BB47-9679B5970665}"/>
          </ac:picMkLst>
        </pc:picChg>
        <pc:picChg chg="del">
          <ac:chgData name="Inese Dreimane (LV)" userId="22f883c9-425f-45e3-9561-0d9c55f15b4a" providerId="ADAL" clId="{03F442BB-6A05-4E5C-9F46-8B7840D1E8EB}" dt="2024-03-08T15:18:33.982" v="1690" actId="478"/>
          <ac:picMkLst>
            <pc:docMk/>
            <pc:sldMk cId="1511441995" sldId="962"/>
            <ac:picMk id="17" creationId="{73ED1AF9-9993-177B-EE92-2177C3741411}"/>
          </ac:picMkLst>
        </pc:picChg>
      </pc:sldChg>
      <pc:sldChg chg="addSp delSp modSp add mod">
        <pc:chgData name="Inese Dreimane (LV)" userId="22f883c9-425f-45e3-9561-0d9c55f15b4a" providerId="ADAL" clId="{03F442BB-6A05-4E5C-9F46-8B7840D1E8EB}" dt="2024-03-08T15:23:19.782" v="1728" actId="167"/>
        <pc:sldMkLst>
          <pc:docMk/>
          <pc:sldMk cId="4141191697" sldId="963"/>
        </pc:sldMkLst>
        <pc:spChg chg="add mod ord">
          <ac:chgData name="Inese Dreimane (LV)" userId="22f883c9-425f-45e3-9561-0d9c55f15b4a" providerId="ADAL" clId="{03F442BB-6A05-4E5C-9F46-8B7840D1E8EB}" dt="2024-03-08T15:23:18.273" v="1727" actId="167"/>
          <ac:spMkLst>
            <pc:docMk/>
            <pc:sldMk cId="4141191697" sldId="963"/>
            <ac:spMk id="7" creationId="{D301F691-DECC-2DA7-B7DD-3F2AD5A85A17}"/>
          </ac:spMkLst>
        </pc:spChg>
        <pc:spChg chg="del">
          <ac:chgData name="Inese Dreimane (LV)" userId="22f883c9-425f-45e3-9561-0d9c55f15b4a" providerId="ADAL" clId="{03F442BB-6A05-4E5C-9F46-8B7840D1E8EB}" dt="2024-03-08T15:22:45.021" v="1712" actId="478"/>
          <ac:spMkLst>
            <pc:docMk/>
            <pc:sldMk cId="4141191697" sldId="963"/>
            <ac:spMk id="11" creationId="{CE7FEFF2-D72E-88B1-AAE6-2517F20F72F1}"/>
          </ac:spMkLst>
        </pc:spChg>
        <pc:picChg chg="add mod ord">
          <ac:chgData name="Inese Dreimane (LV)" userId="22f883c9-425f-45e3-9561-0d9c55f15b4a" providerId="ADAL" clId="{03F442BB-6A05-4E5C-9F46-8B7840D1E8EB}" dt="2024-03-08T15:23:19.782" v="1728" actId="167"/>
          <ac:picMkLst>
            <pc:docMk/>
            <pc:sldMk cId="4141191697" sldId="963"/>
            <ac:picMk id="5" creationId="{29799492-EA00-9029-E8DF-F6C2EB4468B4}"/>
          </ac:picMkLst>
        </pc:picChg>
        <pc:picChg chg="del">
          <ac:chgData name="Inese Dreimane (LV)" userId="22f883c9-425f-45e3-9561-0d9c55f15b4a" providerId="ADAL" clId="{03F442BB-6A05-4E5C-9F46-8B7840D1E8EB}" dt="2024-03-08T15:22:45.590" v="1713" actId="478"/>
          <ac:picMkLst>
            <pc:docMk/>
            <pc:sldMk cId="4141191697" sldId="963"/>
            <ac:picMk id="10" creationId="{D9A9EE0A-E32C-EBE9-ADDC-CF7317F21A73}"/>
          </ac:picMkLst>
        </pc:picChg>
      </pc:sldChg>
      <pc:sldChg chg="addSp delSp modSp add mod">
        <pc:chgData name="Inese Dreimane (LV)" userId="22f883c9-425f-45e3-9561-0d9c55f15b4a" providerId="ADAL" clId="{03F442BB-6A05-4E5C-9F46-8B7840D1E8EB}" dt="2024-03-08T15:23:27.843" v="1733" actId="167"/>
        <pc:sldMkLst>
          <pc:docMk/>
          <pc:sldMk cId="1785961526" sldId="964"/>
        </pc:sldMkLst>
        <pc:spChg chg="del">
          <ac:chgData name="Inese Dreimane (LV)" userId="22f883c9-425f-45e3-9561-0d9c55f15b4a" providerId="ADAL" clId="{03F442BB-6A05-4E5C-9F46-8B7840D1E8EB}" dt="2024-03-08T15:22:47.829" v="1715" actId="478"/>
          <ac:spMkLst>
            <pc:docMk/>
            <pc:sldMk cId="1785961526" sldId="964"/>
            <ac:spMk id="6" creationId="{686D4B80-56E5-D13D-8003-B763DAD4E3DD}"/>
          </ac:spMkLst>
        </pc:spChg>
        <pc:spChg chg="add mod ord">
          <ac:chgData name="Inese Dreimane (LV)" userId="22f883c9-425f-45e3-9561-0d9c55f15b4a" providerId="ADAL" clId="{03F442BB-6A05-4E5C-9F46-8B7840D1E8EB}" dt="2024-03-08T15:23:26.216" v="1732" actId="167"/>
          <ac:spMkLst>
            <pc:docMk/>
            <pc:sldMk cId="1785961526" sldId="964"/>
            <ac:spMk id="10" creationId="{608520D7-EDD4-93AD-A51B-E10E55BFCDBF}"/>
          </ac:spMkLst>
        </pc:spChg>
        <pc:picChg chg="del">
          <ac:chgData name="Inese Dreimane (LV)" userId="22f883c9-425f-45e3-9561-0d9c55f15b4a" providerId="ADAL" clId="{03F442BB-6A05-4E5C-9F46-8B7840D1E8EB}" dt="2024-03-08T15:22:48.396" v="1716" actId="478"/>
          <ac:picMkLst>
            <pc:docMk/>
            <pc:sldMk cId="1785961526" sldId="964"/>
            <ac:picMk id="2" creationId="{6B4CC937-6B70-65C0-140B-A0FD867D01D0}"/>
          </ac:picMkLst>
        </pc:picChg>
        <pc:picChg chg="add mod ord">
          <ac:chgData name="Inese Dreimane (LV)" userId="22f883c9-425f-45e3-9561-0d9c55f15b4a" providerId="ADAL" clId="{03F442BB-6A05-4E5C-9F46-8B7840D1E8EB}" dt="2024-03-08T15:23:27.843" v="1733" actId="167"/>
          <ac:picMkLst>
            <pc:docMk/>
            <pc:sldMk cId="1785961526" sldId="964"/>
            <ac:picMk id="8" creationId="{542484D8-B92F-3120-2EA3-19BDEF030AC7}"/>
          </ac:picMkLst>
        </pc:picChg>
      </pc:sldChg>
      <pc:sldChg chg="addSp delSp modSp add mod">
        <pc:chgData name="Inese Dreimane (LV)" userId="22f883c9-425f-45e3-9561-0d9c55f15b4a" providerId="ADAL" clId="{03F442BB-6A05-4E5C-9F46-8B7840D1E8EB}" dt="2024-03-08T15:24:26.843" v="1745" actId="14100"/>
        <pc:sldMkLst>
          <pc:docMk/>
          <pc:sldMk cId="3788013194" sldId="965"/>
        </pc:sldMkLst>
        <pc:spChg chg="del">
          <ac:chgData name="Inese Dreimane (LV)" userId="22f883c9-425f-45e3-9561-0d9c55f15b4a" providerId="ADAL" clId="{03F442BB-6A05-4E5C-9F46-8B7840D1E8EB}" dt="2024-03-08T15:23:39.739" v="1737" actId="478"/>
          <ac:spMkLst>
            <pc:docMk/>
            <pc:sldMk cId="3788013194" sldId="965"/>
            <ac:spMk id="7" creationId="{9C193113-0BD3-4F38-EB05-0C6819F31447}"/>
          </ac:spMkLst>
        </pc:spChg>
        <pc:spChg chg="add mod">
          <ac:chgData name="Inese Dreimane (LV)" userId="22f883c9-425f-45e3-9561-0d9c55f15b4a" providerId="ADAL" clId="{03F442BB-6A05-4E5C-9F46-8B7840D1E8EB}" dt="2024-03-08T15:24:26.843" v="1745" actId="14100"/>
          <ac:spMkLst>
            <pc:docMk/>
            <pc:sldMk cId="3788013194" sldId="965"/>
            <ac:spMk id="10" creationId="{E8346CBF-F8C3-C276-4226-3454B5E6E67B}"/>
          </ac:spMkLst>
        </pc:spChg>
        <pc:picChg chg="del">
          <ac:chgData name="Inese Dreimane (LV)" userId="22f883c9-425f-45e3-9561-0d9c55f15b4a" providerId="ADAL" clId="{03F442BB-6A05-4E5C-9F46-8B7840D1E8EB}" dt="2024-03-08T15:23:40.419" v="1738" actId="478"/>
          <ac:picMkLst>
            <pc:docMk/>
            <pc:sldMk cId="3788013194" sldId="965"/>
            <ac:picMk id="5" creationId="{4BC4D78B-9D02-BE32-A038-0B14BEF8131F}"/>
          </ac:picMkLst>
        </pc:picChg>
        <pc:picChg chg="add mod">
          <ac:chgData name="Inese Dreimane (LV)" userId="22f883c9-425f-45e3-9561-0d9c55f15b4a" providerId="ADAL" clId="{03F442BB-6A05-4E5C-9F46-8B7840D1E8EB}" dt="2024-03-08T15:24:13.849" v="1741" actId="14100"/>
          <ac:picMkLst>
            <pc:docMk/>
            <pc:sldMk cId="3788013194" sldId="965"/>
            <ac:picMk id="9" creationId="{D2E02A8B-89F7-A983-F61F-ED4056EF4E32}"/>
          </ac:picMkLst>
        </pc:picChg>
      </pc:sldChg>
      <pc:sldChg chg="addSp delSp modSp add mod">
        <pc:chgData name="Inese Dreimane (LV)" userId="22f883c9-425f-45e3-9561-0d9c55f15b4a" providerId="ADAL" clId="{03F442BB-6A05-4E5C-9F46-8B7840D1E8EB}" dt="2024-03-08T15:27:38.883" v="1770"/>
        <pc:sldMkLst>
          <pc:docMk/>
          <pc:sldMk cId="1812328710" sldId="966"/>
        </pc:sldMkLst>
        <pc:spChg chg="del">
          <ac:chgData name="Inese Dreimane (LV)" userId="22f883c9-425f-45e3-9561-0d9c55f15b4a" providerId="ADAL" clId="{03F442BB-6A05-4E5C-9F46-8B7840D1E8EB}" dt="2024-03-08T15:24:56.563" v="1763" actId="478"/>
          <ac:spMkLst>
            <pc:docMk/>
            <pc:sldMk cId="1812328710" sldId="966"/>
            <ac:spMk id="15" creationId="{1F474F60-3635-7E96-8795-61FDE4D2A626}"/>
          </ac:spMkLst>
        </pc:spChg>
        <pc:spChg chg="add mod">
          <ac:chgData name="Inese Dreimane (LV)" userId="22f883c9-425f-45e3-9561-0d9c55f15b4a" providerId="ADAL" clId="{03F442BB-6A05-4E5C-9F46-8B7840D1E8EB}" dt="2024-03-08T15:27:38.883" v="1770"/>
          <ac:spMkLst>
            <pc:docMk/>
            <pc:sldMk cId="1812328710" sldId="966"/>
            <ac:spMk id="17" creationId="{CFE25C31-2E0D-B821-CD9F-08F679B602F1}"/>
          </ac:spMkLst>
        </pc:spChg>
        <pc:picChg chg="del">
          <ac:chgData name="Inese Dreimane (LV)" userId="22f883c9-425f-45e3-9561-0d9c55f15b4a" providerId="ADAL" clId="{03F442BB-6A05-4E5C-9F46-8B7840D1E8EB}" dt="2024-03-08T15:24:57.407" v="1764" actId="478"/>
          <ac:picMkLst>
            <pc:docMk/>
            <pc:sldMk cId="1812328710" sldId="966"/>
            <ac:picMk id="10" creationId="{CDF7EBDF-19CA-D276-BB47-9679B5970665}"/>
          </ac:picMkLst>
        </pc:picChg>
        <pc:picChg chg="add mod ord">
          <ac:chgData name="Inese Dreimane (LV)" userId="22f883c9-425f-45e3-9561-0d9c55f15b4a" providerId="ADAL" clId="{03F442BB-6A05-4E5C-9F46-8B7840D1E8EB}" dt="2024-03-08T15:27:33.214" v="1767" actId="167"/>
          <ac:picMkLst>
            <pc:docMk/>
            <pc:sldMk cId="1812328710" sldId="966"/>
            <ac:picMk id="16" creationId="{BEC14796-3D14-4E06-C7DF-C8049A12DCC1}"/>
          </ac:picMkLst>
        </pc:picChg>
      </pc:sldChg>
    </pc:docChg>
  </pc:docChgLst>
  <pc:docChgLst>
    <pc:chgData name="Sindija Kirsteine (LV)" userId="5f25501a-2215-4bb3-9d9c-8d1484ffa7c1" providerId="ADAL" clId="{93760D53-13C1-4B8B-92CA-E799D7E24E59}"/>
    <pc:docChg chg="undo custSel modSld modMainMaster replTag">
      <pc:chgData name="Sindija Kirsteine (LV)" userId="5f25501a-2215-4bb3-9d9c-8d1484ffa7c1" providerId="ADAL" clId="{93760D53-13C1-4B8B-92CA-E799D7E24E59}" dt="2024-03-11T13:40:34.279" v="2405"/>
      <pc:docMkLst>
        <pc:docMk/>
      </pc:docMkLst>
      <pc:sldChg chg="modSp">
        <pc:chgData name="Sindija Kirsteine (LV)" userId="5f25501a-2215-4bb3-9d9c-8d1484ffa7c1" providerId="ADAL" clId="{93760D53-13C1-4B8B-92CA-E799D7E24E59}" dt="2024-03-04T08:30:38.651" v="4"/>
        <pc:sldMkLst>
          <pc:docMk/>
          <pc:sldMk cId="714588004" sldId="277"/>
        </pc:sldMkLst>
        <pc:spChg chg="mod">
          <ac:chgData name="Sindija Kirsteine (LV)" userId="5f25501a-2215-4bb3-9d9c-8d1484ffa7c1" providerId="ADAL" clId="{93760D53-13C1-4B8B-92CA-E799D7E24E59}" dt="2024-03-04T08:30:38.651" v="4"/>
          <ac:spMkLst>
            <pc:docMk/>
            <pc:sldMk cId="714588004" sldId="277"/>
            <ac:spMk id="6" creationId="{35957058-F877-CAD8-4060-3CC103B9BCE8}"/>
          </ac:spMkLst>
        </pc:spChg>
      </pc:sldChg>
      <pc:sldChg chg="modSp mod delCm modCm">
        <pc:chgData name="Sindija Kirsteine (LV)" userId="5f25501a-2215-4bb3-9d9c-8d1484ffa7c1" providerId="ADAL" clId="{93760D53-13C1-4B8B-92CA-E799D7E24E59}" dt="2024-03-04T10:11:31.502" v="2393" actId="20577"/>
        <pc:sldMkLst>
          <pc:docMk/>
          <pc:sldMk cId="817197616" sldId="332"/>
        </pc:sldMkLst>
        <pc:spChg chg="mod">
          <ac:chgData name="Sindija Kirsteine (LV)" userId="5f25501a-2215-4bb3-9d9c-8d1484ffa7c1" providerId="ADAL" clId="{93760D53-13C1-4B8B-92CA-E799D7E24E59}" dt="2024-03-04T10:11:31.502" v="2393" actId="20577"/>
          <ac:spMkLst>
            <pc:docMk/>
            <pc:sldMk cId="817197616" sldId="332"/>
            <ac:spMk id="4" creationId="{0C2CD556-83F4-5719-B366-7C2EFECB11A1}"/>
          </ac:spMkLst>
        </pc:s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93760D53-13C1-4B8B-92CA-E799D7E24E59}" dt="2024-03-04T09:37:14.692" v="1451"/>
              <pc2:cmMkLst xmlns:pc2="http://schemas.microsoft.com/office/powerpoint/2019/9/main/command">
                <pc:docMk/>
                <pc:sldMk cId="817197616" sldId="332"/>
                <pc2:cmMk id="{6773268B-B677-416A-8762-3639ECA47681}"/>
              </pc2:cmMkLst>
            </pc226:cmChg>
            <pc226:cmChg xmlns:pc226="http://schemas.microsoft.com/office/powerpoint/2022/06/main/command" chg="mod">
              <pc226:chgData name="Sindija Kirsteine (LV)" userId="5f25501a-2215-4bb3-9d9c-8d1484ffa7c1" providerId="ADAL" clId="{93760D53-13C1-4B8B-92CA-E799D7E24E59}" dt="2024-03-04T10:11:31.502" v="2393" actId="20577"/>
              <pc2:cmMkLst xmlns:pc2="http://schemas.microsoft.com/office/powerpoint/2019/9/main/command">
                <pc:docMk/>
                <pc:sldMk cId="817197616" sldId="332"/>
                <pc2:cmMk id="{2A26C7E2-A8DA-4B24-952F-5705AD58D1EA}"/>
              </pc2:cmMkLst>
            </pc226:cmChg>
          </p:ext>
        </pc:extLst>
      </pc:sldChg>
      <pc:sldChg chg="modSp">
        <pc:chgData name="Sindija Kirsteine (LV)" userId="5f25501a-2215-4bb3-9d9c-8d1484ffa7c1" providerId="ADAL" clId="{93760D53-13C1-4B8B-92CA-E799D7E24E59}" dt="2024-03-04T08:30:38.651" v="4"/>
        <pc:sldMkLst>
          <pc:docMk/>
          <pc:sldMk cId="3244661427" sldId="337"/>
        </pc:sldMkLst>
        <pc:spChg chg="mod">
          <ac:chgData name="Sindija Kirsteine (LV)" userId="5f25501a-2215-4bb3-9d9c-8d1484ffa7c1" providerId="ADAL" clId="{93760D53-13C1-4B8B-92CA-E799D7E24E59}" dt="2024-03-04T08:30:38.651" v="4"/>
          <ac:spMkLst>
            <pc:docMk/>
            <pc:sldMk cId="3244661427" sldId="337"/>
            <ac:spMk id="2" creationId="{7B0B7F8E-339A-D477-6D76-DDF1726DE509}"/>
          </ac:spMkLst>
        </pc:spChg>
      </pc:sldChg>
      <pc:sldChg chg="modSp">
        <pc:chgData name="Sindija Kirsteine (LV)" userId="5f25501a-2215-4bb3-9d9c-8d1484ffa7c1" providerId="ADAL" clId="{93760D53-13C1-4B8B-92CA-E799D7E24E59}" dt="2024-03-04T08:30:38.651" v="4"/>
        <pc:sldMkLst>
          <pc:docMk/>
          <pc:sldMk cId="633515575" sldId="341"/>
        </pc:sldMkLst>
        <pc:spChg chg="mod">
          <ac:chgData name="Sindija Kirsteine (LV)" userId="5f25501a-2215-4bb3-9d9c-8d1484ffa7c1" providerId="ADAL" clId="{93760D53-13C1-4B8B-92CA-E799D7E24E59}" dt="2024-03-04T08:30:38.651" v="4"/>
          <ac:spMkLst>
            <pc:docMk/>
            <pc:sldMk cId="633515575" sldId="341"/>
            <ac:spMk id="2" creationId="{46267CAE-0DD6-29A0-1BA7-3E0C02825001}"/>
          </ac:spMkLst>
        </pc:spChg>
      </pc:sldChg>
      <pc:sldChg chg="modNotes">
        <pc:chgData name="Sindija Kirsteine (LV)" userId="5f25501a-2215-4bb3-9d9c-8d1484ffa7c1" providerId="ADAL" clId="{93760D53-13C1-4B8B-92CA-E799D7E24E59}" dt="2024-03-04T08:30:38.651" v="4"/>
        <pc:sldMkLst>
          <pc:docMk/>
          <pc:sldMk cId="0" sldId="383"/>
        </pc:sldMkLst>
      </pc:sldChg>
      <pc:sldChg chg="modNotes">
        <pc:chgData name="Sindija Kirsteine (LV)" userId="5f25501a-2215-4bb3-9d9c-8d1484ffa7c1" providerId="ADAL" clId="{93760D53-13C1-4B8B-92CA-E799D7E24E59}" dt="2024-03-04T08:30:38.651" v="4"/>
        <pc:sldMkLst>
          <pc:docMk/>
          <pc:sldMk cId="0" sldId="428"/>
        </pc:sldMkLst>
      </pc:sldChg>
      <pc:sldChg chg="modNotes">
        <pc:chgData name="Sindija Kirsteine (LV)" userId="5f25501a-2215-4bb3-9d9c-8d1484ffa7c1" providerId="ADAL" clId="{93760D53-13C1-4B8B-92CA-E799D7E24E59}" dt="2024-03-04T08:30:38.651" v="4"/>
        <pc:sldMkLst>
          <pc:docMk/>
          <pc:sldMk cId="0" sldId="430"/>
        </pc:sldMkLst>
      </pc:sldChg>
      <pc:sldChg chg="modNotes">
        <pc:chgData name="Sindija Kirsteine (LV)" userId="5f25501a-2215-4bb3-9d9c-8d1484ffa7c1" providerId="ADAL" clId="{93760D53-13C1-4B8B-92CA-E799D7E24E59}" dt="2024-03-04T08:30:38.651" v="4"/>
        <pc:sldMkLst>
          <pc:docMk/>
          <pc:sldMk cId="0" sldId="431"/>
        </pc:sldMkLst>
      </pc:sldChg>
      <pc:sldChg chg="modSp modNotes">
        <pc:chgData name="Sindija Kirsteine (LV)" userId="5f25501a-2215-4bb3-9d9c-8d1484ffa7c1" providerId="ADAL" clId="{93760D53-13C1-4B8B-92CA-E799D7E24E59}" dt="2024-03-04T08:30:38.651" v="4"/>
        <pc:sldMkLst>
          <pc:docMk/>
          <pc:sldMk cId="0" sldId="434"/>
        </pc:sldMkLst>
        <pc:spChg chg="mod">
          <ac:chgData name="Sindija Kirsteine (LV)" userId="5f25501a-2215-4bb3-9d9c-8d1484ffa7c1" providerId="ADAL" clId="{93760D53-13C1-4B8B-92CA-E799D7E24E59}" dt="2024-03-04T08:30:38.651" v="4"/>
          <ac:spMkLst>
            <pc:docMk/>
            <pc:sldMk cId="0" sldId="434"/>
            <ac:spMk id="22530" creationId="{90803F70-EEC1-AA9F-C765-C47998E60961}"/>
          </ac:spMkLst>
        </pc:spChg>
      </pc:sldChg>
      <pc:sldChg chg="modSp">
        <pc:chgData name="Sindija Kirsteine (LV)" userId="5f25501a-2215-4bb3-9d9c-8d1484ffa7c1" providerId="ADAL" clId="{93760D53-13C1-4B8B-92CA-E799D7E24E59}" dt="2024-03-04T08:30:38.651" v="4"/>
        <pc:sldMkLst>
          <pc:docMk/>
          <pc:sldMk cId="323510126" sldId="439"/>
        </pc:sldMkLst>
        <pc:spChg chg="mod">
          <ac:chgData name="Sindija Kirsteine (LV)" userId="5f25501a-2215-4bb3-9d9c-8d1484ffa7c1" providerId="ADAL" clId="{93760D53-13C1-4B8B-92CA-E799D7E24E59}" dt="2024-03-04T08:30:38.651" v="4"/>
          <ac:spMkLst>
            <pc:docMk/>
            <pc:sldMk cId="323510126" sldId="439"/>
            <ac:spMk id="2" creationId="{A25A7E3A-26D5-CDE5-3DB7-7CDD76A6EF1D}"/>
          </ac:spMkLst>
        </pc:spChg>
      </pc:sldChg>
      <pc:sldChg chg="modSp">
        <pc:chgData name="Sindija Kirsteine (LV)" userId="5f25501a-2215-4bb3-9d9c-8d1484ffa7c1" providerId="ADAL" clId="{93760D53-13C1-4B8B-92CA-E799D7E24E59}" dt="2024-03-04T08:30:38.651" v="4"/>
        <pc:sldMkLst>
          <pc:docMk/>
          <pc:sldMk cId="2327326848" sldId="440"/>
        </pc:sldMkLst>
        <pc:spChg chg="mod">
          <ac:chgData name="Sindija Kirsteine (LV)" userId="5f25501a-2215-4bb3-9d9c-8d1484ffa7c1" providerId="ADAL" clId="{93760D53-13C1-4B8B-92CA-E799D7E24E59}" dt="2024-03-04T08:30:38.651" v="4"/>
          <ac:spMkLst>
            <pc:docMk/>
            <pc:sldMk cId="2327326848" sldId="440"/>
            <ac:spMk id="3" creationId="{6520FCC6-13E6-E179-B2BB-A759DDE3BDB1}"/>
          </ac:spMkLst>
        </pc:spChg>
      </pc:sldChg>
      <pc:sldChg chg="modSp">
        <pc:chgData name="Sindija Kirsteine (LV)" userId="5f25501a-2215-4bb3-9d9c-8d1484ffa7c1" providerId="ADAL" clId="{93760D53-13C1-4B8B-92CA-E799D7E24E59}" dt="2024-03-04T08:30:38.651" v="4"/>
        <pc:sldMkLst>
          <pc:docMk/>
          <pc:sldMk cId="2336837453" sldId="441"/>
        </pc:sldMkLst>
        <pc:spChg chg="mod">
          <ac:chgData name="Sindija Kirsteine (LV)" userId="5f25501a-2215-4bb3-9d9c-8d1484ffa7c1" providerId="ADAL" clId="{93760D53-13C1-4B8B-92CA-E799D7E24E59}" dt="2024-03-04T08:30:38.651" v="4"/>
          <ac:spMkLst>
            <pc:docMk/>
            <pc:sldMk cId="2336837453" sldId="441"/>
            <ac:spMk id="3" creationId="{50C5F7E3-9C45-B5AB-698B-AEDB90CB3CB1}"/>
          </ac:spMkLst>
        </pc:spChg>
      </pc:sldChg>
      <pc:sldChg chg="modSp">
        <pc:chgData name="Sindija Kirsteine (LV)" userId="5f25501a-2215-4bb3-9d9c-8d1484ffa7c1" providerId="ADAL" clId="{93760D53-13C1-4B8B-92CA-E799D7E24E59}" dt="2024-03-04T08:30:38.651" v="4"/>
        <pc:sldMkLst>
          <pc:docMk/>
          <pc:sldMk cId="4222959714" sldId="442"/>
        </pc:sldMkLst>
        <pc:spChg chg="mod">
          <ac:chgData name="Sindija Kirsteine (LV)" userId="5f25501a-2215-4bb3-9d9c-8d1484ffa7c1" providerId="ADAL" clId="{93760D53-13C1-4B8B-92CA-E799D7E24E59}" dt="2024-03-04T08:30:38.651" v="4"/>
          <ac:spMkLst>
            <pc:docMk/>
            <pc:sldMk cId="4222959714" sldId="442"/>
            <ac:spMk id="3" creationId="{41C42594-510D-7AB1-866B-59344D12E2F9}"/>
          </ac:spMkLst>
        </pc:spChg>
      </pc:sldChg>
      <pc:sldChg chg="modSp">
        <pc:chgData name="Sindija Kirsteine (LV)" userId="5f25501a-2215-4bb3-9d9c-8d1484ffa7c1" providerId="ADAL" clId="{93760D53-13C1-4B8B-92CA-E799D7E24E59}" dt="2024-03-04T08:30:38.651" v="4"/>
        <pc:sldMkLst>
          <pc:docMk/>
          <pc:sldMk cId="2958925631" sldId="443"/>
        </pc:sldMkLst>
        <pc:spChg chg="mod">
          <ac:chgData name="Sindija Kirsteine (LV)" userId="5f25501a-2215-4bb3-9d9c-8d1484ffa7c1" providerId="ADAL" clId="{93760D53-13C1-4B8B-92CA-E799D7E24E59}" dt="2024-03-04T08:30:38.651" v="4"/>
          <ac:spMkLst>
            <pc:docMk/>
            <pc:sldMk cId="2958925631" sldId="443"/>
            <ac:spMk id="3" creationId="{99485C02-F8F0-308A-637D-70F0EC3433B5}"/>
          </ac:spMkLst>
        </pc:spChg>
      </pc:sldChg>
      <pc:sldChg chg="modSp">
        <pc:chgData name="Sindija Kirsteine (LV)" userId="5f25501a-2215-4bb3-9d9c-8d1484ffa7c1" providerId="ADAL" clId="{93760D53-13C1-4B8B-92CA-E799D7E24E59}" dt="2024-03-04T08:30:38.651" v="4"/>
        <pc:sldMkLst>
          <pc:docMk/>
          <pc:sldMk cId="2811521555" sldId="444"/>
        </pc:sldMkLst>
        <pc:spChg chg="mod">
          <ac:chgData name="Sindija Kirsteine (LV)" userId="5f25501a-2215-4bb3-9d9c-8d1484ffa7c1" providerId="ADAL" clId="{93760D53-13C1-4B8B-92CA-E799D7E24E59}" dt="2024-03-04T08:30:38.651" v="4"/>
          <ac:spMkLst>
            <pc:docMk/>
            <pc:sldMk cId="2811521555" sldId="444"/>
            <ac:spMk id="3" creationId="{8CCB060E-8594-13DC-4477-898D2D7D5A31}"/>
          </ac:spMkLst>
        </pc:spChg>
        <pc:spChg chg="mod">
          <ac:chgData name="Sindija Kirsteine (LV)" userId="5f25501a-2215-4bb3-9d9c-8d1484ffa7c1" providerId="ADAL" clId="{93760D53-13C1-4B8B-92CA-E799D7E24E59}" dt="2024-03-04T08:30:38.651" v="4"/>
          <ac:spMkLst>
            <pc:docMk/>
            <pc:sldMk cId="2811521555" sldId="444"/>
            <ac:spMk id="8" creationId="{632D5067-50A5-057A-20E9-0EF34C7A8BE0}"/>
          </ac:spMkLst>
        </pc:spChg>
      </pc:sldChg>
      <pc:sldChg chg="modSp">
        <pc:chgData name="Sindija Kirsteine (LV)" userId="5f25501a-2215-4bb3-9d9c-8d1484ffa7c1" providerId="ADAL" clId="{93760D53-13C1-4B8B-92CA-E799D7E24E59}" dt="2024-03-04T08:30:38.651" v="4"/>
        <pc:sldMkLst>
          <pc:docMk/>
          <pc:sldMk cId="4258080952" sldId="445"/>
        </pc:sldMkLst>
        <pc:spChg chg="mod">
          <ac:chgData name="Sindija Kirsteine (LV)" userId="5f25501a-2215-4bb3-9d9c-8d1484ffa7c1" providerId="ADAL" clId="{93760D53-13C1-4B8B-92CA-E799D7E24E59}" dt="2024-03-04T08:30:38.651" v="4"/>
          <ac:spMkLst>
            <pc:docMk/>
            <pc:sldMk cId="4258080952" sldId="445"/>
            <ac:spMk id="2" creationId="{FF1251A4-B53D-4178-0FBF-76089BD6DE7A}"/>
          </ac:spMkLst>
        </pc:spChg>
      </pc:sldChg>
      <pc:sldChg chg="modSp">
        <pc:chgData name="Sindija Kirsteine (LV)" userId="5f25501a-2215-4bb3-9d9c-8d1484ffa7c1" providerId="ADAL" clId="{93760D53-13C1-4B8B-92CA-E799D7E24E59}" dt="2024-03-04T08:30:38.651" v="4"/>
        <pc:sldMkLst>
          <pc:docMk/>
          <pc:sldMk cId="3526594792" sldId="446"/>
        </pc:sldMkLst>
        <pc:spChg chg="mod">
          <ac:chgData name="Sindija Kirsteine (LV)" userId="5f25501a-2215-4bb3-9d9c-8d1484ffa7c1" providerId="ADAL" clId="{93760D53-13C1-4B8B-92CA-E799D7E24E59}" dt="2024-03-04T08:30:38.651" v="4"/>
          <ac:spMkLst>
            <pc:docMk/>
            <pc:sldMk cId="3526594792" sldId="446"/>
            <ac:spMk id="3" creationId="{03051F5E-63C5-6339-020F-BEBECEA45C02}"/>
          </ac:spMkLst>
        </pc:spChg>
      </pc:sldChg>
      <pc:sldChg chg="modSp">
        <pc:chgData name="Sindija Kirsteine (LV)" userId="5f25501a-2215-4bb3-9d9c-8d1484ffa7c1" providerId="ADAL" clId="{93760D53-13C1-4B8B-92CA-E799D7E24E59}" dt="2024-03-04T08:30:38.651" v="4"/>
        <pc:sldMkLst>
          <pc:docMk/>
          <pc:sldMk cId="3932852703" sldId="447"/>
        </pc:sldMkLst>
        <pc:spChg chg="mod">
          <ac:chgData name="Sindija Kirsteine (LV)" userId="5f25501a-2215-4bb3-9d9c-8d1484ffa7c1" providerId="ADAL" clId="{93760D53-13C1-4B8B-92CA-E799D7E24E59}" dt="2024-03-04T08:30:38.651" v="4"/>
          <ac:spMkLst>
            <pc:docMk/>
            <pc:sldMk cId="3932852703" sldId="447"/>
            <ac:spMk id="3" creationId="{DD87B016-3128-74DA-3C99-F3DD76082EC4}"/>
          </ac:spMkLst>
        </pc:spChg>
      </pc:sldChg>
      <pc:sldChg chg="modSp">
        <pc:chgData name="Sindija Kirsteine (LV)" userId="5f25501a-2215-4bb3-9d9c-8d1484ffa7c1" providerId="ADAL" clId="{93760D53-13C1-4B8B-92CA-E799D7E24E59}" dt="2024-03-04T08:30:38.651" v="4"/>
        <pc:sldMkLst>
          <pc:docMk/>
          <pc:sldMk cId="1683172751" sldId="448"/>
        </pc:sldMkLst>
        <pc:spChg chg="mod">
          <ac:chgData name="Sindija Kirsteine (LV)" userId="5f25501a-2215-4bb3-9d9c-8d1484ffa7c1" providerId="ADAL" clId="{93760D53-13C1-4B8B-92CA-E799D7E24E59}" dt="2024-03-04T08:30:38.651" v="4"/>
          <ac:spMkLst>
            <pc:docMk/>
            <pc:sldMk cId="1683172751" sldId="448"/>
            <ac:spMk id="3" creationId="{2E4556CE-FEDC-51CD-ED13-6A8E341ADD91}"/>
          </ac:spMkLst>
        </pc:spChg>
      </pc:sldChg>
      <pc:sldChg chg="modSp">
        <pc:chgData name="Sindija Kirsteine (LV)" userId="5f25501a-2215-4bb3-9d9c-8d1484ffa7c1" providerId="ADAL" clId="{93760D53-13C1-4B8B-92CA-E799D7E24E59}" dt="2024-03-04T08:30:38.651" v="4"/>
        <pc:sldMkLst>
          <pc:docMk/>
          <pc:sldMk cId="1995840059" sldId="449"/>
        </pc:sldMkLst>
        <pc:spChg chg="mod">
          <ac:chgData name="Sindija Kirsteine (LV)" userId="5f25501a-2215-4bb3-9d9c-8d1484ffa7c1" providerId="ADAL" clId="{93760D53-13C1-4B8B-92CA-E799D7E24E59}" dt="2024-03-04T08:30:38.651" v="4"/>
          <ac:spMkLst>
            <pc:docMk/>
            <pc:sldMk cId="1995840059" sldId="449"/>
            <ac:spMk id="2" creationId="{F016F7E6-D7C1-54BC-125F-9DB6F401FCD4}"/>
          </ac:spMkLst>
        </pc:spChg>
      </pc:sldChg>
      <pc:sldChg chg="modSp">
        <pc:chgData name="Sindija Kirsteine (LV)" userId="5f25501a-2215-4bb3-9d9c-8d1484ffa7c1" providerId="ADAL" clId="{93760D53-13C1-4B8B-92CA-E799D7E24E59}" dt="2024-03-04T08:30:38.651" v="4"/>
        <pc:sldMkLst>
          <pc:docMk/>
          <pc:sldMk cId="2067837237" sldId="899"/>
        </pc:sldMkLst>
        <pc:spChg chg="mod">
          <ac:chgData name="Sindija Kirsteine (LV)" userId="5f25501a-2215-4bb3-9d9c-8d1484ffa7c1" providerId="ADAL" clId="{93760D53-13C1-4B8B-92CA-E799D7E24E59}" dt="2024-03-04T08:30:38.651" v="4"/>
          <ac:spMkLst>
            <pc:docMk/>
            <pc:sldMk cId="2067837237" sldId="899"/>
            <ac:spMk id="11" creationId="{966F4E94-42AF-8C4C-9F85-A34218079A7B}"/>
          </ac:spMkLst>
        </pc:spChg>
      </pc:sldChg>
      <pc:sldChg chg="modSp">
        <pc:chgData name="Sindija Kirsteine (LV)" userId="5f25501a-2215-4bb3-9d9c-8d1484ffa7c1" providerId="ADAL" clId="{93760D53-13C1-4B8B-92CA-E799D7E24E59}" dt="2024-03-04T08:30:38.651" v="4"/>
        <pc:sldMkLst>
          <pc:docMk/>
          <pc:sldMk cId="1735191326" sldId="900"/>
        </pc:sldMkLst>
        <pc:spChg chg="mod">
          <ac:chgData name="Sindija Kirsteine (LV)" userId="5f25501a-2215-4bb3-9d9c-8d1484ffa7c1" providerId="ADAL" clId="{93760D53-13C1-4B8B-92CA-E799D7E24E59}" dt="2024-03-04T08:30:38.651" v="4"/>
          <ac:spMkLst>
            <pc:docMk/>
            <pc:sldMk cId="1735191326" sldId="900"/>
            <ac:spMk id="43" creationId="{B7165ACE-6816-8C1A-0E1A-FCA6963F41F4}"/>
          </ac:spMkLst>
        </pc:spChg>
      </pc:sldChg>
      <pc:sldChg chg="modSp mod modNotes">
        <pc:chgData name="Sindija Kirsteine (LV)" userId="5f25501a-2215-4bb3-9d9c-8d1484ffa7c1" providerId="ADAL" clId="{93760D53-13C1-4B8B-92CA-E799D7E24E59}" dt="2024-03-04T08:32:55.012" v="42" actId="20577"/>
        <pc:sldMkLst>
          <pc:docMk/>
          <pc:sldMk cId="3011875620" sldId="903"/>
        </pc:sldMkLst>
        <pc:spChg chg="mod">
          <ac:chgData name="Sindija Kirsteine (LV)" userId="5f25501a-2215-4bb3-9d9c-8d1484ffa7c1" providerId="ADAL" clId="{93760D53-13C1-4B8B-92CA-E799D7E24E59}" dt="2024-03-04T08:30:38.651" v="4"/>
          <ac:spMkLst>
            <pc:docMk/>
            <pc:sldMk cId="3011875620" sldId="903"/>
            <ac:spMk id="9" creationId="{08B6A8B7-7C80-74FA-BFD5-B86DDE664F74}"/>
          </ac:spMkLst>
        </pc:spChg>
        <pc:spChg chg="mod">
          <ac:chgData name="Sindija Kirsteine (LV)" userId="5f25501a-2215-4bb3-9d9c-8d1484ffa7c1" providerId="ADAL" clId="{93760D53-13C1-4B8B-92CA-E799D7E24E59}" dt="2024-03-04T08:32:55.012" v="42" actId="20577"/>
          <ac:spMkLst>
            <pc:docMk/>
            <pc:sldMk cId="3011875620" sldId="903"/>
            <ac:spMk id="24" creationId="{DA042BFC-9321-AE2A-D685-F5B36EFD0C0A}"/>
          </ac:spMkLst>
        </pc:spChg>
        <pc:spChg chg="mod">
          <ac:chgData name="Sindija Kirsteine (LV)" userId="5f25501a-2215-4bb3-9d9c-8d1484ffa7c1" providerId="ADAL" clId="{93760D53-13C1-4B8B-92CA-E799D7E24E59}" dt="2024-03-04T08:30:38.651" v="4"/>
          <ac:spMkLst>
            <pc:docMk/>
            <pc:sldMk cId="3011875620" sldId="903"/>
            <ac:spMk id="38" creationId="{ADCF57E4-22C5-26F3-DA4D-7482BC480F36}"/>
          </ac:spMkLst>
        </pc:spChg>
        <pc:spChg chg="mod">
          <ac:chgData name="Sindija Kirsteine (LV)" userId="5f25501a-2215-4bb3-9d9c-8d1484ffa7c1" providerId="ADAL" clId="{93760D53-13C1-4B8B-92CA-E799D7E24E59}" dt="2024-03-04T08:30:38.651" v="4"/>
          <ac:spMkLst>
            <pc:docMk/>
            <pc:sldMk cId="3011875620" sldId="903"/>
            <ac:spMk id="39" creationId="{3B3A753D-2643-22D3-98E8-407917D7B655}"/>
          </ac:spMkLst>
        </pc:spChg>
      </pc:sldChg>
      <pc:sldChg chg="modSp mod modNotes">
        <pc:chgData name="Sindija Kirsteine (LV)" userId="5f25501a-2215-4bb3-9d9c-8d1484ffa7c1" providerId="ADAL" clId="{93760D53-13C1-4B8B-92CA-E799D7E24E59}" dt="2024-03-04T09:38:59.795" v="1469" actId="20577"/>
        <pc:sldMkLst>
          <pc:docMk/>
          <pc:sldMk cId="795685229" sldId="904"/>
        </pc:sldMkLst>
        <pc:spChg chg="mod">
          <ac:chgData name="Sindija Kirsteine (LV)" userId="5f25501a-2215-4bb3-9d9c-8d1484ffa7c1" providerId="ADAL" clId="{93760D53-13C1-4B8B-92CA-E799D7E24E59}" dt="2024-03-04T08:34:33.965" v="64" actId="20577"/>
          <ac:spMkLst>
            <pc:docMk/>
            <pc:sldMk cId="795685229" sldId="904"/>
            <ac:spMk id="19" creationId="{048A5838-6D25-2779-8C89-C2A6CF8D5120}"/>
          </ac:spMkLst>
        </pc:spChg>
        <pc:spChg chg="mod">
          <ac:chgData name="Sindija Kirsteine (LV)" userId="5f25501a-2215-4bb3-9d9c-8d1484ffa7c1" providerId="ADAL" clId="{93760D53-13C1-4B8B-92CA-E799D7E24E59}" dt="2024-03-04T08:34:36.933" v="68" actId="20577"/>
          <ac:spMkLst>
            <pc:docMk/>
            <pc:sldMk cId="795685229" sldId="904"/>
            <ac:spMk id="20" creationId="{13D2366C-A215-8EED-AC5E-4C4A9ACD1E0F}"/>
          </ac:spMkLst>
        </pc:spChg>
        <pc:spChg chg="mod">
          <ac:chgData name="Sindija Kirsteine (LV)" userId="5f25501a-2215-4bb3-9d9c-8d1484ffa7c1" providerId="ADAL" clId="{93760D53-13C1-4B8B-92CA-E799D7E24E59}" dt="2024-03-04T09:38:59.795" v="1469" actId="20577"/>
          <ac:spMkLst>
            <pc:docMk/>
            <pc:sldMk cId="795685229" sldId="904"/>
            <ac:spMk id="22" creationId="{FD456066-D6DB-ED05-F1F7-BFB8E89B2676}"/>
          </ac:spMkLst>
        </pc:spChg>
        <pc:spChg chg="mod">
          <ac:chgData name="Sindija Kirsteine (LV)" userId="5f25501a-2215-4bb3-9d9c-8d1484ffa7c1" providerId="ADAL" clId="{93760D53-13C1-4B8B-92CA-E799D7E24E59}" dt="2024-03-04T08:30:38.651" v="4"/>
          <ac:spMkLst>
            <pc:docMk/>
            <pc:sldMk cId="795685229" sldId="904"/>
            <ac:spMk id="28" creationId="{113D09D0-B233-D26A-50AA-AAC45C1DB393}"/>
          </ac:spMkLst>
        </pc:spChg>
        <pc:spChg chg="mod">
          <ac:chgData name="Sindija Kirsteine (LV)" userId="5f25501a-2215-4bb3-9d9c-8d1484ffa7c1" providerId="ADAL" clId="{93760D53-13C1-4B8B-92CA-E799D7E24E59}" dt="2024-03-04T08:33:54.613" v="46" actId="20577"/>
          <ac:spMkLst>
            <pc:docMk/>
            <pc:sldMk cId="795685229" sldId="904"/>
            <ac:spMk id="31" creationId="{E2CC0EEE-CAB2-2559-66CC-085D68FA85B6}"/>
          </ac:spMkLst>
        </pc:spChg>
        <pc:spChg chg="mod">
          <ac:chgData name="Sindija Kirsteine (LV)" userId="5f25501a-2215-4bb3-9d9c-8d1484ffa7c1" providerId="ADAL" clId="{93760D53-13C1-4B8B-92CA-E799D7E24E59}" dt="2024-03-04T08:34:29.574" v="62" actId="20577"/>
          <ac:spMkLst>
            <pc:docMk/>
            <pc:sldMk cId="795685229" sldId="904"/>
            <ac:spMk id="32" creationId="{6DC923B1-F81E-C41B-D732-20A592FD5A53}"/>
          </ac:spMkLst>
        </pc:spChg>
        <pc:spChg chg="mod">
          <ac:chgData name="Sindija Kirsteine (LV)" userId="5f25501a-2215-4bb3-9d9c-8d1484ffa7c1" providerId="ADAL" clId="{93760D53-13C1-4B8B-92CA-E799D7E24E59}" dt="2024-03-04T08:34:15.527" v="59" actId="20577"/>
          <ac:spMkLst>
            <pc:docMk/>
            <pc:sldMk cId="795685229" sldId="904"/>
            <ac:spMk id="59" creationId="{34CAA65D-F32B-4FFB-DA56-9F4BF785AA35}"/>
          </ac:spMkLst>
        </pc:spChg>
      </pc:sldChg>
      <pc:sldChg chg="modSp mod delCm">
        <pc:chgData name="Sindija Kirsteine (LV)" userId="5f25501a-2215-4bb3-9d9c-8d1484ffa7c1" providerId="ADAL" clId="{93760D53-13C1-4B8B-92CA-E799D7E24E59}" dt="2024-03-04T10:10:31.127" v="2387"/>
        <pc:sldMkLst>
          <pc:docMk/>
          <pc:sldMk cId="507333055" sldId="905"/>
        </pc:sldMkLst>
        <pc:spChg chg="mod">
          <ac:chgData name="Sindija Kirsteine (LV)" userId="5f25501a-2215-4bb3-9d9c-8d1484ffa7c1" providerId="ADAL" clId="{93760D53-13C1-4B8B-92CA-E799D7E24E59}" dt="2024-03-04T08:30:38.651" v="4"/>
          <ac:spMkLst>
            <pc:docMk/>
            <pc:sldMk cId="507333055" sldId="905"/>
            <ac:spMk id="23" creationId="{F97CB2C5-7142-8223-7214-B1FDFDA9926A}"/>
          </ac:spMkLst>
        </pc:spChg>
        <pc:spChg chg="mod">
          <ac:chgData name="Sindija Kirsteine (LV)" userId="5f25501a-2215-4bb3-9d9c-8d1484ffa7c1" providerId="ADAL" clId="{93760D53-13C1-4B8B-92CA-E799D7E24E59}" dt="2024-03-04T09:39:26.424" v="1482" actId="20577"/>
          <ac:spMkLst>
            <pc:docMk/>
            <pc:sldMk cId="507333055" sldId="905"/>
            <ac:spMk id="26" creationId="{CAFFDCE5-3051-49DF-AF83-5287E01B7716}"/>
          </ac:spMkLst>
        </pc:spChg>
        <pc:spChg chg="mod">
          <ac:chgData name="Sindija Kirsteine (LV)" userId="5f25501a-2215-4bb3-9d9c-8d1484ffa7c1" providerId="ADAL" clId="{93760D53-13C1-4B8B-92CA-E799D7E24E59}" dt="2024-03-04T08:35:47.966" v="85" actId="20577"/>
          <ac:spMkLst>
            <pc:docMk/>
            <pc:sldMk cId="507333055" sldId="905"/>
            <ac:spMk id="27" creationId="{D6EA5D0F-11EF-2398-660B-39FF89189180}"/>
          </ac:spMkLst>
        </pc:spChg>
        <pc:spChg chg="mod">
          <ac:chgData name="Sindija Kirsteine (LV)" userId="5f25501a-2215-4bb3-9d9c-8d1484ffa7c1" providerId="ADAL" clId="{93760D53-13C1-4B8B-92CA-E799D7E24E59}" dt="2024-03-04T09:39:34.534" v="1488" actId="20577"/>
          <ac:spMkLst>
            <pc:docMk/>
            <pc:sldMk cId="507333055" sldId="905"/>
            <ac:spMk id="28" creationId="{29F2449E-4ED8-5ADE-AE30-9E9AB83EF649}"/>
          </ac:spMkLst>
        </pc:spChg>
        <pc:spChg chg="mod">
          <ac:chgData name="Sindija Kirsteine (LV)" userId="5f25501a-2215-4bb3-9d9c-8d1484ffa7c1" providerId="ADAL" clId="{93760D53-13C1-4B8B-92CA-E799D7E24E59}" dt="2024-03-04T08:36:34.954" v="101" actId="20577"/>
          <ac:spMkLst>
            <pc:docMk/>
            <pc:sldMk cId="507333055" sldId="905"/>
            <ac:spMk id="29" creationId="{00134262-F6E7-5D0D-46C6-48E2647244CF}"/>
          </ac:spMkLst>
        </pc:spChg>
        <pc:spChg chg="mod">
          <ac:chgData name="Sindija Kirsteine (LV)" userId="5f25501a-2215-4bb3-9d9c-8d1484ffa7c1" providerId="ADAL" clId="{93760D53-13C1-4B8B-92CA-E799D7E24E59}" dt="2024-03-04T09:40:05.867" v="1518" actId="20577"/>
          <ac:spMkLst>
            <pc:docMk/>
            <pc:sldMk cId="507333055" sldId="905"/>
            <ac:spMk id="30" creationId="{9EFCB31E-34D9-1914-7367-57FB33E6D927}"/>
          </ac:spMkLst>
        </pc:spChg>
        <pc:spChg chg="mod">
          <ac:chgData name="Sindija Kirsteine (LV)" userId="5f25501a-2215-4bb3-9d9c-8d1484ffa7c1" providerId="ADAL" clId="{93760D53-13C1-4B8B-92CA-E799D7E24E59}" dt="2024-03-04T08:36:57.770" v="121" actId="20577"/>
          <ac:spMkLst>
            <pc:docMk/>
            <pc:sldMk cId="507333055" sldId="905"/>
            <ac:spMk id="31" creationId="{B24CF0FE-B844-4682-3534-6E167E9F0FFA}"/>
          </ac:spMkLst>
        </pc:s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93760D53-13C1-4B8B-92CA-E799D7E24E59}" dt="2024-03-04T10:10:31.127" v="2387"/>
              <pc2:cmMkLst xmlns:pc2="http://schemas.microsoft.com/office/powerpoint/2019/9/main/command">
                <pc:docMk/>
                <pc:sldMk cId="507333055" sldId="905"/>
                <pc2:cmMk id="{043AF3E3-9509-4AC0-99BD-DC4BF84F371C}"/>
              </pc2:cmMkLst>
            </pc226:cmChg>
          </p:ext>
        </pc:extLst>
      </pc:sldChg>
      <pc:sldChg chg="modSp">
        <pc:chgData name="Sindija Kirsteine (LV)" userId="5f25501a-2215-4bb3-9d9c-8d1484ffa7c1" providerId="ADAL" clId="{93760D53-13C1-4B8B-92CA-E799D7E24E59}" dt="2024-03-04T08:30:38.651" v="4"/>
        <pc:sldMkLst>
          <pc:docMk/>
          <pc:sldMk cId="1164346809" sldId="906"/>
        </pc:sldMkLst>
        <pc:spChg chg="mod">
          <ac:chgData name="Sindija Kirsteine (LV)" userId="5f25501a-2215-4bb3-9d9c-8d1484ffa7c1" providerId="ADAL" clId="{93760D53-13C1-4B8B-92CA-E799D7E24E59}" dt="2024-03-04T08:30:38.651" v="4"/>
          <ac:spMkLst>
            <pc:docMk/>
            <pc:sldMk cId="1164346809" sldId="906"/>
            <ac:spMk id="3" creationId="{686732B2-5FB3-221B-0CA8-0EE49D36265B}"/>
          </ac:spMkLst>
        </pc:spChg>
      </pc:sldChg>
      <pc:sldChg chg="modSp mod modNotes">
        <pc:chgData name="Sindija Kirsteine (LV)" userId="5f25501a-2215-4bb3-9d9c-8d1484ffa7c1" providerId="ADAL" clId="{93760D53-13C1-4B8B-92CA-E799D7E24E59}" dt="2024-03-04T08:39:01.324" v="177" actId="20577"/>
        <pc:sldMkLst>
          <pc:docMk/>
          <pc:sldMk cId="2300626159" sldId="908"/>
        </pc:sldMkLst>
        <pc:spChg chg="mod">
          <ac:chgData name="Sindija Kirsteine (LV)" userId="5f25501a-2215-4bb3-9d9c-8d1484ffa7c1" providerId="ADAL" clId="{93760D53-13C1-4B8B-92CA-E799D7E24E59}" dt="2024-03-04T08:39:01.324" v="177" actId="20577"/>
          <ac:spMkLst>
            <pc:docMk/>
            <pc:sldMk cId="2300626159" sldId="908"/>
            <ac:spMk id="9" creationId="{A2B233A5-ED06-3246-BD46-B7B39150B709}"/>
          </ac:spMkLst>
        </pc:spChg>
        <pc:spChg chg="mod">
          <ac:chgData name="Sindija Kirsteine (LV)" userId="5f25501a-2215-4bb3-9d9c-8d1484ffa7c1" providerId="ADAL" clId="{93760D53-13C1-4B8B-92CA-E799D7E24E59}" dt="2024-03-04T08:38:39.219" v="161" actId="20577"/>
          <ac:spMkLst>
            <pc:docMk/>
            <pc:sldMk cId="2300626159" sldId="908"/>
            <ac:spMk id="13" creationId="{FFA0AA22-B08B-7F4A-B365-587EEE2D842D}"/>
          </ac:spMkLst>
        </pc:spChg>
        <pc:spChg chg="mod">
          <ac:chgData name="Sindija Kirsteine (LV)" userId="5f25501a-2215-4bb3-9d9c-8d1484ffa7c1" providerId="ADAL" clId="{93760D53-13C1-4B8B-92CA-E799D7E24E59}" dt="2024-03-04T08:38:44.402" v="164" actId="20577"/>
          <ac:spMkLst>
            <pc:docMk/>
            <pc:sldMk cId="2300626159" sldId="908"/>
            <ac:spMk id="18" creationId="{E4C5F8F0-E4BD-274A-8190-28583D21E512}"/>
          </ac:spMkLst>
        </pc:spChg>
        <pc:spChg chg="mod">
          <ac:chgData name="Sindija Kirsteine (LV)" userId="5f25501a-2215-4bb3-9d9c-8d1484ffa7c1" providerId="ADAL" clId="{93760D53-13C1-4B8B-92CA-E799D7E24E59}" dt="2024-03-04T08:38:50.628" v="170" actId="20577"/>
          <ac:spMkLst>
            <pc:docMk/>
            <pc:sldMk cId="2300626159" sldId="908"/>
            <ac:spMk id="23" creationId="{1DFA226E-CAF3-2D42-AC96-11A51BD07541}"/>
          </ac:spMkLst>
        </pc:spChg>
        <pc:spChg chg="mod">
          <ac:chgData name="Sindija Kirsteine (LV)" userId="5f25501a-2215-4bb3-9d9c-8d1484ffa7c1" providerId="ADAL" clId="{93760D53-13C1-4B8B-92CA-E799D7E24E59}" dt="2024-03-04T08:38:53.589" v="172" actId="20577"/>
          <ac:spMkLst>
            <pc:docMk/>
            <pc:sldMk cId="2300626159" sldId="908"/>
            <ac:spMk id="26" creationId="{8B070493-BB90-AA4F-AE2F-427F4E058BD7}"/>
          </ac:spMkLst>
        </pc:spChg>
      </pc:sldChg>
      <pc:sldChg chg="modSp mod modNotes">
        <pc:chgData name="Sindija Kirsteine (LV)" userId="5f25501a-2215-4bb3-9d9c-8d1484ffa7c1" providerId="ADAL" clId="{93760D53-13C1-4B8B-92CA-E799D7E24E59}" dt="2024-03-04T08:40:51.325" v="197" actId="20577"/>
        <pc:sldMkLst>
          <pc:docMk/>
          <pc:sldMk cId="1764034675" sldId="909"/>
        </pc:sldMkLst>
        <pc:spChg chg="mod">
          <ac:chgData name="Sindija Kirsteine (LV)" userId="5f25501a-2215-4bb3-9d9c-8d1484ffa7c1" providerId="ADAL" clId="{93760D53-13C1-4B8B-92CA-E799D7E24E59}" dt="2024-03-04T08:30:38.651" v="4"/>
          <ac:spMkLst>
            <pc:docMk/>
            <pc:sldMk cId="1764034675" sldId="909"/>
            <ac:spMk id="19" creationId="{EF4D8BEF-8566-D43D-9B28-E036D42EE6BC}"/>
          </ac:spMkLst>
        </pc:spChg>
        <pc:spChg chg="mod">
          <ac:chgData name="Sindija Kirsteine (LV)" userId="5f25501a-2215-4bb3-9d9c-8d1484ffa7c1" providerId="ADAL" clId="{93760D53-13C1-4B8B-92CA-E799D7E24E59}" dt="2024-03-04T08:40:33.601" v="189" actId="20577"/>
          <ac:spMkLst>
            <pc:docMk/>
            <pc:sldMk cId="1764034675" sldId="909"/>
            <ac:spMk id="24" creationId="{239B8622-318D-D173-F478-CF1A7EC16B5E}"/>
          </ac:spMkLst>
        </pc:spChg>
        <pc:spChg chg="mod">
          <ac:chgData name="Sindija Kirsteine (LV)" userId="5f25501a-2215-4bb3-9d9c-8d1484ffa7c1" providerId="ADAL" clId="{93760D53-13C1-4B8B-92CA-E799D7E24E59}" dt="2024-03-04T08:30:38.651" v="4"/>
          <ac:spMkLst>
            <pc:docMk/>
            <pc:sldMk cId="1764034675" sldId="909"/>
            <ac:spMk id="34" creationId="{2E292E14-80B0-C799-DCA3-1B141B1D2C6D}"/>
          </ac:spMkLst>
        </pc:spChg>
        <pc:spChg chg="mod">
          <ac:chgData name="Sindija Kirsteine (LV)" userId="5f25501a-2215-4bb3-9d9c-8d1484ffa7c1" providerId="ADAL" clId="{93760D53-13C1-4B8B-92CA-E799D7E24E59}" dt="2024-03-04T08:40:51.325" v="197" actId="20577"/>
          <ac:spMkLst>
            <pc:docMk/>
            <pc:sldMk cId="1764034675" sldId="909"/>
            <ac:spMk id="37" creationId="{94812D46-A915-8FCC-CF16-5E3844875EA5}"/>
          </ac:spMkLst>
        </pc:spChg>
      </pc:sldChg>
      <pc:sldChg chg="modSp mod">
        <pc:chgData name="Sindija Kirsteine (LV)" userId="5f25501a-2215-4bb3-9d9c-8d1484ffa7c1" providerId="ADAL" clId="{93760D53-13C1-4B8B-92CA-E799D7E24E59}" dt="2024-03-04T10:04:03.981" v="2194" actId="20577"/>
        <pc:sldMkLst>
          <pc:docMk/>
          <pc:sldMk cId="2040534611" sldId="911"/>
        </pc:sldMkLst>
        <pc:spChg chg="mod">
          <ac:chgData name="Sindija Kirsteine (LV)" userId="5f25501a-2215-4bb3-9d9c-8d1484ffa7c1" providerId="ADAL" clId="{93760D53-13C1-4B8B-92CA-E799D7E24E59}" dt="2024-03-04T08:44:01.225" v="312" actId="20577"/>
          <ac:spMkLst>
            <pc:docMk/>
            <pc:sldMk cId="2040534611" sldId="911"/>
            <ac:spMk id="22" creationId="{138C1537-B2D2-8CD4-AB9A-7BDF4C5BA5B6}"/>
          </ac:spMkLst>
        </pc:spChg>
        <pc:spChg chg="mod">
          <ac:chgData name="Sindija Kirsteine (LV)" userId="5f25501a-2215-4bb3-9d9c-8d1484ffa7c1" providerId="ADAL" clId="{93760D53-13C1-4B8B-92CA-E799D7E24E59}" dt="2024-03-04T10:03:53.630" v="2187" actId="20577"/>
          <ac:spMkLst>
            <pc:docMk/>
            <pc:sldMk cId="2040534611" sldId="911"/>
            <ac:spMk id="23" creationId="{2B31A048-71F3-36BF-C023-498023B6C82B}"/>
          </ac:spMkLst>
        </pc:spChg>
        <pc:spChg chg="mod">
          <ac:chgData name="Sindija Kirsteine (LV)" userId="5f25501a-2215-4bb3-9d9c-8d1484ffa7c1" providerId="ADAL" clId="{93760D53-13C1-4B8B-92CA-E799D7E24E59}" dt="2024-03-04T10:03:55.167" v="2188" actId="20577"/>
          <ac:spMkLst>
            <pc:docMk/>
            <pc:sldMk cId="2040534611" sldId="911"/>
            <ac:spMk id="37" creationId="{C2CA78DD-F69A-5D59-15A8-FCB689B70AC2}"/>
          </ac:spMkLst>
        </pc:spChg>
        <pc:spChg chg="mod">
          <ac:chgData name="Sindija Kirsteine (LV)" userId="5f25501a-2215-4bb3-9d9c-8d1484ffa7c1" providerId="ADAL" clId="{93760D53-13C1-4B8B-92CA-E799D7E24E59}" dt="2024-03-04T10:03:58.406" v="2190" actId="20577"/>
          <ac:spMkLst>
            <pc:docMk/>
            <pc:sldMk cId="2040534611" sldId="911"/>
            <ac:spMk id="38" creationId="{FED4070B-D467-BCBB-40C2-1A6D5681C2FA}"/>
          </ac:spMkLst>
        </pc:spChg>
        <pc:spChg chg="mod">
          <ac:chgData name="Sindija Kirsteine (LV)" userId="5f25501a-2215-4bb3-9d9c-8d1484ffa7c1" providerId="ADAL" clId="{93760D53-13C1-4B8B-92CA-E799D7E24E59}" dt="2024-03-04T10:03:59.930" v="2191" actId="20577"/>
          <ac:spMkLst>
            <pc:docMk/>
            <pc:sldMk cId="2040534611" sldId="911"/>
            <ac:spMk id="39" creationId="{A7A994A1-7F1E-6A81-8CD8-5804507EC70D}"/>
          </ac:spMkLst>
        </pc:spChg>
        <pc:spChg chg="mod">
          <ac:chgData name="Sindija Kirsteine (LV)" userId="5f25501a-2215-4bb3-9d9c-8d1484ffa7c1" providerId="ADAL" clId="{93760D53-13C1-4B8B-92CA-E799D7E24E59}" dt="2024-03-04T10:04:02.418" v="2193" actId="20577"/>
          <ac:spMkLst>
            <pc:docMk/>
            <pc:sldMk cId="2040534611" sldId="911"/>
            <ac:spMk id="40" creationId="{EB86B500-D698-3756-B7C3-C05978613A25}"/>
          </ac:spMkLst>
        </pc:spChg>
        <pc:spChg chg="mod">
          <ac:chgData name="Sindija Kirsteine (LV)" userId="5f25501a-2215-4bb3-9d9c-8d1484ffa7c1" providerId="ADAL" clId="{93760D53-13C1-4B8B-92CA-E799D7E24E59}" dt="2024-03-04T10:04:03.981" v="2194" actId="20577"/>
          <ac:spMkLst>
            <pc:docMk/>
            <pc:sldMk cId="2040534611" sldId="911"/>
            <ac:spMk id="41" creationId="{43FCA442-D4C2-FD75-2AE1-CE8B3AF7F9DF}"/>
          </ac:spMkLst>
        </pc:spChg>
        <pc:spChg chg="mod">
          <ac:chgData name="Sindija Kirsteine (LV)" userId="5f25501a-2215-4bb3-9d9c-8d1484ffa7c1" providerId="ADAL" clId="{93760D53-13C1-4B8B-92CA-E799D7E24E59}" dt="2024-03-04T10:03:57.198" v="2189" actId="20577"/>
          <ac:spMkLst>
            <pc:docMk/>
            <pc:sldMk cId="2040534611" sldId="911"/>
            <ac:spMk id="42" creationId="{54557E55-3507-1776-B43F-2BF914364CDC}"/>
          </ac:spMkLst>
        </pc:spChg>
        <pc:spChg chg="mod">
          <ac:chgData name="Sindija Kirsteine (LV)" userId="5f25501a-2215-4bb3-9d9c-8d1484ffa7c1" providerId="ADAL" clId="{93760D53-13C1-4B8B-92CA-E799D7E24E59}" dt="2024-03-04T10:04:01.317" v="2192" actId="20577"/>
          <ac:spMkLst>
            <pc:docMk/>
            <pc:sldMk cId="2040534611" sldId="911"/>
            <ac:spMk id="43" creationId="{88DB8DA6-ED94-CDC8-8ACB-3050ABC429D6}"/>
          </ac:spMkLst>
        </pc:spChg>
      </pc:sldChg>
      <pc:sldChg chg="modSp mod">
        <pc:chgData name="Sindija Kirsteine (LV)" userId="5f25501a-2215-4bb3-9d9c-8d1484ffa7c1" providerId="ADAL" clId="{93760D53-13C1-4B8B-92CA-E799D7E24E59}" dt="2024-03-04T10:04:32.011" v="2204" actId="20577"/>
        <pc:sldMkLst>
          <pc:docMk/>
          <pc:sldMk cId="3429470186" sldId="914"/>
        </pc:sldMkLst>
        <pc:spChg chg="mod">
          <ac:chgData name="Sindija Kirsteine (LV)" userId="5f25501a-2215-4bb3-9d9c-8d1484ffa7c1" providerId="ADAL" clId="{93760D53-13C1-4B8B-92CA-E799D7E24E59}" dt="2024-03-04T08:45:56.192" v="364" actId="20577"/>
          <ac:spMkLst>
            <pc:docMk/>
            <pc:sldMk cId="3429470186" sldId="914"/>
            <ac:spMk id="16" creationId="{25A25F16-3DF9-5BEF-8F70-42FAB50A6BCE}"/>
          </ac:spMkLst>
        </pc:spChg>
        <pc:spChg chg="mod">
          <ac:chgData name="Sindija Kirsteine (LV)" userId="5f25501a-2215-4bb3-9d9c-8d1484ffa7c1" providerId="ADAL" clId="{93760D53-13C1-4B8B-92CA-E799D7E24E59}" dt="2024-03-04T10:04:19.199" v="2196" actId="20577"/>
          <ac:spMkLst>
            <pc:docMk/>
            <pc:sldMk cId="3429470186" sldId="914"/>
            <ac:spMk id="17" creationId="{8A128ED3-6DA0-A56A-B5CE-670FD97F3136}"/>
          </ac:spMkLst>
        </pc:spChg>
        <pc:spChg chg="mod">
          <ac:chgData name="Sindija Kirsteine (LV)" userId="5f25501a-2215-4bb3-9d9c-8d1484ffa7c1" providerId="ADAL" clId="{93760D53-13C1-4B8B-92CA-E799D7E24E59}" dt="2024-03-04T10:04:20.037" v="2197" actId="20577"/>
          <ac:spMkLst>
            <pc:docMk/>
            <pc:sldMk cId="3429470186" sldId="914"/>
            <ac:spMk id="31" creationId="{3ED63378-9AD4-6F7B-AA83-0757250B3655}"/>
          </ac:spMkLst>
        </pc:spChg>
        <pc:spChg chg="mod">
          <ac:chgData name="Sindija Kirsteine (LV)" userId="5f25501a-2215-4bb3-9d9c-8d1484ffa7c1" providerId="ADAL" clId="{93760D53-13C1-4B8B-92CA-E799D7E24E59}" dt="2024-03-04T10:04:23.443" v="2199" actId="20577"/>
          <ac:spMkLst>
            <pc:docMk/>
            <pc:sldMk cId="3429470186" sldId="914"/>
            <ac:spMk id="32" creationId="{368867CA-1A92-D7C5-1747-4DA72A1913A3}"/>
          </ac:spMkLst>
        </pc:spChg>
        <pc:spChg chg="mod">
          <ac:chgData name="Sindija Kirsteine (LV)" userId="5f25501a-2215-4bb3-9d9c-8d1484ffa7c1" providerId="ADAL" clId="{93760D53-13C1-4B8B-92CA-E799D7E24E59}" dt="2024-03-04T10:04:25.308" v="2200" actId="20577"/>
          <ac:spMkLst>
            <pc:docMk/>
            <pc:sldMk cId="3429470186" sldId="914"/>
            <ac:spMk id="33" creationId="{C4D43AE7-C8F7-08A9-8215-1FA9C3039CB2}"/>
          </ac:spMkLst>
        </pc:spChg>
        <pc:spChg chg="mod">
          <ac:chgData name="Sindija Kirsteine (LV)" userId="5f25501a-2215-4bb3-9d9c-8d1484ffa7c1" providerId="ADAL" clId="{93760D53-13C1-4B8B-92CA-E799D7E24E59}" dt="2024-03-04T10:04:29.318" v="2202" actId="20577"/>
          <ac:spMkLst>
            <pc:docMk/>
            <pc:sldMk cId="3429470186" sldId="914"/>
            <ac:spMk id="34" creationId="{A44E1DFA-63E7-6696-A512-35660567BC8E}"/>
          </ac:spMkLst>
        </pc:spChg>
        <pc:spChg chg="mod">
          <ac:chgData name="Sindija Kirsteine (LV)" userId="5f25501a-2215-4bb3-9d9c-8d1484ffa7c1" providerId="ADAL" clId="{93760D53-13C1-4B8B-92CA-E799D7E24E59}" dt="2024-03-04T10:04:30.736" v="2203" actId="20577"/>
          <ac:spMkLst>
            <pc:docMk/>
            <pc:sldMk cId="3429470186" sldId="914"/>
            <ac:spMk id="35" creationId="{0E3889E8-6CBA-B9D9-B3CF-37BF7D2AD588}"/>
          </ac:spMkLst>
        </pc:spChg>
        <pc:spChg chg="mod">
          <ac:chgData name="Sindija Kirsteine (LV)" userId="5f25501a-2215-4bb3-9d9c-8d1484ffa7c1" providerId="ADAL" clId="{93760D53-13C1-4B8B-92CA-E799D7E24E59}" dt="2024-03-04T10:04:21.326" v="2198" actId="20577"/>
          <ac:spMkLst>
            <pc:docMk/>
            <pc:sldMk cId="3429470186" sldId="914"/>
            <ac:spMk id="36" creationId="{1AE54009-C4AA-42A0-6C3E-5B591C01E340}"/>
          </ac:spMkLst>
        </pc:spChg>
        <pc:spChg chg="mod">
          <ac:chgData name="Sindija Kirsteine (LV)" userId="5f25501a-2215-4bb3-9d9c-8d1484ffa7c1" providerId="ADAL" clId="{93760D53-13C1-4B8B-92CA-E799D7E24E59}" dt="2024-03-04T10:04:27.802" v="2201" actId="20577"/>
          <ac:spMkLst>
            <pc:docMk/>
            <pc:sldMk cId="3429470186" sldId="914"/>
            <ac:spMk id="37" creationId="{E0CFB0A4-DBFE-D718-60F7-B518BBA84C50}"/>
          </ac:spMkLst>
        </pc:spChg>
        <pc:spChg chg="mod">
          <ac:chgData name="Sindija Kirsteine (LV)" userId="5f25501a-2215-4bb3-9d9c-8d1484ffa7c1" providerId="ADAL" clId="{93760D53-13C1-4B8B-92CA-E799D7E24E59}" dt="2024-03-04T10:04:32.011" v="2204" actId="20577"/>
          <ac:spMkLst>
            <pc:docMk/>
            <pc:sldMk cId="3429470186" sldId="914"/>
            <ac:spMk id="62" creationId="{05D1587F-2220-61CF-C510-7EBB4EE50944}"/>
          </ac:spMkLst>
        </pc:spChg>
      </pc:sldChg>
      <pc:sldChg chg="modSp mod modNotes">
        <pc:chgData name="Sindija Kirsteine (LV)" userId="5f25501a-2215-4bb3-9d9c-8d1484ffa7c1" providerId="ADAL" clId="{93760D53-13C1-4B8B-92CA-E799D7E24E59}" dt="2024-03-04T10:05:14.102" v="2221" actId="20577"/>
        <pc:sldMkLst>
          <pc:docMk/>
          <pc:sldMk cId="1981412866" sldId="915"/>
        </pc:sldMkLst>
        <pc:spChg chg="mod">
          <ac:chgData name="Sindija Kirsteine (LV)" userId="5f25501a-2215-4bb3-9d9c-8d1484ffa7c1" providerId="ADAL" clId="{93760D53-13C1-4B8B-92CA-E799D7E24E59}" dt="2024-03-04T10:04:57.228" v="2208" actId="20577"/>
          <ac:spMkLst>
            <pc:docMk/>
            <pc:sldMk cId="1981412866" sldId="915"/>
            <ac:spMk id="32" creationId="{F6FD7F51-FCB6-23F6-84BA-89F9C3713AC4}"/>
          </ac:spMkLst>
        </pc:spChg>
        <pc:spChg chg="mod">
          <ac:chgData name="Sindija Kirsteine (LV)" userId="5f25501a-2215-4bb3-9d9c-8d1484ffa7c1" providerId="ADAL" clId="{93760D53-13C1-4B8B-92CA-E799D7E24E59}" dt="2024-03-04T10:04:58.529" v="2209" actId="20577"/>
          <ac:spMkLst>
            <pc:docMk/>
            <pc:sldMk cId="1981412866" sldId="915"/>
            <ac:spMk id="40" creationId="{30F089A7-894F-F509-643F-95DAD0568EBA}"/>
          </ac:spMkLst>
        </pc:spChg>
        <pc:spChg chg="mod">
          <ac:chgData name="Sindija Kirsteine (LV)" userId="5f25501a-2215-4bb3-9d9c-8d1484ffa7c1" providerId="ADAL" clId="{93760D53-13C1-4B8B-92CA-E799D7E24E59}" dt="2024-03-04T10:05:00.605" v="2211" actId="20577"/>
          <ac:spMkLst>
            <pc:docMk/>
            <pc:sldMk cId="1981412866" sldId="915"/>
            <ac:spMk id="41" creationId="{FD5F1B36-E761-5F42-CEFD-455451E36516}"/>
          </ac:spMkLst>
        </pc:spChg>
        <pc:spChg chg="mod">
          <ac:chgData name="Sindija Kirsteine (LV)" userId="5f25501a-2215-4bb3-9d9c-8d1484ffa7c1" providerId="ADAL" clId="{93760D53-13C1-4B8B-92CA-E799D7E24E59}" dt="2024-03-04T10:05:01.658" v="2212" actId="20577"/>
          <ac:spMkLst>
            <pc:docMk/>
            <pc:sldMk cId="1981412866" sldId="915"/>
            <ac:spMk id="42" creationId="{A266A737-1E78-D4EB-776C-495C1EBB4F47}"/>
          </ac:spMkLst>
        </pc:spChg>
        <pc:spChg chg="mod">
          <ac:chgData name="Sindija Kirsteine (LV)" userId="5f25501a-2215-4bb3-9d9c-8d1484ffa7c1" providerId="ADAL" clId="{93760D53-13C1-4B8B-92CA-E799D7E24E59}" dt="2024-03-04T10:04:59.431" v="2210" actId="20577"/>
          <ac:spMkLst>
            <pc:docMk/>
            <pc:sldMk cId="1981412866" sldId="915"/>
            <ac:spMk id="45" creationId="{11C053ED-4F43-3B06-3803-DF09CC3119C2}"/>
          </ac:spMkLst>
        </pc:spChg>
        <pc:spChg chg="mod">
          <ac:chgData name="Sindija Kirsteine (LV)" userId="5f25501a-2215-4bb3-9d9c-8d1484ffa7c1" providerId="ADAL" clId="{93760D53-13C1-4B8B-92CA-E799D7E24E59}" dt="2024-03-04T10:05:03.759" v="2214" actId="20577"/>
          <ac:spMkLst>
            <pc:docMk/>
            <pc:sldMk cId="1981412866" sldId="915"/>
            <ac:spMk id="46" creationId="{87468ECB-778E-5632-E26A-146462E680C5}"/>
          </ac:spMkLst>
        </pc:spChg>
        <pc:spChg chg="mod">
          <ac:chgData name="Sindija Kirsteine (LV)" userId="5f25501a-2215-4bb3-9d9c-8d1484ffa7c1" providerId="ADAL" clId="{93760D53-13C1-4B8B-92CA-E799D7E24E59}" dt="2024-03-04T10:05:06.583" v="2215" actId="20577"/>
          <ac:spMkLst>
            <pc:docMk/>
            <pc:sldMk cId="1981412866" sldId="915"/>
            <ac:spMk id="88" creationId="{436E5142-1A97-F9A9-CFC9-DB97889540F3}"/>
          </ac:spMkLst>
        </pc:spChg>
        <pc:spChg chg="mod">
          <ac:chgData name="Sindija Kirsteine (LV)" userId="5f25501a-2215-4bb3-9d9c-8d1484ffa7c1" providerId="ADAL" clId="{93760D53-13C1-4B8B-92CA-E799D7E24E59}" dt="2024-03-04T10:05:07.765" v="2216" actId="20577"/>
          <ac:spMkLst>
            <pc:docMk/>
            <pc:sldMk cId="1981412866" sldId="915"/>
            <ac:spMk id="89" creationId="{E536C4EB-5830-A9C6-7E29-F6EF449FF4C7}"/>
          </ac:spMkLst>
        </pc:spChg>
        <pc:spChg chg="mod">
          <ac:chgData name="Sindija Kirsteine (LV)" userId="5f25501a-2215-4bb3-9d9c-8d1484ffa7c1" providerId="ADAL" clId="{93760D53-13C1-4B8B-92CA-E799D7E24E59}" dt="2024-03-04T10:05:09.581" v="2218" actId="20577"/>
          <ac:spMkLst>
            <pc:docMk/>
            <pc:sldMk cId="1981412866" sldId="915"/>
            <ac:spMk id="90" creationId="{225CAB37-79D8-77DD-6CFF-B862D382D619}"/>
          </ac:spMkLst>
        </pc:spChg>
        <pc:spChg chg="mod">
          <ac:chgData name="Sindija Kirsteine (LV)" userId="5f25501a-2215-4bb3-9d9c-8d1484ffa7c1" providerId="ADAL" clId="{93760D53-13C1-4B8B-92CA-E799D7E24E59}" dt="2024-03-04T10:05:11.236" v="2219" actId="20577"/>
          <ac:spMkLst>
            <pc:docMk/>
            <pc:sldMk cId="1981412866" sldId="915"/>
            <ac:spMk id="91" creationId="{AD8719CE-1154-0150-C638-F14ED1164F38}"/>
          </ac:spMkLst>
        </pc:spChg>
        <pc:spChg chg="mod">
          <ac:chgData name="Sindija Kirsteine (LV)" userId="5f25501a-2215-4bb3-9d9c-8d1484ffa7c1" providerId="ADAL" clId="{93760D53-13C1-4B8B-92CA-E799D7E24E59}" dt="2024-03-04T10:05:08.755" v="2217" actId="20577"/>
          <ac:spMkLst>
            <pc:docMk/>
            <pc:sldMk cId="1981412866" sldId="915"/>
            <ac:spMk id="92" creationId="{9D38CD76-42E2-0F88-D2E4-FBE4A7B73C45}"/>
          </ac:spMkLst>
        </pc:spChg>
        <pc:spChg chg="mod">
          <ac:chgData name="Sindija Kirsteine (LV)" userId="5f25501a-2215-4bb3-9d9c-8d1484ffa7c1" providerId="ADAL" clId="{93760D53-13C1-4B8B-92CA-E799D7E24E59}" dt="2024-03-04T10:05:12.939" v="2220" actId="20577"/>
          <ac:spMkLst>
            <pc:docMk/>
            <pc:sldMk cId="1981412866" sldId="915"/>
            <ac:spMk id="118" creationId="{99E10BF8-C7E4-4C4A-89D4-BF5D9211751E}"/>
          </ac:spMkLst>
        </pc:spChg>
        <pc:spChg chg="mod">
          <ac:chgData name="Sindija Kirsteine (LV)" userId="5f25501a-2215-4bb3-9d9c-8d1484ffa7c1" providerId="ADAL" clId="{93760D53-13C1-4B8B-92CA-E799D7E24E59}" dt="2024-03-04T10:05:14.102" v="2221" actId="20577"/>
          <ac:spMkLst>
            <pc:docMk/>
            <pc:sldMk cId="1981412866" sldId="915"/>
            <ac:spMk id="119" creationId="{E6F7CE22-8CEE-1A44-5315-4C2E4DE97A7C}"/>
          </ac:spMkLst>
        </pc:spChg>
      </pc:sldChg>
      <pc:sldChg chg="modSp mod modNotes">
        <pc:chgData name="Sindija Kirsteine (LV)" userId="5f25501a-2215-4bb3-9d9c-8d1484ffa7c1" providerId="ADAL" clId="{93760D53-13C1-4B8B-92CA-E799D7E24E59}" dt="2024-03-04T10:05:35.130" v="2231" actId="20577"/>
        <pc:sldMkLst>
          <pc:docMk/>
          <pc:sldMk cId="64855802" sldId="916"/>
        </pc:sldMkLst>
        <pc:spChg chg="mod">
          <ac:chgData name="Sindija Kirsteine (LV)" userId="5f25501a-2215-4bb3-9d9c-8d1484ffa7c1" providerId="ADAL" clId="{93760D53-13C1-4B8B-92CA-E799D7E24E59}" dt="2024-03-04T08:30:38.651" v="4"/>
          <ac:spMkLst>
            <pc:docMk/>
            <pc:sldMk cId="64855802" sldId="916"/>
            <ac:spMk id="25" creationId="{3F4B047B-9FFA-12D1-B8AD-AAC2A9759CAF}"/>
          </ac:spMkLst>
        </pc:spChg>
        <pc:spChg chg="mod">
          <ac:chgData name="Sindija Kirsteine (LV)" userId="5f25501a-2215-4bb3-9d9c-8d1484ffa7c1" providerId="ADAL" clId="{93760D53-13C1-4B8B-92CA-E799D7E24E59}" dt="2024-03-04T10:05:18.781" v="2223" actId="20577"/>
          <ac:spMkLst>
            <pc:docMk/>
            <pc:sldMk cId="64855802" sldId="916"/>
            <ac:spMk id="35" creationId="{432C5712-D5AD-47F7-FC20-0EB40EAFE2D2}"/>
          </ac:spMkLst>
        </pc:spChg>
        <pc:spChg chg="mod">
          <ac:chgData name="Sindija Kirsteine (LV)" userId="5f25501a-2215-4bb3-9d9c-8d1484ffa7c1" providerId="ADAL" clId="{93760D53-13C1-4B8B-92CA-E799D7E24E59}" dt="2024-03-04T10:05:22.455" v="2224" actId="20577"/>
          <ac:spMkLst>
            <pc:docMk/>
            <pc:sldMk cId="64855802" sldId="916"/>
            <ac:spMk id="43" creationId="{B59B899D-1483-7DB7-884C-1BF5BB66EEF8}"/>
          </ac:spMkLst>
        </pc:spChg>
        <pc:spChg chg="mod">
          <ac:chgData name="Sindija Kirsteine (LV)" userId="5f25501a-2215-4bb3-9d9c-8d1484ffa7c1" providerId="ADAL" clId="{93760D53-13C1-4B8B-92CA-E799D7E24E59}" dt="2024-03-04T10:05:27.074" v="2226" actId="20577"/>
          <ac:spMkLst>
            <pc:docMk/>
            <pc:sldMk cId="64855802" sldId="916"/>
            <ac:spMk id="44" creationId="{94871D9B-9CA0-96F3-8E39-FD36C686E5B2}"/>
          </ac:spMkLst>
        </pc:spChg>
        <pc:spChg chg="mod">
          <ac:chgData name="Sindija Kirsteine (LV)" userId="5f25501a-2215-4bb3-9d9c-8d1484ffa7c1" providerId="ADAL" clId="{93760D53-13C1-4B8B-92CA-E799D7E24E59}" dt="2024-03-04T10:05:28.834" v="2227" actId="20577"/>
          <ac:spMkLst>
            <pc:docMk/>
            <pc:sldMk cId="64855802" sldId="916"/>
            <ac:spMk id="45" creationId="{8D71FF02-0232-FA91-F9B2-51C5765FD1F0}"/>
          </ac:spMkLst>
        </pc:spChg>
        <pc:spChg chg="mod">
          <ac:chgData name="Sindija Kirsteine (LV)" userId="5f25501a-2215-4bb3-9d9c-8d1484ffa7c1" providerId="ADAL" clId="{93760D53-13C1-4B8B-92CA-E799D7E24E59}" dt="2024-03-04T10:05:31.875" v="2229" actId="20577"/>
          <ac:spMkLst>
            <pc:docMk/>
            <pc:sldMk cId="64855802" sldId="916"/>
            <ac:spMk id="46" creationId="{AA6DDFE9-80E6-B7F6-FB38-9917BC91B4D2}"/>
          </ac:spMkLst>
        </pc:spChg>
        <pc:spChg chg="mod">
          <ac:chgData name="Sindija Kirsteine (LV)" userId="5f25501a-2215-4bb3-9d9c-8d1484ffa7c1" providerId="ADAL" clId="{93760D53-13C1-4B8B-92CA-E799D7E24E59}" dt="2024-03-04T10:05:33.876" v="2230" actId="20577"/>
          <ac:spMkLst>
            <pc:docMk/>
            <pc:sldMk cId="64855802" sldId="916"/>
            <ac:spMk id="47" creationId="{115D63E8-2A8B-9CF7-1918-27AD2BA124D4}"/>
          </ac:spMkLst>
        </pc:spChg>
        <pc:spChg chg="mod">
          <ac:chgData name="Sindija Kirsteine (LV)" userId="5f25501a-2215-4bb3-9d9c-8d1484ffa7c1" providerId="ADAL" clId="{93760D53-13C1-4B8B-92CA-E799D7E24E59}" dt="2024-03-04T10:05:25.260" v="2225" actId="20577"/>
          <ac:spMkLst>
            <pc:docMk/>
            <pc:sldMk cId="64855802" sldId="916"/>
            <ac:spMk id="48" creationId="{45C97A8C-D8E3-502E-7F55-E280CB660E7E}"/>
          </ac:spMkLst>
        </pc:spChg>
        <pc:spChg chg="mod">
          <ac:chgData name="Sindija Kirsteine (LV)" userId="5f25501a-2215-4bb3-9d9c-8d1484ffa7c1" providerId="ADAL" clId="{93760D53-13C1-4B8B-92CA-E799D7E24E59}" dt="2024-03-04T10:05:30.450" v="2228" actId="20577"/>
          <ac:spMkLst>
            <pc:docMk/>
            <pc:sldMk cId="64855802" sldId="916"/>
            <ac:spMk id="49" creationId="{1D2FF4CB-94E6-2366-A7D2-CA1C854C04A2}"/>
          </ac:spMkLst>
        </pc:spChg>
        <pc:spChg chg="mod">
          <ac:chgData name="Sindija Kirsteine (LV)" userId="5f25501a-2215-4bb3-9d9c-8d1484ffa7c1" providerId="ADAL" clId="{93760D53-13C1-4B8B-92CA-E799D7E24E59}" dt="2024-03-04T10:05:35.130" v="2231" actId="20577"/>
          <ac:spMkLst>
            <pc:docMk/>
            <pc:sldMk cId="64855802" sldId="916"/>
            <ac:spMk id="70" creationId="{715CB4D8-B109-4E3E-BFCE-C99080E076DC}"/>
          </ac:spMkLst>
        </pc:spChg>
        <pc:spChg chg="mod">
          <ac:chgData name="Sindija Kirsteine (LV)" userId="5f25501a-2215-4bb3-9d9c-8d1484ffa7c1" providerId="ADAL" clId="{93760D53-13C1-4B8B-92CA-E799D7E24E59}" dt="2024-03-04T09:44:50.198" v="1608" actId="20577"/>
          <ac:spMkLst>
            <pc:docMk/>
            <pc:sldMk cId="64855802" sldId="916"/>
            <ac:spMk id="88" creationId="{FAE4F479-75A7-AEA5-4879-7B116D34F1DF}"/>
          </ac:spMkLst>
        </pc:spChg>
        <pc:spChg chg="mod">
          <ac:chgData name="Sindija Kirsteine (LV)" userId="5f25501a-2215-4bb3-9d9c-8d1484ffa7c1" providerId="ADAL" clId="{93760D53-13C1-4B8B-92CA-E799D7E24E59}" dt="2024-03-04T09:44:24.819" v="1590"/>
          <ac:spMkLst>
            <pc:docMk/>
            <pc:sldMk cId="64855802" sldId="916"/>
            <ac:spMk id="114" creationId="{8FD2B430-BC9C-4743-24E0-E9DBFBF0D83C}"/>
          </ac:spMkLst>
        </pc:spChg>
      </pc:sldChg>
      <pc:sldChg chg="modSp mod addCm modCm modNotes">
        <pc:chgData name="Sindija Kirsteine (LV)" userId="5f25501a-2215-4bb3-9d9c-8d1484ffa7c1" providerId="ADAL" clId="{93760D53-13C1-4B8B-92CA-E799D7E24E59}" dt="2024-03-04T10:05:57.243" v="2245" actId="20577"/>
        <pc:sldMkLst>
          <pc:docMk/>
          <pc:sldMk cId="4273639525" sldId="917"/>
        </pc:sldMkLst>
        <pc:spChg chg="mod">
          <ac:chgData name="Sindija Kirsteine (LV)" userId="5f25501a-2215-4bb3-9d9c-8d1484ffa7c1" providerId="ADAL" clId="{93760D53-13C1-4B8B-92CA-E799D7E24E59}" dt="2024-03-04T09:46:49.762" v="1660"/>
          <ac:spMkLst>
            <pc:docMk/>
            <pc:sldMk cId="4273639525" sldId="917"/>
            <ac:spMk id="17" creationId="{71229291-CDE2-2F53-B84C-B74BF2C3F4F0}"/>
          </ac:spMkLst>
        </pc:spChg>
        <pc:spChg chg="mod">
          <ac:chgData name="Sindija Kirsteine (LV)" userId="5f25501a-2215-4bb3-9d9c-8d1484ffa7c1" providerId="ADAL" clId="{93760D53-13C1-4B8B-92CA-E799D7E24E59}" dt="2024-03-04T08:54:16.865" v="556" actId="20577"/>
          <ac:spMkLst>
            <pc:docMk/>
            <pc:sldMk cId="4273639525" sldId="917"/>
            <ac:spMk id="20" creationId="{71A7C7C0-2A0C-7790-FB11-2C935A397516}"/>
          </ac:spMkLst>
        </pc:spChg>
        <pc:spChg chg="mod">
          <ac:chgData name="Sindija Kirsteine (LV)" userId="5f25501a-2215-4bb3-9d9c-8d1484ffa7c1" providerId="ADAL" clId="{93760D53-13C1-4B8B-92CA-E799D7E24E59}" dt="2024-03-04T10:05:49.641" v="2240" actId="20577"/>
          <ac:spMkLst>
            <pc:docMk/>
            <pc:sldMk cId="4273639525" sldId="917"/>
            <ac:spMk id="48" creationId="{EBAA83D0-B767-9E96-1B47-C078CEEE614B}"/>
          </ac:spMkLst>
        </pc:spChg>
        <pc:spChg chg="mod">
          <ac:chgData name="Sindija Kirsteine (LV)" userId="5f25501a-2215-4bb3-9d9c-8d1484ffa7c1" providerId="ADAL" clId="{93760D53-13C1-4B8B-92CA-E799D7E24E59}" dt="2024-03-04T10:05:52.225" v="2241" actId="20577"/>
          <ac:spMkLst>
            <pc:docMk/>
            <pc:sldMk cId="4273639525" sldId="917"/>
            <ac:spMk id="49" creationId="{61741A74-5C7B-7766-FAC2-162B3E3B5946}"/>
          </ac:spMkLst>
        </pc:spChg>
        <pc:spChg chg="mod">
          <ac:chgData name="Sindija Kirsteine (LV)" userId="5f25501a-2215-4bb3-9d9c-8d1484ffa7c1" providerId="ADAL" clId="{93760D53-13C1-4B8B-92CA-E799D7E24E59}" dt="2024-03-04T10:05:54.727" v="2243" actId="20577"/>
          <ac:spMkLst>
            <pc:docMk/>
            <pc:sldMk cId="4273639525" sldId="917"/>
            <ac:spMk id="50" creationId="{A0C0290C-4BE9-3776-4546-3DEF56D11991}"/>
          </ac:spMkLst>
        </pc:spChg>
        <pc:spChg chg="mod">
          <ac:chgData name="Sindija Kirsteine (LV)" userId="5f25501a-2215-4bb3-9d9c-8d1484ffa7c1" providerId="ADAL" clId="{93760D53-13C1-4B8B-92CA-E799D7E24E59}" dt="2024-03-04T10:05:55.559" v="2244" actId="20577"/>
          <ac:spMkLst>
            <pc:docMk/>
            <pc:sldMk cId="4273639525" sldId="917"/>
            <ac:spMk id="51" creationId="{BAB0F656-869B-B0AF-322D-5E8BBB041A61}"/>
          </ac:spMkLst>
        </pc:spChg>
        <pc:spChg chg="mod">
          <ac:chgData name="Sindija Kirsteine (LV)" userId="5f25501a-2215-4bb3-9d9c-8d1484ffa7c1" providerId="ADAL" clId="{93760D53-13C1-4B8B-92CA-E799D7E24E59}" dt="2024-03-04T10:05:53.889" v="2242" actId="20577"/>
          <ac:spMkLst>
            <pc:docMk/>
            <pc:sldMk cId="4273639525" sldId="917"/>
            <ac:spMk id="52" creationId="{DAED98C7-E0EF-C092-E3F8-D2FBD65700E3}"/>
          </ac:spMkLst>
        </pc:spChg>
        <pc:spChg chg="mod">
          <ac:chgData name="Sindija Kirsteine (LV)" userId="5f25501a-2215-4bb3-9d9c-8d1484ffa7c1" providerId="ADAL" clId="{93760D53-13C1-4B8B-92CA-E799D7E24E59}" dt="2024-03-04T10:05:57.243" v="2245" actId="20577"/>
          <ac:spMkLst>
            <pc:docMk/>
            <pc:sldMk cId="4273639525" sldId="917"/>
            <ac:spMk id="53" creationId="{18418CB4-C7BA-DDC9-0605-BD3AD04DF988}"/>
          </ac:spMkLst>
        </pc:spChg>
        <pc:extLst>
          <p:ext xmlns:p="http://schemas.openxmlformats.org/presentationml/2006/main" uri="{D6D511B9-2390-475A-947B-AFAB55BFBCF1}">
            <pc226:cmChg xmlns:pc226="http://schemas.microsoft.com/office/powerpoint/2022/06/main/command" chg="add mod">
              <pc226:chgData name="Sindija Kirsteine (LV)" userId="5f25501a-2215-4bb3-9d9c-8d1484ffa7c1" providerId="ADAL" clId="{93760D53-13C1-4B8B-92CA-E799D7E24E59}" dt="2024-03-04T08:56:36.774" v="558"/>
              <pc2:cmMkLst xmlns:pc2="http://schemas.microsoft.com/office/powerpoint/2019/9/main/command">
                <pc:docMk/>
                <pc:sldMk cId="4273639525" sldId="917"/>
                <pc2:cmMk id="{19204F20-0AF8-4CA6-A7B8-DC2E12DB89C6}"/>
              </pc2:cmMkLst>
            </pc226:cmChg>
          </p:ext>
        </pc:extLst>
      </pc:sldChg>
      <pc:sldChg chg="modSp mod modNotes">
        <pc:chgData name="Sindija Kirsteine (LV)" userId="5f25501a-2215-4bb3-9d9c-8d1484ffa7c1" providerId="ADAL" clId="{93760D53-13C1-4B8B-92CA-E799D7E24E59}" dt="2024-03-04T10:05:45.543" v="2238" actId="20577"/>
        <pc:sldMkLst>
          <pc:docMk/>
          <pc:sldMk cId="785221003" sldId="918"/>
        </pc:sldMkLst>
        <pc:spChg chg="mod">
          <ac:chgData name="Sindija Kirsteine (LV)" userId="5f25501a-2215-4bb3-9d9c-8d1484ffa7c1" providerId="ADAL" clId="{93760D53-13C1-4B8B-92CA-E799D7E24E59}" dt="2024-03-04T09:46:23.221" v="1652"/>
          <ac:spMkLst>
            <pc:docMk/>
            <pc:sldMk cId="785221003" sldId="918"/>
            <ac:spMk id="18" creationId="{23E9260F-7D31-ECC7-43D3-C957B0AE80DF}"/>
          </ac:spMkLst>
        </pc:spChg>
        <pc:spChg chg="mod">
          <ac:chgData name="Sindija Kirsteine (LV)" userId="5f25501a-2215-4bb3-9d9c-8d1484ffa7c1" providerId="ADAL" clId="{93760D53-13C1-4B8B-92CA-E799D7E24E59}" dt="2024-03-04T08:49:39.470" v="491" actId="20577"/>
          <ac:spMkLst>
            <pc:docMk/>
            <pc:sldMk cId="785221003" sldId="918"/>
            <ac:spMk id="19" creationId="{827EABF6-479E-1D54-0AC1-0797AA292992}"/>
          </ac:spMkLst>
        </pc:spChg>
        <pc:spChg chg="mod">
          <ac:chgData name="Sindija Kirsteine (LV)" userId="5f25501a-2215-4bb3-9d9c-8d1484ffa7c1" providerId="ADAL" clId="{93760D53-13C1-4B8B-92CA-E799D7E24E59}" dt="2024-03-04T09:46:04.586" v="1643" actId="20577"/>
          <ac:spMkLst>
            <pc:docMk/>
            <pc:sldMk cId="785221003" sldId="918"/>
            <ac:spMk id="32" creationId="{498DF9C8-E99C-2B4F-A3C1-C58A792C99F7}"/>
          </ac:spMkLst>
        </pc:spChg>
        <pc:spChg chg="mod">
          <ac:chgData name="Sindija Kirsteine (LV)" userId="5f25501a-2215-4bb3-9d9c-8d1484ffa7c1" providerId="ADAL" clId="{93760D53-13C1-4B8B-92CA-E799D7E24E59}" dt="2024-03-04T10:05:39.482" v="2233" actId="20577"/>
          <ac:spMkLst>
            <pc:docMk/>
            <pc:sldMk cId="785221003" sldId="918"/>
            <ac:spMk id="55" creationId="{0AC02ECA-987D-40AF-BE7A-B239872F0524}"/>
          </ac:spMkLst>
        </pc:spChg>
        <pc:spChg chg="mod">
          <ac:chgData name="Sindija Kirsteine (LV)" userId="5f25501a-2215-4bb3-9d9c-8d1484ffa7c1" providerId="ADAL" clId="{93760D53-13C1-4B8B-92CA-E799D7E24E59}" dt="2024-03-04T10:05:40.484" v="2234" actId="20577"/>
          <ac:spMkLst>
            <pc:docMk/>
            <pc:sldMk cId="785221003" sldId="918"/>
            <ac:spMk id="56" creationId="{C3C28A52-D275-6E2C-BE22-283C8364819D}"/>
          </ac:spMkLst>
        </pc:spChg>
        <pc:spChg chg="mod">
          <ac:chgData name="Sindija Kirsteine (LV)" userId="5f25501a-2215-4bb3-9d9c-8d1484ffa7c1" providerId="ADAL" clId="{93760D53-13C1-4B8B-92CA-E799D7E24E59}" dt="2024-03-04T10:05:42.779" v="2236" actId="20577"/>
          <ac:spMkLst>
            <pc:docMk/>
            <pc:sldMk cId="785221003" sldId="918"/>
            <ac:spMk id="57" creationId="{B157BBC1-EAD4-45A3-5D5A-DD3191AD5488}"/>
          </ac:spMkLst>
        </pc:spChg>
        <pc:spChg chg="mod">
          <ac:chgData name="Sindija Kirsteine (LV)" userId="5f25501a-2215-4bb3-9d9c-8d1484ffa7c1" providerId="ADAL" clId="{93760D53-13C1-4B8B-92CA-E799D7E24E59}" dt="2024-03-04T10:05:43.589" v="2237" actId="20577"/>
          <ac:spMkLst>
            <pc:docMk/>
            <pc:sldMk cId="785221003" sldId="918"/>
            <ac:spMk id="58" creationId="{2BCD24FF-F127-6E9F-1E4E-2363B2E8176F}"/>
          </ac:spMkLst>
        </pc:spChg>
        <pc:spChg chg="mod">
          <ac:chgData name="Sindija Kirsteine (LV)" userId="5f25501a-2215-4bb3-9d9c-8d1484ffa7c1" providerId="ADAL" clId="{93760D53-13C1-4B8B-92CA-E799D7E24E59}" dt="2024-03-04T10:05:41.700" v="2235" actId="20577"/>
          <ac:spMkLst>
            <pc:docMk/>
            <pc:sldMk cId="785221003" sldId="918"/>
            <ac:spMk id="61" creationId="{E5F98DAA-B86C-DE09-039A-F11E1F0780A4}"/>
          </ac:spMkLst>
        </pc:spChg>
        <pc:spChg chg="mod">
          <ac:chgData name="Sindija Kirsteine (LV)" userId="5f25501a-2215-4bb3-9d9c-8d1484ffa7c1" providerId="ADAL" clId="{93760D53-13C1-4B8B-92CA-E799D7E24E59}" dt="2024-03-04T10:05:45.543" v="2238" actId="20577"/>
          <ac:spMkLst>
            <pc:docMk/>
            <pc:sldMk cId="785221003" sldId="918"/>
            <ac:spMk id="62" creationId="{D4227107-781D-25F3-67A7-75215C978573}"/>
          </ac:spMkLst>
        </pc:spChg>
      </pc:sldChg>
      <pc:sldChg chg="modSp mod modNotes">
        <pc:chgData name="Sindija Kirsteine (LV)" userId="5f25501a-2215-4bb3-9d9c-8d1484ffa7c1" providerId="ADAL" clId="{93760D53-13C1-4B8B-92CA-E799D7E24E59}" dt="2024-03-04T10:06:07.851" v="2253" actId="20577"/>
        <pc:sldMkLst>
          <pc:docMk/>
          <pc:sldMk cId="2008209705" sldId="919"/>
        </pc:sldMkLst>
        <pc:spChg chg="mod">
          <ac:chgData name="Sindija Kirsteine (LV)" userId="5f25501a-2215-4bb3-9d9c-8d1484ffa7c1" providerId="ADAL" clId="{93760D53-13C1-4B8B-92CA-E799D7E24E59}" dt="2024-03-04T10:06:05.463" v="2250" actId="20577"/>
          <ac:spMkLst>
            <pc:docMk/>
            <pc:sldMk cId="2008209705" sldId="919"/>
            <ac:spMk id="16" creationId="{30819613-CE74-49B6-0807-44FDBB81D466}"/>
          </ac:spMkLst>
        </pc:spChg>
        <pc:spChg chg="mod">
          <ac:chgData name="Sindija Kirsteine (LV)" userId="5f25501a-2215-4bb3-9d9c-8d1484ffa7c1" providerId="ADAL" clId="{93760D53-13C1-4B8B-92CA-E799D7E24E59}" dt="2024-03-04T08:57:38.077" v="599" actId="20577"/>
          <ac:spMkLst>
            <pc:docMk/>
            <pc:sldMk cId="2008209705" sldId="919"/>
            <ac:spMk id="18" creationId="{E1D4AC8F-0322-E8A8-E509-5AF71473A8F4}"/>
          </ac:spMkLst>
        </pc:spChg>
        <pc:spChg chg="mod">
          <ac:chgData name="Sindija Kirsteine (LV)" userId="5f25501a-2215-4bb3-9d9c-8d1484ffa7c1" providerId="ADAL" clId="{93760D53-13C1-4B8B-92CA-E799D7E24E59}" dt="2024-03-04T10:06:07.851" v="2253" actId="20577"/>
          <ac:spMkLst>
            <pc:docMk/>
            <pc:sldMk cId="2008209705" sldId="919"/>
            <ac:spMk id="20" creationId="{BCB0856A-D775-E9B2-A22B-A661D9F8D43C}"/>
          </ac:spMkLst>
        </pc:spChg>
        <pc:spChg chg="mod">
          <ac:chgData name="Sindija Kirsteine (LV)" userId="5f25501a-2215-4bb3-9d9c-8d1484ffa7c1" providerId="ADAL" clId="{93760D53-13C1-4B8B-92CA-E799D7E24E59}" dt="2024-03-04T08:57:44.870" v="605" actId="20577"/>
          <ac:spMkLst>
            <pc:docMk/>
            <pc:sldMk cId="2008209705" sldId="919"/>
            <ac:spMk id="22" creationId="{044C1CE5-09D8-63ED-7E23-4A59A70CC41B}"/>
          </ac:spMkLst>
        </pc:spChg>
        <pc:spChg chg="mod">
          <ac:chgData name="Sindija Kirsteine (LV)" userId="5f25501a-2215-4bb3-9d9c-8d1484ffa7c1" providerId="ADAL" clId="{93760D53-13C1-4B8B-92CA-E799D7E24E59}" dt="2024-03-04T08:30:38.651" v="4"/>
          <ac:spMkLst>
            <pc:docMk/>
            <pc:sldMk cId="2008209705" sldId="919"/>
            <ac:spMk id="44" creationId="{6FF10B2E-1E3F-70CE-7D27-FC202A31080A}"/>
          </ac:spMkLst>
        </pc:spChg>
        <pc:spChg chg="mod">
          <ac:chgData name="Sindija Kirsteine (LV)" userId="5f25501a-2215-4bb3-9d9c-8d1484ffa7c1" providerId="ADAL" clId="{93760D53-13C1-4B8B-92CA-E799D7E24E59}" dt="2024-03-04T09:47:19.550" v="1662"/>
          <ac:spMkLst>
            <pc:docMk/>
            <pc:sldMk cId="2008209705" sldId="919"/>
            <ac:spMk id="50" creationId="{A6E0EF21-F851-B0E9-4F3F-E386F3795999}"/>
          </ac:spMkLst>
        </pc:spChg>
      </pc:sldChg>
      <pc:sldChg chg="modSp mod">
        <pc:chgData name="Sindija Kirsteine (LV)" userId="5f25501a-2215-4bb3-9d9c-8d1484ffa7c1" providerId="ADAL" clId="{93760D53-13C1-4B8B-92CA-E799D7E24E59}" dt="2024-03-04T10:06:38.387" v="2271" actId="20577"/>
        <pc:sldMkLst>
          <pc:docMk/>
          <pc:sldMk cId="2755231185" sldId="920"/>
        </pc:sldMkLst>
        <pc:spChg chg="mod">
          <ac:chgData name="Sindija Kirsteine (LV)" userId="5f25501a-2215-4bb3-9d9c-8d1484ffa7c1" providerId="ADAL" clId="{93760D53-13C1-4B8B-92CA-E799D7E24E59}" dt="2024-03-04T10:06:32.836" v="2268" actId="20577"/>
          <ac:spMkLst>
            <pc:docMk/>
            <pc:sldMk cId="2755231185" sldId="920"/>
            <ac:spMk id="16" creationId="{30819613-CE74-49B6-0807-44FDBB81D466}"/>
          </ac:spMkLst>
        </pc:spChg>
        <pc:spChg chg="mod">
          <ac:chgData name="Sindija Kirsteine (LV)" userId="5f25501a-2215-4bb3-9d9c-8d1484ffa7c1" providerId="ADAL" clId="{93760D53-13C1-4B8B-92CA-E799D7E24E59}" dt="2024-03-04T09:00:43.636" v="698" actId="20577"/>
          <ac:spMkLst>
            <pc:docMk/>
            <pc:sldMk cId="2755231185" sldId="920"/>
            <ac:spMk id="18" creationId="{E1D4AC8F-0322-E8A8-E509-5AF71473A8F4}"/>
          </ac:spMkLst>
        </pc:spChg>
        <pc:spChg chg="mod">
          <ac:chgData name="Sindija Kirsteine (LV)" userId="5f25501a-2215-4bb3-9d9c-8d1484ffa7c1" providerId="ADAL" clId="{93760D53-13C1-4B8B-92CA-E799D7E24E59}" dt="2024-03-04T10:06:38.387" v="2271" actId="20577"/>
          <ac:spMkLst>
            <pc:docMk/>
            <pc:sldMk cId="2755231185" sldId="920"/>
            <ac:spMk id="20" creationId="{BCB0856A-D775-E9B2-A22B-A661D9F8D43C}"/>
          </ac:spMkLst>
        </pc:spChg>
        <pc:spChg chg="mod">
          <ac:chgData name="Sindija Kirsteine (LV)" userId="5f25501a-2215-4bb3-9d9c-8d1484ffa7c1" providerId="ADAL" clId="{93760D53-13C1-4B8B-92CA-E799D7E24E59}" dt="2024-03-04T09:00:58.124" v="706" actId="20577"/>
          <ac:spMkLst>
            <pc:docMk/>
            <pc:sldMk cId="2755231185" sldId="920"/>
            <ac:spMk id="22" creationId="{044C1CE5-09D8-63ED-7E23-4A59A70CC41B}"/>
          </ac:spMkLst>
        </pc:spChg>
        <pc:spChg chg="mod">
          <ac:chgData name="Sindija Kirsteine (LV)" userId="5f25501a-2215-4bb3-9d9c-8d1484ffa7c1" providerId="ADAL" clId="{93760D53-13C1-4B8B-92CA-E799D7E24E59}" dt="2024-03-04T09:48:15.421" v="1692"/>
          <ac:spMkLst>
            <pc:docMk/>
            <pc:sldMk cId="2755231185" sldId="920"/>
            <ac:spMk id="23" creationId="{F0F92295-EBAE-39D7-7494-D9035179A285}"/>
          </ac:spMkLst>
        </pc:spChg>
      </pc:sldChg>
      <pc:sldChg chg="addSp delSp modSp mod modNotes">
        <pc:chgData name="Sindija Kirsteine (LV)" userId="5f25501a-2215-4bb3-9d9c-8d1484ffa7c1" providerId="ADAL" clId="{93760D53-13C1-4B8B-92CA-E799D7E24E59}" dt="2024-03-04T10:06:26.445" v="2263" actId="20577"/>
        <pc:sldMkLst>
          <pc:docMk/>
          <pc:sldMk cId="1632897735" sldId="921"/>
        </pc:sldMkLst>
        <pc:spChg chg="mod">
          <ac:chgData name="Sindija Kirsteine (LV)" userId="5f25501a-2215-4bb3-9d9c-8d1484ffa7c1" providerId="ADAL" clId="{93760D53-13C1-4B8B-92CA-E799D7E24E59}" dt="2024-03-04T09:47:50.290" v="1679"/>
          <ac:spMkLst>
            <pc:docMk/>
            <pc:sldMk cId="1632897735" sldId="921"/>
            <ac:spMk id="23" creationId="{88B111F6-05FB-7044-2F8E-2C70FFCA0ABD}"/>
          </ac:spMkLst>
        </pc:spChg>
        <pc:spChg chg="mod">
          <ac:chgData name="Sindija Kirsteine (LV)" userId="5f25501a-2215-4bb3-9d9c-8d1484ffa7c1" providerId="ADAL" clId="{93760D53-13C1-4B8B-92CA-E799D7E24E59}" dt="2024-03-04T10:06:26.445" v="2263" actId="20577"/>
          <ac:spMkLst>
            <pc:docMk/>
            <pc:sldMk cId="1632897735" sldId="921"/>
            <ac:spMk id="40" creationId="{3C04D558-6349-59B4-4891-C3B362679252}"/>
          </ac:spMkLst>
        </pc:spChg>
        <pc:spChg chg="mod">
          <ac:chgData name="Sindija Kirsteine (LV)" userId="5f25501a-2215-4bb3-9d9c-8d1484ffa7c1" providerId="ADAL" clId="{93760D53-13C1-4B8B-92CA-E799D7E24E59}" dt="2024-03-04T08:59:15.504" v="655" actId="20577"/>
          <ac:spMkLst>
            <pc:docMk/>
            <pc:sldMk cId="1632897735" sldId="921"/>
            <ac:spMk id="41" creationId="{A5FCE91E-7750-1062-5437-D153B9C8E110}"/>
          </ac:spMkLst>
        </pc:spChg>
        <pc:spChg chg="add del mod">
          <ac:chgData name="Sindija Kirsteine (LV)" userId="5f25501a-2215-4bb3-9d9c-8d1484ffa7c1" providerId="ADAL" clId="{93760D53-13C1-4B8B-92CA-E799D7E24E59}" dt="2024-03-04T10:06:22.325" v="2259" actId="20577"/>
          <ac:spMkLst>
            <pc:docMk/>
            <pc:sldMk cId="1632897735" sldId="921"/>
            <ac:spMk id="42" creationId="{41F206C0-1514-9A56-1E69-C897346ADB21}"/>
          </ac:spMkLst>
        </pc:spChg>
        <pc:spChg chg="mod">
          <ac:chgData name="Sindija Kirsteine (LV)" userId="5f25501a-2215-4bb3-9d9c-8d1484ffa7c1" providerId="ADAL" clId="{93760D53-13C1-4B8B-92CA-E799D7E24E59}" dt="2024-03-04T08:59:01.830" v="645" actId="20577"/>
          <ac:spMkLst>
            <pc:docMk/>
            <pc:sldMk cId="1632897735" sldId="921"/>
            <ac:spMk id="43" creationId="{C333C631-7908-BAEB-F79D-7746A92C6B90}"/>
          </ac:spMkLst>
        </pc:spChg>
      </pc:sldChg>
      <pc:sldChg chg="modSp mod">
        <pc:chgData name="Sindija Kirsteine (LV)" userId="5f25501a-2215-4bb3-9d9c-8d1484ffa7c1" providerId="ADAL" clId="{93760D53-13C1-4B8B-92CA-E799D7E24E59}" dt="2024-03-04T10:07:10.429" v="2276" actId="20577"/>
        <pc:sldMkLst>
          <pc:docMk/>
          <pc:sldMk cId="3183596888" sldId="922"/>
        </pc:sldMkLst>
        <pc:spChg chg="mod">
          <ac:chgData name="Sindija Kirsteine (LV)" userId="5f25501a-2215-4bb3-9d9c-8d1484ffa7c1" providerId="ADAL" clId="{93760D53-13C1-4B8B-92CA-E799D7E24E59}" dt="2024-03-04T09:48:40.279" v="1702"/>
          <ac:spMkLst>
            <pc:docMk/>
            <pc:sldMk cId="3183596888" sldId="922"/>
            <ac:spMk id="2" creationId="{F1D6F790-6D5A-4BF8-B010-A12DBE713578}"/>
          </ac:spMkLst>
        </pc:spChg>
        <pc:spChg chg="mod">
          <ac:chgData name="Sindija Kirsteine (LV)" userId="5f25501a-2215-4bb3-9d9c-8d1484ffa7c1" providerId="ADAL" clId="{93760D53-13C1-4B8B-92CA-E799D7E24E59}" dt="2024-03-04T08:30:38.651" v="4"/>
          <ac:spMkLst>
            <pc:docMk/>
            <pc:sldMk cId="3183596888" sldId="922"/>
            <ac:spMk id="3" creationId="{F4CCF02E-F3C4-C376-8F56-61BD85A2E74B}"/>
          </ac:spMkLst>
        </pc:spChg>
        <pc:spChg chg="mod">
          <ac:chgData name="Sindija Kirsteine (LV)" userId="5f25501a-2215-4bb3-9d9c-8d1484ffa7c1" providerId="ADAL" clId="{93760D53-13C1-4B8B-92CA-E799D7E24E59}" dt="2024-03-04T09:03:12.966" v="746" actId="20577"/>
          <ac:spMkLst>
            <pc:docMk/>
            <pc:sldMk cId="3183596888" sldId="922"/>
            <ac:spMk id="17" creationId="{6FA36F9D-90F9-114F-5453-39394D16CFF6}"/>
          </ac:spMkLst>
        </pc:spChg>
        <pc:spChg chg="mod">
          <ac:chgData name="Sindija Kirsteine (LV)" userId="5f25501a-2215-4bb3-9d9c-8d1484ffa7c1" providerId="ADAL" clId="{93760D53-13C1-4B8B-92CA-E799D7E24E59}" dt="2024-03-04T10:06:44.699" v="2273" actId="20577"/>
          <ac:spMkLst>
            <pc:docMk/>
            <pc:sldMk cId="3183596888" sldId="922"/>
            <ac:spMk id="18" creationId="{D0D5258A-7E40-C195-904C-0D59B96D8721}"/>
          </ac:spMkLst>
        </pc:spChg>
        <pc:spChg chg="mod">
          <ac:chgData name="Sindija Kirsteine (LV)" userId="5f25501a-2215-4bb3-9d9c-8d1484ffa7c1" providerId="ADAL" clId="{93760D53-13C1-4B8B-92CA-E799D7E24E59}" dt="2024-03-04T10:06:46.229" v="2274" actId="20577"/>
          <ac:spMkLst>
            <pc:docMk/>
            <pc:sldMk cId="3183596888" sldId="922"/>
            <ac:spMk id="32" creationId="{4856FA89-D34A-DD8D-457A-FE1983E9ECD3}"/>
          </ac:spMkLst>
        </pc:spChg>
        <pc:spChg chg="mod">
          <ac:chgData name="Sindija Kirsteine (LV)" userId="5f25501a-2215-4bb3-9d9c-8d1484ffa7c1" providerId="ADAL" clId="{93760D53-13C1-4B8B-92CA-E799D7E24E59}" dt="2024-03-04T10:07:10.429" v="2276" actId="20577"/>
          <ac:spMkLst>
            <pc:docMk/>
            <pc:sldMk cId="3183596888" sldId="922"/>
            <ac:spMk id="33" creationId="{5F20B02B-319A-56A8-B3AD-0245CFA22F57}"/>
          </ac:spMkLst>
        </pc:spChg>
        <pc:spChg chg="mod">
          <ac:chgData name="Sindija Kirsteine (LV)" userId="5f25501a-2215-4bb3-9d9c-8d1484ffa7c1" providerId="ADAL" clId="{93760D53-13C1-4B8B-92CA-E799D7E24E59}" dt="2024-03-04T10:06:48.041" v="2275" actId="20577"/>
          <ac:spMkLst>
            <pc:docMk/>
            <pc:sldMk cId="3183596888" sldId="922"/>
            <ac:spMk id="37" creationId="{B4A1FCDF-F4EF-2C95-ABB1-CBEA3086D555}"/>
          </ac:spMkLst>
        </pc:spChg>
      </pc:sldChg>
      <pc:sldChg chg="modSp mod">
        <pc:chgData name="Sindija Kirsteine (LV)" userId="5f25501a-2215-4bb3-9d9c-8d1484ffa7c1" providerId="ADAL" clId="{93760D53-13C1-4B8B-92CA-E799D7E24E59}" dt="2024-03-04T08:31:20.582" v="13" actId="20577"/>
        <pc:sldMkLst>
          <pc:docMk/>
          <pc:sldMk cId="2333946943" sldId="924"/>
        </pc:sldMkLst>
        <pc:spChg chg="mod">
          <ac:chgData name="Sindija Kirsteine (LV)" userId="5f25501a-2215-4bb3-9d9c-8d1484ffa7c1" providerId="ADAL" clId="{93760D53-13C1-4B8B-92CA-E799D7E24E59}" dt="2024-03-04T08:31:18.155" v="11" actId="20577"/>
          <ac:spMkLst>
            <pc:docMk/>
            <pc:sldMk cId="2333946943" sldId="924"/>
            <ac:spMk id="7" creationId="{11B054F7-BD3F-CC04-8F9A-A47566ADA21E}"/>
          </ac:spMkLst>
        </pc:spChg>
        <pc:spChg chg="mod">
          <ac:chgData name="Sindija Kirsteine (LV)" userId="5f25501a-2215-4bb3-9d9c-8d1484ffa7c1" providerId="ADAL" clId="{93760D53-13C1-4B8B-92CA-E799D7E24E59}" dt="2024-03-04T08:31:20.582" v="13" actId="20577"/>
          <ac:spMkLst>
            <pc:docMk/>
            <pc:sldMk cId="2333946943" sldId="924"/>
            <ac:spMk id="44" creationId="{D451C3AD-BF06-A491-5B76-787F273C0C52}"/>
          </ac:spMkLst>
        </pc:spChg>
      </pc:sldChg>
      <pc:sldChg chg="modNotes">
        <pc:chgData name="Sindija Kirsteine (LV)" userId="5f25501a-2215-4bb3-9d9c-8d1484ffa7c1" providerId="ADAL" clId="{93760D53-13C1-4B8B-92CA-E799D7E24E59}" dt="2024-03-04T08:30:38.651" v="4"/>
        <pc:sldMkLst>
          <pc:docMk/>
          <pc:sldMk cId="4107124933" sldId="925"/>
        </pc:sldMkLst>
      </pc:sldChg>
      <pc:sldChg chg="modNotes">
        <pc:chgData name="Sindija Kirsteine (LV)" userId="5f25501a-2215-4bb3-9d9c-8d1484ffa7c1" providerId="ADAL" clId="{93760D53-13C1-4B8B-92CA-E799D7E24E59}" dt="2024-03-04T08:30:38.651" v="4"/>
        <pc:sldMkLst>
          <pc:docMk/>
          <pc:sldMk cId="76717427" sldId="926"/>
        </pc:sldMkLst>
      </pc:sldChg>
      <pc:sldChg chg="modNotes">
        <pc:chgData name="Sindija Kirsteine (LV)" userId="5f25501a-2215-4bb3-9d9c-8d1484ffa7c1" providerId="ADAL" clId="{93760D53-13C1-4B8B-92CA-E799D7E24E59}" dt="2024-03-04T08:30:38.651" v="4"/>
        <pc:sldMkLst>
          <pc:docMk/>
          <pc:sldMk cId="4266541344" sldId="927"/>
        </pc:sldMkLst>
      </pc:sldChg>
      <pc:sldChg chg="modSp modNotes">
        <pc:chgData name="Sindija Kirsteine (LV)" userId="5f25501a-2215-4bb3-9d9c-8d1484ffa7c1" providerId="ADAL" clId="{93760D53-13C1-4B8B-92CA-E799D7E24E59}" dt="2024-03-04T08:30:38.651" v="4"/>
        <pc:sldMkLst>
          <pc:docMk/>
          <pc:sldMk cId="2463822678" sldId="928"/>
        </pc:sldMkLst>
        <pc:spChg chg="mod">
          <ac:chgData name="Sindija Kirsteine (LV)" userId="5f25501a-2215-4bb3-9d9c-8d1484ffa7c1" providerId="ADAL" clId="{93760D53-13C1-4B8B-92CA-E799D7E24E59}" dt="2024-03-04T08:30:38.651" v="4"/>
          <ac:spMkLst>
            <pc:docMk/>
            <pc:sldMk cId="2463822678" sldId="928"/>
            <ac:spMk id="2" creationId="{00000000-0000-0000-0000-000000000000}"/>
          </ac:spMkLst>
        </pc:spChg>
      </pc:sldChg>
      <pc:sldChg chg="modSp mod delCm modNotes">
        <pc:chgData name="Sindija Kirsteine (LV)" userId="5f25501a-2215-4bb3-9d9c-8d1484ffa7c1" providerId="ADAL" clId="{93760D53-13C1-4B8B-92CA-E799D7E24E59}" dt="2024-03-04T10:10:52.554" v="2390"/>
        <pc:sldMkLst>
          <pc:docMk/>
          <pc:sldMk cId="3431578971" sldId="931"/>
        </pc:sldMkLst>
        <pc:spChg chg="mod">
          <ac:chgData name="Sindija Kirsteine (LV)" userId="5f25501a-2215-4bb3-9d9c-8d1484ffa7c1" providerId="ADAL" clId="{93760D53-13C1-4B8B-92CA-E799D7E24E59}" dt="2024-03-04T10:02:57.466" v="2169" actId="20577"/>
          <ac:spMkLst>
            <pc:docMk/>
            <pc:sldMk cId="3431578971" sldId="931"/>
            <ac:spMk id="21" creationId="{78DC1799-6B68-492D-BBE0-D7BECB3D58E6}"/>
          </ac:spMkLst>
        </pc:spChg>
        <pc:spChg chg="mod">
          <ac:chgData name="Sindija Kirsteine (LV)" userId="5f25501a-2215-4bb3-9d9c-8d1484ffa7c1" providerId="ADAL" clId="{93760D53-13C1-4B8B-92CA-E799D7E24E59}" dt="2024-03-04T08:42:15.462" v="234" actId="20577"/>
          <ac:spMkLst>
            <pc:docMk/>
            <pc:sldMk cId="3431578971" sldId="931"/>
            <ac:spMk id="25" creationId="{2B261BF4-92C6-462D-AA95-793AE54DD688}"/>
          </ac:spMkLst>
        </pc:spChg>
        <pc:spChg chg="mod">
          <ac:chgData name="Sindija Kirsteine (LV)" userId="5f25501a-2215-4bb3-9d9c-8d1484ffa7c1" providerId="ADAL" clId="{93760D53-13C1-4B8B-92CA-E799D7E24E59}" dt="2024-03-04T10:02:59.125" v="2170" actId="20577"/>
          <ac:spMkLst>
            <pc:docMk/>
            <pc:sldMk cId="3431578971" sldId="931"/>
            <ac:spMk id="100" creationId="{6196419E-02BA-D21D-1546-F1EC7C2A2D38}"/>
          </ac:spMkLst>
        </pc:spChg>
        <pc:spChg chg="mod">
          <ac:chgData name="Sindija Kirsteine (LV)" userId="5f25501a-2215-4bb3-9d9c-8d1484ffa7c1" providerId="ADAL" clId="{93760D53-13C1-4B8B-92CA-E799D7E24E59}" dt="2024-03-04T10:03:03.616" v="2172" actId="20577"/>
          <ac:spMkLst>
            <pc:docMk/>
            <pc:sldMk cId="3431578971" sldId="931"/>
            <ac:spMk id="101" creationId="{9ECA4B5E-E4A7-485E-4742-A7A24FB938CD}"/>
          </ac:spMkLst>
        </pc:spChg>
        <pc:spChg chg="mod">
          <ac:chgData name="Sindija Kirsteine (LV)" userId="5f25501a-2215-4bb3-9d9c-8d1484ffa7c1" providerId="ADAL" clId="{93760D53-13C1-4B8B-92CA-E799D7E24E59}" dt="2024-03-04T10:03:05.521" v="2173" actId="20577"/>
          <ac:spMkLst>
            <pc:docMk/>
            <pc:sldMk cId="3431578971" sldId="931"/>
            <ac:spMk id="102" creationId="{6C2839D0-72C0-7347-1A1F-A4C976165D3B}"/>
          </ac:spMkLst>
        </pc:spChg>
        <pc:spChg chg="mod">
          <ac:chgData name="Sindija Kirsteine (LV)" userId="5f25501a-2215-4bb3-9d9c-8d1484ffa7c1" providerId="ADAL" clId="{93760D53-13C1-4B8B-92CA-E799D7E24E59}" dt="2024-03-04T10:03:08.334" v="2175" actId="20577"/>
          <ac:spMkLst>
            <pc:docMk/>
            <pc:sldMk cId="3431578971" sldId="931"/>
            <ac:spMk id="103" creationId="{20162A1E-1272-A65F-9743-08A1C56CDD8F}"/>
          </ac:spMkLst>
        </pc:spChg>
        <pc:spChg chg="mod">
          <ac:chgData name="Sindija Kirsteine (LV)" userId="5f25501a-2215-4bb3-9d9c-8d1484ffa7c1" providerId="ADAL" clId="{93760D53-13C1-4B8B-92CA-E799D7E24E59}" dt="2024-03-04T10:03:10.464" v="2176" actId="20577"/>
          <ac:spMkLst>
            <pc:docMk/>
            <pc:sldMk cId="3431578971" sldId="931"/>
            <ac:spMk id="104" creationId="{C489AEBB-7FB2-EC1A-2DC3-18B08D331418}"/>
          </ac:spMkLst>
        </pc:spChg>
        <pc:spChg chg="mod">
          <ac:chgData name="Sindija Kirsteine (LV)" userId="5f25501a-2215-4bb3-9d9c-8d1484ffa7c1" providerId="ADAL" clId="{93760D53-13C1-4B8B-92CA-E799D7E24E59}" dt="2024-03-04T10:03:01.985" v="2171" actId="20577"/>
          <ac:spMkLst>
            <pc:docMk/>
            <pc:sldMk cId="3431578971" sldId="931"/>
            <ac:spMk id="107" creationId="{5E4C4BD5-129E-6AAF-672B-2CE5A9EA1809}"/>
          </ac:spMkLst>
        </pc:spChg>
        <pc:spChg chg="mod">
          <ac:chgData name="Sindija Kirsteine (LV)" userId="5f25501a-2215-4bb3-9d9c-8d1484ffa7c1" providerId="ADAL" clId="{93760D53-13C1-4B8B-92CA-E799D7E24E59}" dt="2024-03-04T10:03:07.063" v="2174" actId="20577"/>
          <ac:spMkLst>
            <pc:docMk/>
            <pc:sldMk cId="3431578971" sldId="931"/>
            <ac:spMk id="108" creationId="{374ED229-16EB-16FE-4EEB-6C75D32758A7}"/>
          </ac:spMkLst>
        </pc:s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93760D53-13C1-4B8B-92CA-E799D7E24E59}" dt="2024-03-04T10:10:52.554" v="2390"/>
              <pc2:cmMkLst xmlns:pc2="http://schemas.microsoft.com/office/powerpoint/2019/9/main/command">
                <pc:docMk/>
                <pc:sldMk cId="3431578971" sldId="931"/>
                <pc2:cmMk id="{E9ACF3A7-DB3E-4086-9C56-15ADFB324CFF}"/>
              </pc2:cmMkLst>
            </pc226:cmChg>
          </p:ext>
        </pc:extLst>
      </pc:sldChg>
      <pc:sldChg chg="modSp mod modNotes">
        <pc:chgData name="Sindija Kirsteine (LV)" userId="5f25501a-2215-4bb3-9d9c-8d1484ffa7c1" providerId="ADAL" clId="{93760D53-13C1-4B8B-92CA-E799D7E24E59}" dt="2024-03-04T10:07:33.141" v="2296" actId="20577"/>
        <pc:sldMkLst>
          <pc:docMk/>
          <pc:sldMk cId="2630099657" sldId="933"/>
        </pc:sldMkLst>
        <pc:spChg chg="mod">
          <ac:chgData name="Sindija Kirsteine (LV)" userId="5f25501a-2215-4bb3-9d9c-8d1484ffa7c1" providerId="ADAL" clId="{93760D53-13C1-4B8B-92CA-E799D7E24E59}" dt="2024-03-04T10:07:18.977" v="2281" actId="20577"/>
          <ac:spMkLst>
            <pc:docMk/>
            <pc:sldMk cId="2630099657" sldId="933"/>
            <ac:spMk id="16" creationId="{30819613-CE74-49B6-0807-44FDBB81D466}"/>
          </ac:spMkLst>
        </pc:spChg>
        <pc:spChg chg="mod">
          <ac:chgData name="Sindija Kirsteine (LV)" userId="5f25501a-2215-4bb3-9d9c-8d1484ffa7c1" providerId="ADAL" clId="{93760D53-13C1-4B8B-92CA-E799D7E24E59}" dt="2024-03-04T09:05:16.571" v="803" actId="20577"/>
          <ac:spMkLst>
            <pc:docMk/>
            <pc:sldMk cId="2630099657" sldId="933"/>
            <ac:spMk id="18" creationId="{E1D4AC8F-0322-E8A8-E509-5AF71473A8F4}"/>
          </ac:spMkLst>
        </pc:spChg>
        <pc:spChg chg="mod">
          <ac:chgData name="Sindija Kirsteine (LV)" userId="5f25501a-2215-4bb3-9d9c-8d1484ffa7c1" providerId="ADAL" clId="{93760D53-13C1-4B8B-92CA-E799D7E24E59}" dt="2024-03-04T10:07:33.141" v="2296" actId="20577"/>
          <ac:spMkLst>
            <pc:docMk/>
            <pc:sldMk cId="2630099657" sldId="933"/>
            <ac:spMk id="20" creationId="{BCB0856A-D775-E9B2-A22B-A661D9F8D43C}"/>
          </ac:spMkLst>
        </pc:spChg>
        <pc:spChg chg="mod">
          <ac:chgData name="Sindija Kirsteine (LV)" userId="5f25501a-2215-4bb3-9d9c-8d1484ffa7c1" providerId="ADAL" clId="{93760D53-13C1-4B8B-92CA-E799D7E24E59}" dt="2024-03-04T09:05:36.750" v="811" actId="20577"/>
          <ac:spMkLst>
            <pc:docMk/>
            <pc:sldMk cId="2630099657" sldId="933"/>
            <ac:spMk id="22" creationId="{044C1CE5-09D8-63ED-7E23-4A59A70CC41B}"/>
          </ac:spMkLst>
        </pc:spChg>
        <pc:spChg chg="mod">
          <ac:chgData name="Sindija Kirsteine (LV)" userId="5f25501a-2215-4bb3-9d9c-8d1484ffa7c1" providerId="ADAL" clId="{93760D53-13C1-4B8B-92CA-E799D7E24E59}" dt="2024-03-04T09:49:03.785" v="1708"/>
          <ac:spMkLst>
            <pc:docMk/>
            <pc:sldMk cId="2630099657" sldId="933"/>
            <ac:spMk id="23" creationId="{F0F92295-EBAE-39D7-7494-D9035179A285}"/>
          </ac:spMkLst>
        </pc:spChg>
        <pc:spChg chg="mod">
          <ac:chgData name="Sindija Kirsteine (LV)" userId="5f25501a-2215-4bb3-9d9c-8d1484ffa7c1" providerId="ADAL" clId="{93760D53-13C1-4B8B-92CA-E799D7E24E59}" dt="2024-03-04T08:30:38.651" v="4"/>
          <ac:spMkLst>
            <pc:docMk/>
            <pc:sldMk cId="2630099657" sldId="933"/>
            <ac:spMk id="36" creationId="{A8F39C25-781C-A7DA-387A-D92FCABEE1F5}"/>
          </ac:spMkLst>
        </pc:spChg>
        <pc:spChg chg="mod">
          <ac:chgData name="Sindija Kirsteine (LV)" userId="5f25501a-2215-4bb3-9d9c-8d1484ffa7c1" providerId="ADAL" clId="{93760D53-13C1-4B8B-92CA-E799D7E24E59}" dt="2024-03-04T08:30:38.651" v="4"/>
          <ac:spMkLst>
            <pc:docMk/>
            <pc:sldMk cId="2630099657" sldId="933"/>
            <ac:spMk id="37" creationId="{BD11DB78-D65B-9D3C-EED7-1721F1C9BCF6}"/>
          </ac:spMkLst>
        </pc:spChg>
      </pc:sldChg>
      <pc:sldChg chg="modSp mod modNotes">
        <pc:chgData name="Sindija Kirsteine (LV)" userId="5f25501a-2215-4bb3-9d9c-8d1484ffa7c1" providerId="ADAL" clId="{93760D53-13C1-4B8B-92CA-E799D7E24E59}" dt="2024-03-04T10:07:46.757" v="2307" actId="20577"/>
        <pc:sldMkLst>
          <pc:docMk/>
          <pc:sldMk cId="156182905" sldId="934"/>
        </pc:sldMkLst>
        <pc:spChg chg="mod">
          <ac:chgData name="Sindija Kirsteine (LV)" userId="5f25501a-2215-4bb3-9d9c-8d1484ffa7c1" providerId="ADAL" clId="{93760D53-13C1-4B8B-92CA-E799D7E24E59}" dt="2024-03-04T10:07:42.822" v="2302" actId="20577"/>
          <ac:spMkLst>
            <pc:docMk/>
            <pc:sldMk cId="156182905" sldId="934"/>
            <ac:spMk id="16" creationId="{30819613-CE74-49B6-0807-44FDBB81D466}"/>
          </ac:spMkLst>
        </pc:spChg>
        <pc:spChg chg="mod">
          <ac:chgData name="Sindija Kirsteine (LV)" userId="5f25501a-2215-4bb3-9d9c-8d1484ffa7c1" providerId="ADAL" clId="{93760D53-13C1-4B8B-92CA-E799D7E24E59}" dt="2024-03-04T09:11:59.703" v="865" actId="20577"/>
          <ac:spMkLst>
            <pc:docMk/>
            <pc:sldMk cId="156182905" sldId="934"/>
            <ac:spMk id="18" creationId="{E1D4AC8F-0322-E8A8-E509-5AF71473A8F4}"/>
          </ac:spMkLst>
        </pc:spChg>
        <pc:spChg chg="mod">
          <ac:chgData name="Sindija Kirsteine (LV)" userId="5f25501a-2215-4bb3-9d9c-8d1484ffa7c1" providerId="ADAL" clId="{93760D53-13C1-4B8B-92CA-E799D7E24E59}" dt="2024-03-04T10:07:46.757" v="2307" actId="20577"/>
          <ac:spMkLst>
            <pc:docMk/>
            <pc:sldMk cId="156182905" sldId="934"/>
            <ac:spMk id="20" creationId="{BCB0856A-D775-E9B2-A22B-A661D9F8D43C}"/>
          </ac:spMkLst>
        </pc:spChg>
        <pc:spChg chg="mod">
          <ac:chgData name="Sindija Kirsteine (LV)" userId="5f25501a-2215-4bb3-9d9c-8d1484ffa7c1" providerId="ADAL" clId="{93760D53-13C1-4B8B-92CA-E799D7E24E59}" dt="2024-03-04T08:30:38.651" v="4"/>
          <ac:spMkLst>
            <pc:docMk/>
            <pc:sldMk cId="156182905" sldId="934"/>
            <ac:spMk id="22" creationId="{044C1CE5-09D8-63ED-7E23-4A59A70CC41B}"/>
          </ac:spMkLst>
        </pc:spChg>
        <pc:spChg chg="mod">
          <ac:chgData name="Sindija Kirsteine (LV)" userId="5f25501a-2215-4bb3-9d9c-8d1484ffa7c1" providerId="ADAL" clId="{93760D53-13C1-4B8B-92CA-E799D7E24E59}" dt="2024-03-04T09:49:56.713" v="1727"/>
          <ac:spMkLst>
            <pc:docMk/>
            <pc:sldMk cId="156182905" sldId="934"/>
            <ac:spMk id="23" creationId="{F0F92295-EBAE-39D7-7494-D9035179A285}"/>
          </ac:spMkLst>
        </pc:spChg>
      </pc:sldChg>
      <pc:sldChg chg="modSp mod modNotes">
        <pc:chgData name="Sindija Kirsteine (LV)" userId="5f25501a-2215-4bb3-9d9c-8d1484ffa7c1" providerId="ADAL" clId="{93760D53-13C1-4B8B-92CA-E799D7E24E59}" dt="2024-03-04T10:07:59.492" v="2314" actId="20577"/>
        <pc:sldMkLst>
          <pc:docMk/>
          <pc:sldMk cId="2803239078" sldId="935"/>
        </pc:sldMkLst>
        <pc:spChg chg="mod">
          <ac:chgData name="Sindija Kirsteine (LV)" userId="5f25501a-2215-4bb3-9d9c-8d1484ffa7c1" providerId="ADAL" clId="{93760D53-13C1-4B8B-92CA-E799D7E24E59}" dt="2024-03-04T10:07:59.492" v="2314" actId="20577"/>
          <ac:spMkLst>
            <pc:docMk/>
            <pc:sldMk cId="2803239078" sldId="935"/>
            <ac:spMk id="16" creationId="{30819613-CE74-49B6-0807-44FDBB81D466}"/>
          </ac:spMkLst>
        </pc:spChg>
        <pc:spChg chg="mod">
          <ac:chgData name="Sindija Kirsteine (LV)" userId="5f25501a-2215-4bb3-9d9c-8d1484ffa7c1" providerId="ADAL" clId="{93760D53-13C1-4B8B-92CA-E799D7E24E59}" dt="2024-03-04T09:13:22.658" v="899" actId="20577"/>
          <ac:spMkLst>
            <pc:docMk/>
            <pc:sldMk cId="2803239078" sldId="935"/>
            <ac:spMk id="18" creationId="{E1D4AC8F-0322-E8A8-E509-5AF71473A8F4}"/>
          </ac:spMkLst>
        </pc:spChg>
        <pc:spChg chg="mod">
          <ac:chgData name="Sindija Kirsteine (LV)" userId="5f25501a-2215-4bb3-9d9c-8d1484ffa7c1" providerId="ADAL" clId="{93760D53-13C1-4B8B-92CA-E799D7E24E59}" dt="2024-03-04T09:50:15.858" v="1739"/>
          <ac:spMkLst>
            <pc:docMk/>
            <pc:sldMk cId="2803239078" sldId="935"/>
            <ac:spMk id="23" creationId="{F0F92295-EBAE-39D7-7494-D9035179A285}"/>
          </ac:spMkLst>
        </pc:spChg>
      </pc:sldChg>
      <pc:sldChg chg="modSp mod">
        <pc:chgData name="Sindija Kirsteine (LV)" userId="5f25501a-2215-4bb3-9d9c-8d1484ffa7c1" providerId="ADAL" clId="{93760D53-13C1-4B8B-92CA-E799D7E24E59}" dt="2024-03-04T10:08:30.427" v="2333" actId="20577"/>
        <pc:sldMkLst>
          <pc:docMk/>
          <pc:sldMk cId="1939332489" sldId="936"/>
        </pc:sldMkLst>
        <pc:spChg chg="mod">
          <ac:chgData name="Sindija Kirsteine (LV)" userId="5f25501a-2215-4bb3-9d9c-8d1484ffa7c1" providerId="ADAL" clId="{93760D53-13C1-4B8B-92CA-E799D7E24E59}" dt="2024-03-04T08:30:38.651" v="4"/>
          <ac:spMkLst>
            <pc:docMk/>
            <pc:sldMk cId="1939332489" sldId="936"/>
            <ac:spMk id="3" creationId="{F4CCF02E-F3C4-C376-8F56-61BD85A2E74B}"/>
          </ac:spMkLst>
        </pc:spChg>
        <pc:spChg chg="mod">
          <ac:chgData name="Sindija Kirsteine (LV)" userId="5f25501a-2215-4bb3-9d9c-8d1484ffa7c1" providerId="ADAL" clId="{93760D53-13C1-4B8B-92CA-E799D7E24E59}" dt="2024-03-04T10:08:30.427" v="2333" actId="20577"/>
          <ac:spMkLst>
            <pc:docMk/>
            <pc:sldMk cId="1939332489" sldId="936"/>
            <ac:spMk id="11" creationId="{ECEF24F5-E26D-2531-E4A1-337E326AC9CB}"/>
          </ac:spMkLst>
        </pc:spChg>
        <pc:spChg chg="mod">
          <ac:chgData name="Sindija Kirsteine (LV)" userId="5f25501a-2215-4bb3-9d9c-8d1484ffa7c1" providerId="ADAL" clId="{93760D53-13C1-4B8B-92CA-E799D7E24E59}" dt="2024-03-04T09:16:05.580" v="978" actId="20577"/>
          <ac:spMkLst>
            <pc:docMk/>
            <pc:sldMk cId="1939332489" sldId="936"/>
            <ac:spMk id="16" creationId="{25A25F16-3DF9-5BEF-8F70-42FAB50A6BCE}"/>
          </ac:spMkLst>
        </pc:spChg>
      </pc:sldChg>
      <pc:sldChg chg="modSp mod">
        <pc:chgData name="Sindija Kirsteine (LV)" userId="5f25501a-2215-4bb3-9d9c-8d1484ffa7c1" providerId="ADAL" clId="{93760D53-13C1-4B8B-92CA-E799D7E24E59}" dt="2024-03-04T10:08:10.274" v="2320" actId="20577"/>
        <pc:sldMkLst>
          <pc:docMk/>
          <pc:sldMk cId="1263375755" sldId="937"/>
        </pc:sldMkLst>
        <pc:spChg chg="mod">
          <ac:chgData name="Sindija Kirsteine (LV)" userId="5f25501a-2215-4bb3-9d9c-8d1484ffa7c1" providerId="ADAL" clId="{93760D53-13C1-4B8B-92CA-E799D7E24E59}" dt="2024-03-04T08:30:38.651" v="4"/>
          <ac:spMkLst>
            <pc:docMk/>
            <pc:sldMk cId="1263375755" sldId="937"/>
            <ac:spMk id="3" creationId="{F4CCF02E-F3C4-C376-8F56-61BD85A2E74B}"/>
          </ac:spMkLst>
        </pc:spChg>
        <pc:spChg chg="mod">
          <ac:chgData name="Sindija Kirsteine (LV)" userId="5f25501a-2215-4bb3-9d9c-8d1484ffa7c1" providerId="ADAL" clId="{93760D53-13C1-4B8B-92CA-E799D7E24E59}" dt="2024-03-04T10:08:10.274" v="2320" actId="20577"/>
          <ac:spMkLst>
            <pc:docMk/>
            <pc:sldMk cId="1263375755" sldId="937"/>
            <ac:spMk id="11" creationId="{ECEF24F5-E26D-2531-E4A1-337E326AC9CB}"/>
          </ac:spMkLst>
        </pc:spChg>
        <pc:spChg chg="mod">
          <ac:chgData name="Sindija Kirsteine (LV)" userId="5f25501a-2215-4bb3-9d9c-8d1484ffa7c1" providerId="ADAL" clId="{93760D53-13C1-4B8B-92CA-E799D7E24E59}" dt="2024-03-04T09:15:02.338" v="928" actId="20577"/>
          <ac:spMkLst>
            <pc:docMk/>
            <pc:sldMk cId="1263375755" sldId="937"/>
            <ac:spMk id="16" creationId="{25A25F16-3DF9-5BEF-8F70-42FAB50A6BCE}"/>
          </ac:spMkLst>
        </pc:spChg>
      </pc:sldChg>
      <pc:sldChg chg="modSp mod">
        <pc:chgData name="Sindija Kirsteine (LV)" userId="5f25501a-2215-4bb3-9d9c-8d1484ffa7c1" providerId="ADAL" clId="{93760D53-13C1-4B8B-92CA-E799D7E24E59}" dt="2024-03-04T10:08:53.203" v="2348" actId="20577"/>
        <pc:sldMkLst>
          <pc:docMk/>
          <pc:sldMk cId="2976985460" sldId="938"/>
        </pc:sldMkLst>
        <pc:spChg chg="mod">
          <ac:chgData name="Sindija Kirsteine (LV)" userId="5f25501a-2215-4bb3-9d9c-8d1484ffa7c1" providerId="ADAL" clId="{93760D53-13C1-4B8B-92CA-E799D7E24E59}" dt="2024-03-04T08:30:38.651" v="4"/>
          <ac:spMkLst>
            <pc:docMk/>
            <pc:sldMk cId="2976985460" sldId="938"/>
            <ac:spMk id="3" creationId="{F4CCF02E-F3C4-C376-8F56-61BD85A2E74B}"/>
          </ac:spMkLst>
        </pc:spChg>
        <pc:spChg chg="mod">
          <ac:chgData name="Sindija Kirsteine (LV)" userId="5f25501a-2215-4bb3-9d9c-8d1484ffa7c1" providerId="ADAL" clId="{93760D53-13C1-4B8B-92CA-E799D7E24E59}" dt="2024-03-04T10:08:53.203" v="2348" actId="20577"/>
          <ac:spMkLst>
            <pc:docMk/>
            <pc:sldMk cId="2976985460" sldId="938"/>
            <ac:spMk id="11" creationId="{ECEF24F5-E26D-2531-E4A1-337E326AC9CB}"/>
          </ac:spMkLst>
        </pc:spChg>
        <pc:spChg chg="mod">
          <ac:chgData name="Sindija Kirsteine (LV)" userId="5f25501a-2215-4bb3-9d9c-8d1484ffa7c1" providerId="ADAL" clId="{93760D53-13C1-4B8B-92CA-E799D7E24E59}" dt="2024-03-04T09:16:38.219" v="1008" actId="20577"/>
          <ac:spMkLst>
            <pc:docMk/>
            <pc:sldMk cId="2976985460" sldId="938"/>
            <ac:spMk id="16" creationId="{25A25F16-3DF9-5BEF-8F70-42FAB50A6BCE}"/>
          </ac:spMkLst>
        </pc:spChg>
      </pc:sldChg>
      <pc:sldChg chg="modSp mod modCm modNotes">
        <pc:chgData name="Sindija Kirsteine (LV)" userId="5f25501a-2215-4bb3-9d9c-8d1484ffa7c1" providerId="ADAL" clId="{93760D53-13C1-4B8B-92CA-E799D7E24E59}" dt="2024-03-04T10:09:01.290" v="2355" actId="20577"/>
        <pc:sldMkLst>
          <pc:docMk/>
          <pc:sldMk cId="558100583" sldId="939"/>
        </pc:sldMkLst>
        <pc:spChg chg="mod">
          <ac:chgData name="Sindija Kirsteine (LV)" userId="5f25501a-2215-4bb3-9d9c-8d1484ffa7c1" providerId="ADAL" clId="{93760D53-13C1-4B8B-92CA-E799D7E24E59}" dt="2024-03-04T10:08:57.859" v="2352" actId="20577"/>
          <ac:spMkLst>
            <pc:docMk/>
            <pc:sldMk cId="558100583" sldId="939"/>
            <ac:spMk id="16" creationId="{30819613-CE74-49B6-0807-44FDBB81D466}"/>
          </ac:spMkLst>
        </pc:spChg>
        <pc:spChg chg="mod">
          <ac:chgData name="Sindija Kirsteine (LV)" userId="5f25501a-2215-4bb3-9d9c-8d1484ffa7c1" providerId="ADAL" clId="{93760D53-13C1-4B8B-92CA-E799D7E24E59}" dt="2024-03-04T09:17:44.171" v="1046" actId="20577"/>
          <ac:spMkLst>
            <pc:docMk/>
            <pc:sldMk cId="558100583" sldId="939"/>
            <ac:spMk id="18" creationId="{E1D4AC8F-0322-E8A8-E509-5AF71473A8F4}"/>
          </ac:spMkLst>
        </pc:spChg>
        <pc:spChg chg="mod">
          <ac:chgData name="Sindija Kirsteine (LV)" userId="5f25501a-2215-4bb3-9d9c-8d1484ffa7c1" providerId="ADAL" clId="{93760D53-13C1-4B8B-92CA-E799D7E24E59}" dt="2024-03-04T10:09:01.290" v="2355" actId="20577"/>
          <ac:spMkLst>
            <pc:docMk/>
            <pc:sldMk cId="558100583" sldId="939"/>
            <ac:spMk id="20" creationId="{BCB0856A-D775-E9B2-A22B-A661D9F8D43C}"/>
          </ac:spMkLst>
        </pc:spChg>
        <pc:spChg chg="mod">
          <ac:chgData name="Sindija Kirsteine (LV)" userId="5f25501a-2215-4bb3-9d9c-8d1484ffa7c1" providerId="ADAL" clId="{93760D53-13C1-4B8B-92CA-E799D7E24E59}" dt="2024-03-04T09:18:03.672" v="1060" actId="20577"/>
          <ac:spMkLst>
            <pc:docMk/>
            <pc:sldMk cId="558100583" sldId="939"/>
            <ac:spMk id="22" creationId="{044C1CE5-09D8-63ED-7E23-4A59A70CC41B}"/>
          </ac:spMkLst>
        </pc:spChg>
        <pc:spChg chg="mod">
          <ac:chgData name="Sindija Kirsteine (LV)" userId="5f25501a-2215-4bb3-9d9c-8d1484ffa7c1" providerId="ADAL" clId="{93760D53-13C1-4B8B-92CA-E799D7E24E59}" dt="2024-03-04T09:53:58.093" v="1818"/>
          <ac:spMkLst>
            <pc:docMk/>
            <pc:sldMk cId="558100583" sldId="939"/>
            <ac:spMk id="23" creationId="{F0F92295-EBAE-39D7-7494-D9035179A285}"/>
          </ac:spMkLst>
        </pc:spChg>
        <pc:extLst>
          <p:ext xmlns:p="http://schemas.openxmlformats.org/presentationml/2006/main" uri="{D6D511B9-2390-475A-947B-AFAB55BFBCF1}">
            <pc226:cmChg xmlns:pc226="http://schemas.microsoft.com/office/powerpoint/2022/06/main/command" chg="mod">
              <pc226:chgData name="Sindija Kirsteine (LV)" userId="5f25501a-2215-4bb3-9d9c-8d1484ffa7c1" providerId="ADAL" clId="{93760D53-13C1-4B8B-92CA-E799D7E24E59}" dt="2024-03-04T10:08:57.859" v="2352" actId="20577"/>
              <pc2:cmMkLst xmlns:pc2="http://schemas.microsoft.com/office/powerpoint/2019/9/main/command">
                <pc:docMk/>
                <pc:sldMk cId="558100583" sldId="939"/>
                <pc2:cmMk id="{B1F41855-E807-4805-BAAB-9374EF31217B}"/>
              </pc2:cmMkLst>
            </pc226:cmChg>
          </p:ext>
        </pc:extLst>
      </pc:sldChg>
      <pc:sldChg chg="modSp mod modCm modNotes">
        <pc:chgData name="Sindija Kirsteine (LV)" userId="5f25501a-2215-4bb3-9d9c-8d1484ffa7c1" providerId="ADAL" clId="{93760D53-13C1-4B8B-92CA-E799D7E24E59}" dt="2024-03-04T10:09:29.199" v="2360" actId="948"/>
        <pc:sldMkLst>
          <pc:docMk/>
          <pc:sldMk cId="2169785454" sldId="940"/>
        </pc:sldMkLst>
        <pc:spChg chg="mod">
          <ac:chgData name="Sindija Kirsteine (LV)" userId="5f25501a-2215-4bb3-9d9c-8d1484ffa7c1" providerId="ADAL" clId="{93760D53-13C1-4B8B-92CA-E799D7E24E59}" dt="2024-03-04T10:09:29.199" v="2360" actId="948"/>
          <ac:spMkLst>
            <pc:docMk/>
            <pc:sldMk cId="2169785454" sldId="940"/>
            <ac:spMk id="16" creationId="{30819613-CE74-49B6-0807-44FDBB81D466}"/>
          </ac:spMkLst>
        </pc:spChg>
        <pc:spChg chg="mod">
          <ac:chgData name="Sindija Kirsteine (LV)" userId="5f25501a-2215-4bb3-9d9c-8d1484ffa7c1" providerId="ADAL" clId="{93760D53-13C1-4B8B-92CA-E799D7E24E59}" dt="2024-03-04T09:56:42.280" v="2033"/>
          <ac:spMkLst>
            <pc:docMk/>
            <pc:sldMk cId="2169785454" sldId="940"/>
            <ac:spMk id="23" creationId="{F0F92295-EBAE-39D7-7494-D9035179A285}"/>
          </ac:spMkLst>
        </pc:spChg>
        <pc:extLst>
          <p:ext xmlns:p="http://schemas.openxmlformats.org/presentationml/2006/main" uri="{D6D511B9-2390-475A-947B-AFAB55BFBCF1}">
            <pc226:cmChg xmlns:pc226="http://schemas.microsoft.com/office/powerpoint/2022/06/main/command" chg="mod">
              <pc226:chgData name="Sindija Kirsteine (LV)" userId="5f25501a-2215-4bb3-9d9c-8d1484ffa7c1" providerId="ADAL" clId="{93760D53-13C1-4B8B-92CA-E799D7E24E59}" dt="2024-03-04T10:00:10.126" v="2127" actId="20577"/>
              <pc2:cmMkLst xmlns:pc2="http://schemas.microsoft.com/office/powerpoint/2019/9/main/command">
                <pc:docMk/>
                <pc:sldMk cId="2169785454" sldId="940"/>
                <pc2:cmMk id="{3A4D3BAF-8104-4495-8DE3-4015667E4BE1}"/>
              </pc2:cmMkLst>
            </pc226:cmChg>
          </p:ext>
        </pc:extLst>
      </pc:sldChg>
      <pc:sldChg chg="modSp mod modNotes">
        <pc:chgData name="Sindija Kirsteine (LV)" userId="5f25501a-2215-4bb3-9d9c-8d1484ffa7c1" providerId="ADAL" clId="{93760D53-13C1-4B8B-92CA-E799D7E24E59}" dt="2024-03-04T10:09:40.797" v="2362" actId="948"/>
        <pc:sldMkLst>
          <pc:docMk/>
          <pc:sldMk cId="4229434319" sldId="941"/>
        </pc:sldMkLst>
        <pc:spChg chg="mod">
          <ac:chgData name="Sindija Kirsteine (LV)" userId="5f25501a-2215-4bb3-9d9c-8d1484ffa7c1" providerId="ADAL" clId="{93760D53-13C1-4B8B-92CA-E799D7E24E59}" dt="2024-03-04T10:09:40.797" v="2362" actId="948"/>
          <ac:spMkLst>
            <pc:docMk/>
            <pc:sldMk cId="4229434319" sldId="941"/>
            <ac:spMk id="16" creationId="{30819613-CE74-49B6-0807-44FDBB81D466}"/>
          </ac:spMkLst>
        </pc:spChg>
        <pc:spChg chg="mod">
          <ac:chgData name="Sindija Kirsteine (LV)" userId="5f25501a-2215-4bb3-9d9c-8d1484ffa7c1" providerId="ADAL" clId="{93760D53-13C1-4B8B-92CA-E799D7E24E59}" dt="2024-03-04T09:20:22.923" v="1111" actId="20577"/>
          <ac:spMkLst>
            <pc:docMk/>
            <pc:sldMk cId="4229434319" sldId="941"/>
            <ac:spMk id="18" creationId="{E1D4AC8F-0322-E8A8-E509-5AF71473A8F4}"/>
          </ac:spMkLst>
        </pc:spChg>
        <pc:spChg chg="mod">
          <ac:chgData name="Sindija Kirsteine (LV)" userId="5f25501a-2215-4bb3-9d9c-8d1484ffa7c1" providerId="ADAL" clId="{93760D53-13C1-4B8B-92CA-E799D7E24E59}" dt="2024-03-04T10:00:16.567" v="2129"/>
          <ac:spMkLst>
            <pc:docMk/>
            <pc:sldMk cId="4229434319" sldId="941"/>
            <ac:spMk id="23" creationId="{F0F92295-EBAE-39D7-7494-D9035179A285}"/>
          </ac:spMkLst>
        </pc:spChg>
      </pc:sldChg>
      <pc:sldChg chg="modSp mod modNotes">
        <pc:chgData name="Sindija Kirsteine (LV)" userId="5f25501a-2215-4bb3-9d9c-8d1484ffa7c1" providerId="ADAL" clId="{93760D53-13C1-4B8B-92CA-E799D7E24E59}" dt="2024-03-04T10:00:47.596" v="2133" actId="20577"/>
        <pc:sldMkLst>
          <pc:docMk/>
          <pc:sldMk cId="3615584869" sldId="942"/>
        </pc:sldMkLst>
        <pc:spChg chg="mod">
          <ac:chgData name="Sindija Kirsteine (LV)" userId="5f25501a-2215-4bb3-9d9c-8d1484ffa7c1" providerId="ADAL" clId="{93760D53-13C1-4B8B-92CA-E799D7E24E59}" dt="2024-03-04T09:21:05.228" v="1134" actId="20577"/>
          <ac:spMkLst>
            <pc:docMk/>
            <pc:sldMk cId="3615584869" sldId="942"/>
            <ac:spMk id="8" creationId="{DE394745-7D20-7CFE-FA0E-311E6546C320}"/>
          </ac:spMkLst>
        </pc:spChg>
        <pc:spChg chg="mod">
          <ac:chgData name="Sindija Kirsteine (LV)" userId="5f25501a-2215-4bb3-9d9c-8d1484ffa7c1" providerId="ADAL" clId="{93760D53-13C1-4B8B-92CA-E799D7E24E59}" dt="2024-03-04T09:21:25.791" v="1153" actId="20577"/>
          <ac:spMkLst>
            <pc:docMk/>
            <pc:sldMk cId="3615584869" sldId="942"/>
            <ac:spMk id="10" creationId="{CEB10E6B-E2C2-E173-D397-F7696E76B2B3}"/>
          </ac:spMkLst>
        </pc:spChg>
        <pc:spChg chg="mod">
          <ac:chgData name="Sindija Kirsteine (LV)" userId="5f25501a-2215-4bb3-9d9c-8d1484ffa7c1" providerId="ADAL" clId="{93760D53-13C1-4B8B-92CA-E799D7E24E59}" dt="2024-03-04T09:21:14.531" v="1140" actId="20577"/>
          <ac:spMkLst>
            <pc:docMk/>
            <pc:sldMk cId="3615584869" sldId="942"/>
            <ac:spMk id="14" creationId="{259DB89D-0663-813E-2C04-0B4D674C635D}"/>
          </ac:spMkLst>
        </pc:spChg>
        <pc:spChg chg="mod">
          <ac:chgData name="Sindija Kirsteine (LV)" userId="5f25501a-2215-4bb3-9d9c-8d1484ffa7c1" providerId="ADAL" clId="{93760D53-13C1-4B8B-92CA-E799D7E24E59}" dt="2024-03-04T09:21:34.048" v="1161" actId="20577"/>
          <ac:spMkLst>
            <pc:docMk/>
            <pc:sldMk cId="3615584869" sldId="942"/>
            <ac:spMk id="15" creationId="{CD0345AC-E5CC-E9A5-9519-EA39D36AEABB}"/>
          </ac:spMkLst>
        </pc:spChg>
        <pc:spChg chg="mod">
          <ac:chgData name="Sindija Kirsteine (LV)" userId="5f25501a-2215-4bb3-9d9c-8d1484ffa7c1" providerId="ADAL" clId="{93760D53-13C1-4B8B-92CA-E799D7E24E59}" dt="2024-03-04T10:00:47.596" v="2133" actId="20577"/>
          <ac:spMkLst>
            <pc:docMk/>
            <pc:sldMk cId="3615584869" sldId="942"/>
            <ac:spMk id="16" creationId="{30819613-CE74-49B6-0807-44FDBB81D466}"/>
          </ac:spMkLst>
        </pc:spChg>
        <pc:spChg chg="mod">
          <ac:chgData name="Sindija Kirsteine (LV)" userId="5f25501a-2215-4bb3-9d9c-8d1484ffa7c1" providerId="ADAL" clId="{93760D53-13C1-4B8B-92CA-E799D7E24E59}" dt="2024-03-04T09:21:19.095" v="1146" actId="20577"/>
          <ac:spMkLst>
            <pc:docMk/>
            <pc:sldMk cId="3615584869" sldId="942"/>
            <ac:spMk id="18" creationId="{E1D4AC8F-0322-E8A8-E509-5AF71473A8F4}"/>
          </ac:spMkLst>
        </pc:spChg>
        <pc:spChg chg="mod">
          <ac:chgData name="Sindija Kirsteine (LV)" userId="5f25501a-2215-4bb3-9d9c-8d1484ffa7c1" providerId="ADAL" clId="{93760D53-13C1-4B8B-92CA-E799D7E24E59}" dt="2024-03-04T10:00:26.339" v="2131"/>
          <ac:spMkLst>
            <pc:docMk/>
            <pc:sldMk cId="3615584869" sldId="942"/>
            <ac:spMk id="23" creationId="{F0F92295-EBAE-39D7-7494-D9035179A285}"/>
          </ac:spMkLst>
        </pc:spChg>
      </pc:sldChg>
      <pc:sldChg chg="modSp mod">
        <pc:chgData name="Sindija Kirsteine (LV)" userId="5f25501a-2215-4bb3-9d9c-8d1484ffa7c1" providerId="ADAL" clId="{93760D53-13C1-4B8B-92CA-E799D7E24E59}" dt="2024-03-04T10:00:57.541" v="2135"/>
        <pc:sldMkLst>
          <pc:docMk/>
          <pc:sldMk cId="256155706" sldId="943"/>
        </pc:sldMkLst>
        <pc:spChg chg="mod">
          <ac:chgData name="Sindija Kirsteine (LV)" userId="5f25501a-2215-4bb3-9d9c-8d1484ffa7c1" providerId="ADAL" clId="{93760D53-13C1-4B8B-92CA-E799D7E24E59}" dt="2024-03-04T08:30:38.651" v="4"/>
          <ac:spMkLst>
            <pc:docMk/>
            <pc:sldMk cId="256155706" sldId="943"/>
            <ac:spMk id="3" creationId="{F4CCF02E-F3C4-C376-8F56-61BD85A2E74B}"/>
          </ac:spMkLst>
        </pc:spChg>
        <pc:spChg chg="mod">
          <ac:chgData name="Sindija Kirsteine (LV)" userId="5f25501a-2215-4bb3-9d9c-8d1484ffa7c1" providerId="ADAL" clId="{93760D53-13C1-4B8B-92CA-E799D7E24E59}" dt="2024-03-04T10:00:57.541" v="2135"/>
          <ac:spMkLst>
            <pc:docMk/>
            <pc:sldMk cId="256155706" sldId="943"/>
            <ac:spMk id="6" creationId="{898887DF-9190-F283-B120-8AE08B7645FA}"/>
          </ac:spMkLst>
        </pc:spChg>
        <pc:spChg chg="mod">
          <ac:chgData name="Sindija Kirsteine (LV)" userId="5f25501a-2215-4bb3-9d9c-8d1484ffa7c1" providerId="ADAL" clId="{93760D53-13C1-4B8B-92CA-E799D7E24E59}" dt="2024-03-04T09:21:52.431" v="1177" actId="20577"/>
          <ac:spMkLst>
            <pc:docMk/>
            <pc:sldMk cId="256155706" sldId="943"/>
            <ac:spMk id="8" creationId="{8F84A1C1-A3B2-78F7-2F05-EA937E442831}"/>
          </ac:spMkLst>
        </pc:spChg>
        <pc:spChg chg="mod">
          <ac:chgData name="Sindija Kirsteine (LV)" userId="5f25501a-2215-4bb3-9d9c-8d1484ffa7c1" providerId="ADAL" clId="{93760D53-13C1-4B8B-92CA-E799D7E24E59}" dt="2024-03-04T09:22:08.568" v="1189" actId="20577"/>
          <ac:spMkLst>
            <pc:docMk/>
            <pc:sldMk cId="256155706" sldId="943"/>
            <ac:spMk id="25" creationId="{2B261BF4-92C6-462D-AA95-793AE54DD688}"/>
          </ac:spMkLst>
        </pc:spChg>
      </pc:sldChg>
      <pc:sldChg chg="modSp mod">
        <pc:chgData name="Sindija Kirsteine (LV)" userId="5f25501a-2215-4bb3-9d9c-8d1484ffa7c1" providerId="ADAL" clId="{93760D53-13C1-4B8B-92CA-E799D7E24E59}" dt="2024-03-04T10:01:27.521" v="2145" actId="20577"/>
        <pc:sldMkLst>
          <pc:docMk/>
          <pc:sldMk cId="2143110826" sldId="944"/>
        </pc:sldMkLst>
        <pc:spChg chg="mod">
          <ac:chgData name="Sindija Kirsteine (LV)" userId="5f25501a-2215-4bb3-9d9c-8d1484ffa7c1" providerId="ADAL" clId="{93760D53-13C1-4B8B-92CA-E799D7E24E59}" dt="2024-03-04T08:30:38.651" v="4"/>
          <ac:spMkLst>
            <pc:docMk/>
            <pc:sldMk cId="2143110826" sldId="944"/>
            <ac:spMk id="3" creationId="{F4CCF02E-F3C4-C376-8F56-61BD85A2E74B}"/>
          </ac:spMkLst>
        </pc:spChg>
        <pc:spChg chg="mod">
          <ac:chgData name="Sindija Kirsteine (LV)" userId="5f25501a-2215-4bb3-9d9c-8d1484ffa7c1" providerId="ADAL" clId="{93760D53-13C1-4B8B-92CA-E799D7E24E59}" dt="2024-03-04T10:01:19.085" v="2139"/>
          <ac:spMkLst>
            <pc:docMk/>
            <pc:sldMk cId="2143110826" sldId="944"/>
            <ac:spMk id="6" creationId="{F5AA410E-3357-BB30-92B8-F2EA09E4E394}"/>
          </ac:spMkLst>
        </pc:spChg>
        <pc:spChg chg="mod">
          <ac:chgData name="Sindija Kirsteine (LV)" userId="5f25501a-2215-4bb3-9d9c-8d1484ffa7c1" providerId="ADAL" clId="{93760D53-13C1-4B8B-92CA-E799D7E24E59}" dt="2024-03-04T10:01:27.521" v="2145" actId="20577"/>
          <ac:spMkLst>
            <pc:docMk/>
            <pc:sldMk cId="2143110826" sldId="944"/>
            <ac:spMk id="8" creationId="{8F84A1C1-A3B2-78F7-2F05-EA937E442831}"/>
          </ac:spMkLst>
        </pc:spChg>
        <pc:spChg chg="mod">
          <ac:chgData name="Sindija Kirsteine (LV)" userId="5f25501a-2215-4bb3-9d9c-8d1484ffa7c1" providerId="ADAL" clId="{93760D53-13C1-4B8B-92CA-E799D7E24E59}" dt="2024-03-04T09:32:31.803" v="1297" actId="122"/>
          <ac:spMkLst>
            <pc:docMk/>
            <pc:sldMk cId="2143110826" sldId="944"/>
            <ac:spMk id="10" creationId="{6F55AA3F-6103-110B-C367-10711AC49356}"/>
          </ac:spMkLst>
        </pc:spChg>
        <pc:spChg chg="mod">
          <ac:chgData name="Sindija Kirsteine (LV)" userId="5f25501a-2215-4bb3-9d9c-8d1484ffa7c1" providerId="ADAL" clId="{93760D53-13C1-4B8B-92CA-E799D7E24E59}" dt="2024-03-04T08:30:38.651" v="4"/>
          <ac:spMkLst>
            <pc:docMk/>
            <pc:sldMk cId="2143110826" sldId="944"/>
            <ac:spMk id="19" creationId="{6540A5E1-A41A-D662-410E-E26837FEC171}"/>
          </ac:spMkLst>
        </pc:spChg>
        <pc:spChg chg="mod">
          <ac:chgData name="Sindija Kirsteine (LV)" userId="5f25501a-2215-4bb3-9d9c-8d1484ffa7c1" providerId="ADAL" clId="{93760D53-13C1-4B8B-92CA-E799D7E24E59}" dt="2024-03-04T09:23:30.351" v="1247" actId="20577"/>
          <ac:spMkLst>
            <pc:docMk/>
            <pc:sldMk cId="2143110826" sldId="944"/>
            <ac:spMk id="25" creationId="{2B261BF4-92C6-462D-AA95-793AE54DD688}"/>
          </ac:spMkLst>
        </pc:spChg>
      </pc:sldChg>
      <pc:sldChg chg="modSp mod">
        <pc:chgData name="Sindija Kirsteine (LV)" userId="5f25501a-2215-4bb3-9d9c-8d1484ffa7c1" providerId="ADAL" clId="{93760D53-13C1-4B8B-92CA-E799D7E24E59}" dt="2024-03-04T10:01:41.442" v="2151" actId="20577"/>
        <pc:sldMkLst>
          <pc:docMk/>
          <pc:sldMk cId="2603595337" sldId="945"/>
        </pc:sldMkLst>
        <pc:spChg chg="mod">
          <ac:chgData name="Sindija Kirsteine (LV)" userId="5f25501a-2215-4bb3-9d9c-8d1484ffa7c1" providerId="ADAL" clId="{93760D53-13C1-4B8B-92CA-E799D7E24E59}" dt="2024-03-04T08:30:38.651" v="4"/>
          <ac:spMkLst>
            <pc:docMk/>
            <pc:sldMk cId="2603595337" sldId="945"/>
            <ac:spMk id="3" creationId="{F4CCF02E-F3C4-C376-8F56-61BD85A2E74B}"/>
          </ac:spMkLst>
        </pc:spChg>
        <pc:spChg chg="mod">
          <ac:chgData name="Sindija Kirsteine (LV)" userId="5f25501a-2215-4bb3-9d9c-8d1484ffa7c1" providerId="ADAL" clId="{93760D53-13C1-4B8B-92CA-E799D7E24E59}" dt="2024-03-04T10:01:33.907" v="2147"/>
          <ac:spMkLst>
            <pc:docMk/>
            <pc:sldMk cId="2603595337" sldId="945"/>
            <ac:spMk id="5" creationId="{947D8C6D-59FC-B70D-62E8-4E05ED8582AC}"/>
          </ac:spMkLst>
        </pc:spChg>
        <pc:spChg chg="mod">
          <ac:chgData name="Sindija Kirsteine (LV)" userId="5f25501a-2215-4bb3-9d9c-8d1484ffa7c1" providerId="ADAL" clId="{93760D53-13C1-4B8B-92CA-E799D7E24E59}" dt="2024-03-04T10:01:41.442" v="2151" actId="20577"/>
          <ac:spMkLst>
            <pc:docMk/>
            <pc:sldMk cId="2603595337" sldId="945"/>
            <ac:spMk id="8" creationId="{8F84A1C1-A3B2-78F7-2F05-EA937E442831}"/>
          </ac:spMkLst>
        </pc:spChg>
        <pc:spChg chg="mod">
          <ac:chgData name="Sindija Kirsteine (LV)" userId="5f25501a-2215-4bb3-9d9c-8d1484ffa7c1" providerId="ADAL" clId="{93760D53-13C1-4B8B-92CA-E799D7E24E59}" dt="2024-03-04T08:30:38.651" v="4"/>
          <ac:spMkLst>
            <pc:docMk/>
            <pc:sldMk cId="2603595337" sldId="945"/>
            <ac:spMk id="19" creationId="{6540A5E1-A41A-D662-410E-E26837FEC171}"/>
          </ac:spMkLst>
        </pc:spChg>
        <pc:spChg chg="mod">
          <ac:chgData name="Sindija Kirsteine (LV)" userId="5f25501a-2215-4bb3-9d9c-8d1484ffa7c1" providerId="ADAL" clId="{93760D53-13C1-4B8B-92CA-E799D7E24E59}" dt="2024-03-04T09:24:31.382" v="1277" actId="20577"/>
          <ac:spMkLst>
            <pc:docMk/>
            <pc:sldMk cId="2603595337" sldId="945"/>
            <ac:spMk id="25" creationId="{2B261BF4-92C6-462D-AA95-793AE54DD688}"/>
          </ac:spMkLst>
        </pc:spChg>
      </pc:sldChg>
      <pc:sldChg chg="modSp mod modNotes">
        <pc:chgData name="Sindija Kirsteine (LV)" userId="5f25501a-2215-4bb3-9d9c-8d1484ffa7c1" providerId="ADAL" clId="{93760D53-13C1-4B8B-92CA-E799D7E24E59}" dt="2024-03-04T10:01:49.314" v="2153"/>
        <pc:sldMkLst>
          <pc:docMk/>
          <pc:sldMk cId="3488828484" sldId="946"/>
        </pc:sldMkLst>
        <pc:spChg chg="mod">
          <ac:chgData name="Sindija Kirsteine (LV)" userId="5f25501a-2215-4bb3-9d9c-8d1484ffa7c1" providerId="ADAL" clId="{93760D53-13C1-4B8B-92CA-E799D7E24E59}" dt="2024-03-04T09:34:24.134" v="1342" actId="20577"/>
          <ac:spMkLst>
            <pc:docMk/>
            <pc:sldMk cId="3488828484" sldId="946"/>
            <ac:spMk id="25" creationId="{2B261BF4-92C6-462D-AA95-793AE54DD688}"/>
          </ac:spMkLst>
        </pc:spChg>
        <pc:spChg chg="mod">
          <ac:chgData name="Sindija Kirsteine (LV)" userId="5f25501a-2215-4bb3-9d9c-8d1484ffa7c1" providerId="ADAL" clId="{93760D53-13C1-4B8B-92CA-E799D7E24E59}" dt="2024-03-04T10:01:49.314" v="2153"/>
          <ac:spMkLst>
            <pc:docMk/>
            <pc:sldMk cId="3488828484" sldId="946"/>
            <ac:spMk id="57" creationId="{E0007A68-F3EF-5218-37FA-972FF8C8BB56}"/>
          </ac:spMkLst>
        </pc:spChg>
        <pc:spChg chg="mod">
          <ac:chgData name="Sindija Kirsteine (LV)" userId="5f25501a-2215-4bb3-9d9c-8d1484ffa7c1" providerId="ADAL" clId="{93760D53-13C1-4B8B-92CA-E799D7E24E59}" dt="2024-03-04T09:34:08.324" v="1333" actId="20577"/>
          <ac:spMkLst>
            <pc:docMk/>
            <pc:sldMk cId="3488828484" sldId="946"/>
            <ac:spMk id="105" creationId="{C73B42A3-EA68-B90F-A6C9-5F7FF93DD187}"/>
          </ac:spMkLst>
        </pc:spChg>
      </pc:sldChg>
      <pc:sldChg chg="modSp mod modCm">
        <pc:chgData name="Sindija Kirsteine (LV)" userId="5f25501a-2215-4bb3-9d9c-8d1484ffa7c1" providerId="ADAL" clId="{93760D53-13C1-4B8B-92CA-E799D7E24E59}" dt="2024-03-07T21:32:49.472" v="2394" actId="2056"/>
        <pc:sldMkLst>
          <pc:docMk/>
          <pc:sldMk cId="3911462717" sldId="947"/>
        </pc:sldMkLst>
        <pc:spChg chg="mod">
          <ac:chgData name="Sindija Kirsteine (LV)" userId="5f25501a-2215-4bb3-9d9c-8d1484ffa7c1" providerId="ADAL" clId="{93760D53-13C1-4B8B-92CA-E799D7E24E59}" dt="2024-03-04T08:30:38.651" v="4"/>
          <ac:spMkLst>
            <pc:docMk/>
            <pc:sldMk cId="3911462717" sldId="947"/>
            <ac:spMk id="3" creationId="{F4CCF02E-F3C4-C376-8F56-61BD85A2E74B}"/>
          </ac:spMkLst>
        </pc:spChg>
        <pc:spChg chg="mod">
          <ac:chgData name="Sindija Kirsteine (LV)" userId="5f25501a-2215-4bb3-9d9c-8d1484ffa7c1" providerId="ADAL" clId="{93760D53-13C1-4B8B-92CA-E799D7E24E59}" dt="2024-03-04T10:01:05.530" v="2137"/>
          <ac:spMkLst>
            <pc:docMk/>
            <pc:sldMk cId="3911462717" sldId="947"/>
            <ac:spMk id="5" creationId="{B8117B57-8E39-5418-6527-0CB9323D2C76}"/>
          </ac:spMkLst>
        </pc:spChg>
        <pc:spChg chg="mod">
          <ac:chgData name="Sindija Kirsteine (LV)" userId="5f25501a-2215-4bb3-9d9c-8d1484ffa7c1" providerId="ADAL" clId="{93760D53-13C1-4B8B-92CA-E799D7E24E59}" dt="2024-03-04T09:22:31.346" v="1207" actId="20577"/>
          <ac:spMkLst>
            <pc:docMk/>
            <pc:sldMk cId="3911462717" sldId="947"/>
            <ac:spMk id="8" creationId="{8F84A1C1-A3B2-78F7-2F05-EA937E442831}"/>
          </ac:spMkLst>
        </pc:spChg>
        <pc:spChg chg="mod">
          <ac:chgData name="Sindija Kirsteine (LV)" userId="5f25501a-2215-4bb3-9d9c-8d1484ffa7c1" providerId="ADAL" clId="{93760D53-13C1-4B8B-92CA-E799D7E24E59}" dt="2024-03-04T08:30:38.651" v="4"/>
          <ac:spMkLst>
            <pc:docMk/>
            <pc:sldMk cId="3911462717" sldId="947"/>
            <ac:spMk id="19" creationId="{6540A5E1-A41A-D662-410E-E26837FEC171}"/>
          </ac:spMkLst>
        </pc:spChg>
        <pc:spChg chg="mod">
          <ac:chgData name="Sindija Kirsteine (LV)" userId="5f25501a-2215-4bb3-9d9c-8d1484ffa7c1" providerId="ADAL" clId="{93760D53-13C1-4B8B-92CA-E799D7E24E59}" dt="2024-03-04T09:22:53.918" v="1219" actId="20577"/>
          <ac:spMkLst>
            <pc:docMk/>
            <pc:sldMk cId="3911462717" sldId="947"/>
            <ac:spMk id="25" creationId="{2B261BF4-92C6-462D-AA95-793AE54DD688}"/>
          </ac:spMkLst>
        </pc:spChg>
        <pc:extLst>
          <p:ext xmlns:p="http://schemas.openxmlformats.org/presentationml/2006/main" uri="{D6D511B9-2390-475A-947B-AFAB55BFBCF1}">
            <pc226:cmChg xmlns:pc226="http://schemas.microsoft.com/office/powerpoint/2022/06/main/command" chg="mod">
              <pc226:chgData name="Sindija Kirsteine (LV)" userId="5f25501a-2215-4bb3-9d9c-8d1484ffa7c1" providerId="ADAL" clId="{93760D53-13C1-4B8B-92CA-E799D7E24E59}" dt="2024-03-07T21:32:49.472" v="2394" actId="2056"/>
              <pc2:cmMkLst xmlns:pc2="http://schemas.microsoft.com/office/powerpoint/2019/9/main/command">
                <pc:docMk/>
                <pc:sldMk cId="3911462717" sldId="947"/>
                <pc2:cmMk id="{1428E94F-96AA-42F8-9E12-E7A740490D75}"/>
              </pc2:cmMkLst>
            </pc226:cmChg>
          </p:ext>
        </pc:extLst>
      </pc:sldChg>
      <pc:sldChg chg="modSp mod modNotes">
        <pc:chgData name="Sindija Kirsteine (LV)" userId="5f25501a-2215-4bb3-9d9c-8d1484ffa7c1" providerId="ADAL" clId="{93760D53-13C1-4B8B-92CA-E799D7E24E59}" dt="2024-03-04T10:03:31.016" v="2185" actId="20577"/>
        <pc:sldMkLst>
          <pc:docMk/>
          <pc:sldMk cId="2283029669" sldId="948"/>
        </pc:sldMkLst>
        <pc:spChg chg="mod">
          <ac:chgData name="Sindija Kirsteine (LV)" userId="5f25501a-2215-4bb3-9d9c-8d1484ffa7c1" providerId="ADAL" clId="{93760D53-13C1-4B8B-92CA-E799D7E24E59}" dt="2024-03-04T10:03:19.305" v="2178" actId="20577"/>
          <ac:spMkLst>
            <pc:docMk/>
            <pc:sldMk cId="2283029669" sldId="948"/>
            <ac:spMk id="21" creationId="{78DC1799-6B68-492D-BBE0-D7BECB3D58E6}"/>
          </ac:spMkLst>
        </pc:spChg>
        <pc:spChg chg="mod">
          <ac:chgData name="Sindija Kirsteine (LV)" userId="5f25501a-2215-4bb3-9d9c-8d1484ffa7c1" providerId="ADAL" clId="{93760D53-13C1-4B8B-92CA-E799D7E24E59}" dt="2024-03-04T08:43:19.903" v="270" actId="20577"/>
          <ac:spMkLst>
            <pc:docMk/>
            <pc:sldMk cId="2283029669" sldId="948"/>
            <ac:spMk id="25" creationId="{2B261BF4-92C6-462D-AA95-793AE54DD688}"/>
          </ac:spMkLst>
        </pc:spChg>
        <pc:spChg chg="mod">
          <ac:chgData name="Sindija Kirsteine (LV)" userId="5f25501a-2215-4bb3-9d9c-8d1484ffa7c1" providerId="ADAL" clId="{93760D53-13C1-4B8B-92CA-E799D7E24E59}" dt="2024-03-04T10:03:20.528" v="2179" actId="20577"/>
          <ac:spMkLst>
            <pc:docMk/>
            <pc:sldMk cId="2283029669" sldId="948"/>
            <ac:spMk id="100" creationId="{6196419E-02BA-D21D-1546-F1EC7C2A2D38}"/>
          </ac:spMkLst>
        </pc:spChg>
        <pc:spChg chg="mod">
          <ac:chgData name="Sindija Kirsteine (LV)" userId="5f25501a-2215-4bb3-9d9c-8d1484ffa7c1" providerId="ADAL" clId="{93760D53-13C1-4B8B-92CA-E799D7E24E59}" dt="2024-03-04T10:03:24.439" v="2181" actId="20577"/>
          <ac:spMkLst>
            <pc:docMk/>
            <pc:sldMk cId="2283029669" sldId="948"/>
            <ac:spMk id="101" creationId="{9ECA4B5E-E4A7-485E-4742-A7A24FB938CD}"/>
          </ac:spMkLst>
        </pc:spChg>
        <pc:spChg chg="mod">
          <ac:chgData name="Sindija Kirsteine (LV)" userId="5f25501a-2215-4bb3-9d9c-8d1484ffa7c1" providerId="ADAL" clId="{93760D53-13C1-4B8B-92CA-E799D7E24E59}" dt="2024-03-04T10:03:26.355" v="2182" actId="20577"/>
          <ac:spMkLst>
            <pc:docMk/>
            <pc:sldMk cId="2283029669" sldId="948"/>
            <ac:spMk id="102" creationId="{6C2839D0-72C0-7347-1A1F-A4C976165D3B}"/>
          </ac:spMkLst>
        </pc:spChg>
        <pc:spChg chg="mod">
          <ac:chgData name="Sindija Kirsteine (LV)" userId="5f25501a-2215-4bb3-9d9c-8d1484ffa7c1" providerId="ADAL" clId="{93760D53-13C1-4B8B-92CA-E799D7E24E59}" dt="2024-03-04T10:03:29.549" v="2184" actId="20577"/>
          <ac:spMkLst>
            <pc:docMk/>
            <pc:sldMk cId="2283029669" sldId="948"/>
            <ac:spMk id="103" creationId="{20162A1E-1272-A65F-9743-08A1C56CDD8F}"/>
          </ac:spMkLst>
        </pc:spChg>
        <pc:spChg chg="mod">
          <ac:chgData name="Sindija Kirsteine (LV)" userId="5f25501a-2215-4bb3-9d9c-8d1484ffa7c1" providerId="ADAL" clId="{93760D53-13C1-4B8B-92CA-E799D7E24E59}" dt="2024-03-04T10:03:31.016" v="2185" actId="20577"/>
          <ac:spMkLst>
            <pc:docMk/>
            <pc:sldMk cId="2283029669" sldId="948"/>
            <ac:spMk id="104" creationId="{C489AEBB-7FB2-EC1A-2DC3-18B08D331418}"/>
          </ac:spMkLst>
        </pc:spChg>
        <pc:spChg chg="mod">
          <ac:chgData name="Sindija Kirsteine (LV)" userId="5f25501a-2215-4bb3-9d9c-8d1484ffa7c1" providerId="ADAL" clId="{93760D53-13C1-4B8B-92CA-E799D7E24E59}" dt="2024-03-04T10:03:22.779" v="2180" actId="20577"/>
          <ac:spMkLst>
            <pc:docMk/>
            <pc:sldMk cId="2283029669" sldId="948"/>
            <ac:spMk id="107" creationId="{5E4C4BD5-129E-6AAF-672B-2CE5A9EA1809}"/>
          </ac:spMkLst>
        </pc:spChg>
        <pc:spChg chg="mod">
          <ac:chgData name="Sindija Kirsteine (LV)" userId="5f25501a-2215-4bb3-9d9c-8d1484ffa7c1" providerId="ADAL" clId="{93760D53-13C1-4B8B-92CA-E799D7E24E59}" dt="2024-03-04T10:03:27.581" v="2183" actId="20577"/>
          <ac:spMkLst>
            <pc:docMk/>
            <pc:sldMk cId="2283029669" sldId="948"/>
            <ac:spMk id="108" creationId="{374ED229-16EB-16FE-4EEB-6C75D32758A7}"/>
          </ac:spMkLst>
        </pc:spChg>
      </pc:sldChg>
      <pc:sldChg chg="modSp mod modNotes">
        <pc:chgData name="Sindija Kirsteine (LV)" userId="5f25501a-2215-4bb3-9d9c-8d1484ffa7c1" providerId="ADAL" clId="{93760D53-13C1-4B8B-92CA-E799D7E24E59}" dt="2024-03-04T09:35:12.941" v="1379"/>
        <pc:sldMkLst>
          <pc:docMk/>
          <pc:sldMk cId="3348140347" sldId="949"/>
        </pc:sldMkLst>
        <pc:spChg chg="mod">
          <ac:chgData name="Sindija Kirsteine (LV)" userId="5f25501a-2215-4bb3-9d9c-8d1484ffa7c1" providerId="ADAL" clId="{93760D53-13C1-4B8B-92CA-E799D7E24E59}" dt="2024-03-04T09:35:07.047" v="1378" actId="20577"/>
          <ac:spMkLst>
            <pc:docMk/>
            <pc:sldMk cId="3348140347" sldId="949"/>
            <ac:spMk id="25" creationId="{2B261BF4-92C6-462D-AA95-793AE54DD688}"/>
          </ac:spMkLst>
        </pc:spChg>
        <pc:spChg chg="mod">
          <ac:chgData name="Sindija Kirsteine (LV)" userId="5f25501a-2215-4bb3-9d9c-8d1484ffa7c1" providerId="ADAL" clId="{93760D53-13C1-4B8B-92CA-E799D7E24E59}" dt="2024-03-04T08:30:38.651" v="4"/>
          <ac:spMkLst>
            <pc:docMk/>
            <pc:sldMk cId="3348140347" sldId="949"/>
            <ac:spMk id="51" creationId="{AFEB1935-0849-FFDB-14A2-768E555E2F79}"/>
          </ac:spMkLst>
        </pc:spChg>
        <pc:spChg chg="mod">
          <ac:chgData name="Sindija Kirsteine (LV)" userId="5f25501a-2215-4bb3-9d9c-8d1484ffa7c1" providerId="ADAL" clId="{93760D53-13C1-4B8B-92CA-E799D7E24E59}" dt="2024-03-04T09:35:12.941" v="1379"/>
          <ac:spMkLst>
            <pc:docMk/>
            <pc:sldMk cId="3348140347" sldId="949"/>
            <ac:spMk id="57" creationId="{E0007A68-F3EF-5218-37FA-972FF8C8BB56}"/>
          </ac:spMkLst>
        </pc:spChg>
        <pc:spChg chg="mod">
          <ac:chgData name="Sindija Kirsteine (LV)" userId="5f25501a-2215-4bb3-9d9c-8d1484ffa7c1" providerId="ADAL" clId="{93760D53-13C1-4B8B-92CA-E799D7E24E59}" dt="2024-03-04T09:34:57.232" v="1369" actId="20577"/>
          <ac:spMkLst>
            <pc:docMk/>
            <pc:sldMk cId="3348140347" sldId="949"/>
            <ac:spMk id="105" creationId="{C73B42A3-EA68-B90F-A6C9-5F7FF93DD187}"/>
          </ac:spMkLst>
        </pc:spChg>
      </pc:sldChg>
      <pc:sldChg chg="modSp mod modCm modNotes">
        <pc:chgData name="Sindija Kirsteine (LV)" userId="5f25501a-2215-4bb3-9d9c-8d1484ffa7c1" providerId="ADAL" clId="{93760D53-13C1-4B8B-92CA-E799D7E24E59}" dt="2024-03-04T10:02:14.224" v="2158"/>
        <pc:sldMkLst>
          <pc:docMk/>
          <pc:sldMk cId="201777098" sldId="950"/>
        </pc:sldMkLst>
        <pc:spChg chg="mod">
          <ac:chgData name="Sindija Kirsteine (LV)" userId="5f25501a-2215-4bb3-9d9c-8d1484ffa7c1" providerId="ADAL" clId="{93760D53-13C1-4B8B-92CA-E799D7E24E59}" dt="2024-03-04T10:02:14.224" v="2158"/>
          <ac:spMkLst>
            <pc:docMk/>
            <pc:sldMk cId="201777098" sldId="950"/>
            <ac:spMk id="57" creationId="{E0007A68-F3EF-5218-37FA-972FF8C8BB56}"/>
          </ac:spMkLst>
        </pc:spChg>
        <pc:spChg chg="mod">
          <ac:chgData name="Sindija Kirsteine (LV)" userId="5f25501a-2215-4bb3-9d9c-8d1484ffa7c1" providerId="ADAL" clId="{93760D53-13C1-4B8B-92CA-E799D7E24E59}" dt="2024-03-04T08:30:38.651" v="4"/>
          <ac:spMkLst>
            <pc:docMk/>
            <pc:sldMk cId="201777098" sldId="950"/>
            <ac:spMk id="94" creationId="{2945AFC3-C832-6045-1DDE-A189FFBEDD95}"/>
          </ac:spMkLst>
        </pc:spChg>
        <pc:spChg chg="mod">
          <ac:chgData name="Sindija Kirsteine (LV)" userId="5f25501a-2215-4bb3-9d9c-8d1484ffa7c1" providerId="ADAL" clId="{93760D53-13C1-4B8B-92CA-E799D7E24E59}" dt="2024-03-04T09:36:04.970" v="1421" actId="20577"/>
          <ac:spMkLst>
            <pc:docMk/>
            <pc:sldMk cId="201777098" sldId="950"/>
            <ac:spMk id="105" creationId="{C73B42A3-EA68-B90F-A6C9-5F7FF93DD187}"/>
          </ac:spMkLst>
        </pc:spChg>
        <pc:extLst>
          <p:ext xmlns:p="http://schemas.openxmlformats.org/presentationml/2006/main" uri="{D6D511B9-2390-475A-947B-AFAB55BFBCF1}">
            <pc226:cmChg xmlns:pc226="http://schemas.microsoft.com/office/powerpoint/2022/06/main/command" chg="mod">
              <pc226:chgData name="Sindija Kirsteine (LV)" userId="5f25501a-2215-4bb3-9d9c-8d1484ffa7c1" providerId="ADAL" clId="{93760D53-13C1-4B8B-92CA-E799D7E24E59}" dt="2024-03-04T09:36:04.970" v="1421" actId="20577"/>
              <pc2:cmMkLst xmlns:pc2="http://schemas.microsoft.com/office/powerpoint/2019/9/main/command">
                <pc:docMk/>
                <pc:sldMk cId="201777098" sldId="950"/>
                <pc2:cmMk id="{1A5476BB-88AF-4870-A72B-D1F544EA1421}"/>
              </pc2:cmMkLst>
            </pc226:cmChg>
          </p:ext>
        </pc:extLst>
      </pc:sldChg>
      <pc:sldChg chg="addSp delSp modSp mod modCm modNotes">
        <pc:chgData name="Sindija Kirsteine (LV)" userId="5f25501a-2215-4bb3-9d9c-8d1484ffa7c1" providerId="ADAL" clId="{93760D53-13C1-4B8B-92CA-E799D7E24E59}" dt="2024-03-04T10:02:31.108" v="2160"/>
        <pc:sldMkLst>
          <pc:docMk/>
          <pc:sldMk cId="3919877977" sldId="951"/>
        </pc:sldMkLst>
        <pc:spChg chg="add mod">
          <ac:chgData name="Sindija Kirsteine (LV)" userId="5f25501a-2215-4bb3-9d9c-8d1484ffa7c1" providerId="ADAL" clId="{93760D53-13C1-4B8B-92CA-E799D7E24E59}" dt="2024-03-04T09:36:39.371" v="1443"/>
          <ac:spMkLst>
            <pc:docMk/>
            <pc:sldMk cId="3919877977" sldId="951"/>
            <ac:spMk id="5" creationId="{72E4C008-5160-4BC9-7D87-A59459C11EBD}"/>
          </ac:spMkLst>
        </pc:spChg>
        <pc:spChg chg="mod">
          <ac:chgData name="Sindija Kirsteine (LV)" userId="5f25501a-2215-4bb3-9d9c-8d1484ffa7c1" providerId="ADAL" clId="{93760D53-13C1-4B8B-92CA-E799D7E24E59}" dt="2024-03-04T08:30:38.651" v="4"/>
          <ac:spMkLst>
            <pc:docMk/>
            <pc:sldMk cId="3919877977" sldId="951"/>
            <ac:spMk id="51" creationId="{AFEB1935-0849-FFDB-14A2-768E555E2F79}"/>
          </ac:spMkLst>
        </pc:spChg>
        <pc:spChg chg="mod">
          <ac:chgData name="Sindija Kirsteine (LV)" userId="5f25501a-2215-4bb3-9d9c-8d1484ffa7c1" providerId="ADAL" clId="{93760D53-13C1-4B8B-92CA-E799D7E24E59}" dt="2024-03-04T10:02:31.108" v="2160"/>
          <ac:spMkLst>
            <pc:docMk/>
            <pc:sldMk cId="3919877977" sldId="951"/>
            <ac:spMk id="57" creationId="{E0007A68-F3EF-5218-37FA-972FF8C8BB56}"/>
          </ac:spMkLst>
        </pc:spChg>
        <pc:spChg chg="mod">
          <ac:chgData name="Sindija Kirsteine (LV)" userId="5f25501a-2215-4bb3-9d9c-8d1484ffa7c1" providerId="ADAL" clId="{93760D53-13C1-4B8B-92CA-E799D7E24E59}" dt="2024-03-04T08:30:38.651" v="4"/>
          <ac:spMkLst>
            <pc:docMk/>
            <pc:sldMk cId="3919877977" sldId="951"/>
            <ac:spMk id="94" creationId="{2945AFC3-C832-6045-1DDE-A189FFBEDD95}"/>
          </ac:spMkLst>
        </pc:spChg>
        <pc:spChg chg="del mod">
          <ac:chgData name="Sindija Kirsteine (LV)" userId="5f25501a-2215-4bb3-9d9c-8d1484ffa7c1" providerId="ADAL" clId="{93760D53-13C1-4B8B-92CA-E799D7E24E59}" dt="2024-03-04T09:36:32.626" v="1441" actId="478"/>
          <ac:spMkLst>
            <pc:docMk/>
            <pc:sldMk cId="3919877977" sldId="951"/>
            <ac:spMk id="105" creationId="{C73B42A3-EA68-B90F-A6C9-5F7FF93DD187}"/>
          </ac:spMkLst>
        </pc:spChg>
        <pc:extLst>
          <p:ext xmlns:p="http://schemas.openxmlformats.org/presentationml/2006/main" uri="{D6D511B9-2390-475A-947B-AFAB55BFBCF1}">
            <pc226:cmChg xmlns:pc226="http://schemas.microsoft.com/office/powerpoint/2022/06/main/command" chg="mod">
              <pc226:chgData name="Sindija Kirsteine (LV)" userId="5f25501a-2215-4bb3-9d9c-8d1484ffa7c1" providerId="ADAL" clId="{93760D53-13C1-4B8B-92CA-E799D7E24E59}" dt="2024-03-04T09:36:32.674" v="1442" actId="2056"/>
              <pc2:cmMkLst xmlns:pc2="http://schemas.microsoft.com/office/powerpoint/2019/9/main/command">
                <pc:docMk/>
                <pc:sldMk cId="3919877977" sldId="951"/>
                <pc2:cmMk id="{85CB2ACB-F07F-45B5-89ED-DD3C5C9375B3}"/>
              </pc2:cmMkLst>
            </pc226:cmChg>
          </p:ext>
        </pc:extLst>
      </pc:sldChg>
      <pc:sldChg chg="modSp">
        <pc:chgData name="Sindija Kirsteine (LV)" userId="5f25501a-2215-4bb3-9d9c-8d1484ffa7c1" providerId="ADAL" clId="{93760D53-13C1-4B8B-92CA-E799D7E24E59}" dt="2024-03-04T08:30:38.651" v="4"/>
        <pc:sldMkLst>
          <pc:docMk/>
          <pc:sldMk cId="1713450018" sldId="952"/>
        </pc:sldMkLst>
        <pc:spChg chg="mod">
          <ac:chgData name="Sindija Kirsteine (LV)" userId="5f25501a-2215-4bb3-9d9c-8d1484ffa7c1" providerId="ADAL" clId="{93760D53-13C1-4B8B-92CA-E799D7E24E59}" dt="2024-03-04T08:30:38.651" v="4"/>
          <ac:spMkLst>
            <pc:docMk/>
            <pc:sldMk cId="1713450018" sldId="952"/>
            <ac:spMk id="6" creationId="{38CA96A2-A01D-FA94-92E8-A765979AB49D}"/>
          </ac:spMkLst>
        </pc:spChg>
        <pc:spChg chg="mod">
          <ac:chgData name="Sindija Kirsteine (LV)" userId="5f25501a-2215-4bb3-9d9c-8d1484ffa7c1" providerId="ADAL" clId="{93760D53-13C1-4B8B-92CA-E799D7E24E59}" dt="2024-03-04T08:30:38.651" v="4"/>
          <ac:spMkLst>
            <pc:docMk/>
            <pc:sldMk cId="1713450018" sldId="952"/>
            <ac:spMk id="11" creationId="{E0158CBF-80D1-8041-5978-AE6FC3BEB22F}"/>
          </ac:spMkLst>
        </pc:spChg>
        <pc:graphicFrameChg chg="mod">
          <ac:chgData name="Sindija Kirsteine (LV)" userId="5f25501a-2215-4bb3-9d9c-8d1484ffa7c1" providerId="ADAL" clId="{93760D53-13C1-4B8B-92CA-E799D7E24E59}" dt="2024-03-04T08:30:38.651" v="4"/>
          <ac:graphicFrameMkLst>
            <pc:docMk/>
            <pc:sldMk cId="1713450018" sldId="952"/>
            <ac:graphicFrameMk id="10" creationId="{DD430830-1913-0D22-CCB5-64EB0C593545}"/>
          </ac:graphicFrameMkLst>
        </pc:graphicFrameChg>
      </pc:sldChg>
      <pc:sldChg chg="modSp modNotes">
        <pc:chgData name="Sindija Kirsteine (LV)" userId="5f25501a-2215-4bb3-9d9c-8d1484ffa7c1" providerId="ADAL" clId="{93760D53-13C1-4B8B-92CA-E799D7E24E59}" dt="2024-03-04T08:30:38.651" v="4"/>
        <pc:sldMkLst>
          <pc:docMk/>
          <pc:sldMk cId="2937916867" sldId="953"/>
        </pc:sldMkLst>
        <pc:spChg chg="mod">
          <ac:chgData name="Sindija Kirsteine (LV)" userId="5f25501a-2215-4bb3-9d9c-8d1484ffa7c1" providerId="ADAL" clId="{93760D53-13C1-4B8B-92CA-E799D7E24E59}" dt="2024-03-04T08:30:38.651" v="4"/>
          <ac:spMkLst>
            <pc:docMk/>
            <pc:sldMk cId="2937916867" sldId="953"/>
            <ac:spMk id="2" creationId="{00000000-0000-0000-0000-000000000000}"/>
          </ac:spMkLst>
        </pc:spChg>
      </pc:sldChg>
      <pc:sldMasterChg chg="modSldLayout">
        <pc:chgData name="Sindija Kirsteine (LV)" userId="5f25501a-2215-4bb3-9d9c-8d1484ffa7c1" providerId="ADAL" clId="{93760D53-13C1-4B8B-92CA-E799D7E24E59}" dt="2024-03-04T08:30:38.651" v="4"/>
        <pc:sldMasterMkLst>
          <pc:docMk/>
          <pc:sldMasterMk cId="3011101579" sldId="2147483723"/>
        </pc:sldMasterMkLst>
        <pc:sldLayoutChg chg="modSp">
          <pc:chgData name="Sindija Kirsteine (LV)" userId="5f25501a-2215-4bb3-9d9c-8d1484ffa7c1" providerId="ADAL" clId="{93760D53-13C1-4B8B-92CA-E799D7E24E59}" dt="2024-03-04T08:30:38.651" v="4"/>
          <pc:sldLayoutMkLst>
            <pc:docMk/>
            <pc:sldMasterMk cId="3011101579" sldId="2147483723"/>
            <pc:sldLayoutMk cId="3260771726" sldId="2147483724"/>
          </pc:sldLayoutMkLst>
          <pc:spChg chg="mod">
            <ac:chgData name="Sindija Kirsteine (LV)" userId="5f25501a-2215-4bb3-9d9c-8d1484ffa7c1" providerId="ADAL" clId="{93760D53-13C1-4B8B-92CA-E799D7E24E59}" dt="2024-03-04T08:30:38.651" v="4"/>
            <ac:spMkLst>
              <pc:docMk/>
              <pc:sldMasterMk cId="3011101579" sldId="2147483723"/>
              <pc:sldLayoutMk cId="3260771726" sldId="2147483724"/>
              <ac:spMk id="5"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3746488802" sldId="2147483730"/>
          </pc:sldLayoutMkLst>
          <pc:spChg chg="mod">
            <ac:chgData name="Sindija Kirsteine (LV)" userId="5f25501a-2215-4bb3-9d9c-8d1484ffa7c1" providerId="ADAL" clId="{93760D53-13C1-4B8B-92CA-E799D7E24E59}" dt="2024-03-04T08:30:38.651" v="4"/>
            <ac:spMkLst>
              <pc:docMk/>
              <pc:sldMasterMk cId="3011101579" sldId="2147483723"/>
              <pc:sldLayoutMk cId="3746488802" sldId="2147483730"/>
              <ac:spMk id="13"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1291893499" sldId="2147483731"/>
          </pc:sldLayoutMkLst>
          <pc:spChg chg="mod">
            <ac:chgData name="Sindija Kirsteine (LV)" userId="5f25501a-2215-4bb3-9d9c-8d1484ffa7c1" providerId="ADAL" clId="{93760D53-13C1-4B8B-92CA-E799D7E24E59}" dt="2024-03-04T08:30:38.651" v="4"/>
            <ac:spMkLst>
              <pc:docMk/>
              <pc:sldMasterMk cId="3011101579" sldId="2147483723"/>
              <pc:sldLayoutMk cId="1291893499" sldId="2147483731"/>
              <ac:spMk id="13"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2803711686" sldId="2147483732"/>
          </pc:sldLayoutMkLst>
          <pc:spChg chg="mod">
            <ac:chgData name="Sindija Kirsteine (LV)" userId="5f25501a-2215-4bb3-9d9c-8d1484ffa7c1" providerId="ADAL" clId="{93760D53-13C1-4B8B-92CA-E799D7E24E59}" dt="2024-03-04T08:30:38.651" v="4"/>
            <ac:spMkLst>
              <pc:docMk/>
              <pc:sldMasterMk cId="3011101579" sldId="2147483723"/>
              <pc:sldLayoutMk cId="2803711686" sldId="2147483732"/>
              <ac:spMk id="13"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1886173175" sldId="2147483733"/>
          </pc:sldLayoutMkLst>
          <pc:spChg chg="mod">
            <ac:chgData name="Sindija Kirsteine (LV)" userId="5f25501a-2215-4bb3-9d9c-8d1484ffa7c1" providerId="ADAL" clId="{93760D53-13C1-4B8B-92CA-E799D7E24E59}" dt="2024-03-04T08:30:38.651" v="4"/>
            <ac:spMkLst>
              <pc:docMk/>
              <pc:sldMasterMk cId="3011101579" sldId="2147483723"/>
              <pc:sldLayoutMk cId="1886173175" sldId="2147483733"/>
              <ac:spMk id="13"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1974237231" sldId="2147483734"/>
          </pc:sldLayoutMkLst>
          <pc:spChg chg="mod">
            <ac:chgData name="Sindija Kirsteine (LV)" userId="5f25501a-2215-4bb3-9d9c-8d1484ffa7c1" providerId="ADAL" clId="{93760D53-13C1-4B8B-92CA-E799D7E24E59}" dt="2024-03-04T08:30:38.651" v="4"/>
            <ac:spMkLst>
              <pc:docMk/>
              <pc:sldMasterMk cId="3011101579" sldId="2147483723"/>
              <pc:sldLayoutMk cId="1974237231" sldId="2147483734"/>
              <ac:spMk id="13"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695867191" sldId="2147483735"/>
          </pc:sldLayoutMkLst>
          <pc:spChg chg="mod">
            <ac:chgData name="Sindija Kirsteine (LV)" userId="5f25501a-2215-4bb3-9d9c-8d1484ffa7c1" providerId="ADAL" clId="{93760D53-13C1-4B8B-92CA-E799D7E24E59}" dt="2024-03-04T08:30:38.651" v="4"/>
            <ac:spMkLst>
              <pc:docMk/>
              <pc:sldMasterMk cId="3011101579" sldId="2147483723"/>
              <pc:sldLayoutMk cId="695867191" sldId="2147483735"/>
              <ac:spMk id="9" creationId="{86E1CB07-AAEA-314E-A423-4B23728F274D}"/>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1343462460" sldId="2147483736"/>
          </pc:sldLayoutMkLst>
          <pc:spChg chg="mod">
            <ac:chgData name="Sindija Kirsteine (LV)" userId="5f25501a-2215-4bb3-9d9c-8d1484ffa7c1" providerId="ADAL" clId="{93760D53-13C1-4B8B-92CA-E799D7E24E59}" dt="2024-03-04T08:30:38.651" v="4"/>
            <ac:spMkLst>
              <pc:docMk/>
              <pc:sldMasterMk cId="3011101579" sldId="2147483723"/>
              <pc:sldLayoutMk cId="1343462460" sldId="2147483736"/>
              <ac:spMk id="9" creationId="{19130D55-E01B-814B-B368-1A5B9D922495}"/>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3587134479" sldId="2147483737"/>
          </pc:sldLayoutMkLst>
          <pc:spChg chg="mod">
            <ac:chgData name="Sindija Kirsteine (LV)" userId="5f25501a-2215-4bb3-9d9c-8d1484ffa7c1" providerId="ADAL" clId="{93760D53-13C1-4B8B-92CA-E799D7E24E59}" dt="2024-03-04T08:30:38.651" v="4"/>
            <ac:spMkLst>
              <pc:docMk/>
              <pc:sldMasterMk cId="3011101579" sldId="2147483723"/>
              <pc:sldLayoutMk cId="3587134479" sldId="2147483737"/>
              <ac:spMk id="9" creationId="{2504B055-84E9-A34C-9FA5-3A4898E3B2D5}"/>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3395183948" sldId="2147483738"/>
          </pc:sldLayoutMkLst>
          <pc:spChg chg="mod">
            <ac:chgData name="Sindija Kirsteine (LV)" userId="5f25501a-2215-4bb3-9d9c-8d1484ffa7c1" providerId="ADAL" clId="{93760D53-13C1-4B8B-92CA-E799D7E24E59}" dt="2024-03-04T08:30:38.651" v="4"/>
            <ac:spMkLst>
              <pc:docMk/>
              <pc:sldMasterMk cId="3011101579" sldId="2147483723"/>
              <pc:sldLayoutMk cId="3395183948" sldId="2147483738"/>
              <ac:spMk id="9" creationId="{B147A814-53FE-0143-93DA-63021064389A}"/>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1948574040" sldId="2147483739"/>
          </pc:sldLayoutMkLst>
          <pc:spChg chg="mod">
            <ac:chgData name="Sindija Kirsteine (LV)" userId="5f25501a-2215-4bb3-9d9c-8d1484ffa7c1" providerId="ADAL" clId="{93760D53-13C1-4B8B-92CA-E799D7E24E59}" dt="2024-03-04T08:30:38.651" v="4"/>
            <ac:spMkLst>
              <pc:docMk/>
              <pc:sldMasterMk cId="3011101579" sldId="2147483723"/>
              <pc:sldLayoutMk cId="1948574040" sldId="2147483739"/>
              <ac:spMk id="14"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31623870" sldId="2147483745"/>
          </pc:sldLayoutMkLst>
          <pc:spChg chg="mod">
            <ac:chgData name="Sindija Kirsteine (LV)" userId="5f25501a-2215-4bb3-9d9c-8d1484ffa7c1" providerId="ADAL" clId="{93760D53-13C1-4B8B-92CA-E799D7E24E59}" dt="2024-03-04T08:30:38.651" v="4"/>
            <ac:spMkLst>
              <pc:docMk/>
              <pc:sldMasterMk cId="3011101579" sldId="2147483723"/>
              <pc:sldLayoutMk cId="31623870" sldId="2147483745"/>
              <ac:spMk id="9"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2335327034" sldId="2147483749"/>
          </pc:sldLayoutMkLst>
          <pc:spChg chg="mod">
            <ac:chgData name="Sindija Kirsteine (LV)" userId="5f25501a-2215-4bb3-9d9c-8d1484ffa7c1" providerId="ADAL" clId="{93760D53-13C1-4B8B-92CA-E799D7E24E59}" dt="2024-03-04T08:30:38.651" v="4"/>
            <ac:spMkLst>
              <pc:docMk/>
              <pc:sldMasterMk cId="3011101579" sldId="2147483723"/>
              <pc:sldLayoutMk cId="2335327034" sldId="2147483749"/>
              <ac:spMk id="10"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2335327034" sldId="2147483749"/>
              <ac:spMk id="16"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2335327034" sldId="2147483749"/>
              <ac:spMk id="18"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3532200888" sldId="2147483751"/>
          </pc:sldLayoutMkLst>
          <pc:spChg chg="mod">
            <ac:chgData name="Sindija Kirsteine (LV)" userId="5f25501a-2215-4bb3-9d9c-8d1484ffa7c1" providerId="ADAL" clId="{93760D53-13C1-4B8B-92CA-E799D7E24E59}" dt="2024-03-04T08:30:38.651" v="4"/>
            <ac:spMkLst>
              <pc:docMk/>
              <pc:sldMasterMk cId="3011101579" sldId="2147483723"/>
              <pc:sldLayoutMk cId="3532200888" sldId="2147483751"/>
              <ac:spMk id="10"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3532200888" sldId="2147483751"/>
              <ac:spMk id="14"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3532200888" sldId="2147483751"/>
              <ac:spMk id="16"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3532200888" sldId="2147483751"/>
              <ac:spMk id="18"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1556111294" sldId="2147483757"/>
          </pc:sldLayoutMkLst>
          <pc:spChg chg="mod">
            <ac:chgData name="Sindija Kirsteine (LV)" userId="5f25501a-2215-4bb3-9d9c-8d1484ffa7c1" providerId="ADAL" clId="{93760D53-13C1-4B8B-92CA-E799D7E24E59}" dt="2024-03-04T08:30:38.651" v="4"/>
            <ac:spMkLst>
              <pc:docMk/>
              <pc:sldMasterMk cId="3011101579" sldId="2147483723"/>
              <pc:sldLayoutMk cId="1556111294" sldId="2147483757"/>
              <ac:spMk id="9"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1127466074" sldId="2147483761"/>
          </pc:sldLayoutMkLst>
          <pc:spChg chg="mod">
            <ac:chgData name="Sindija Kirsteine (LV)" userId="5f25501a-2215-4bb3-9d9c-8d1484ffa7c1" providerId="ADAL" clId="{93760D53-13C1-4B8B-92CA-E799D7E24E59}" dt="2024-03-04T08:30:38.651" v="4"/>
            <ac:spMkLst>
              <pc:docMk/>
              <pc:sldMasterMk cId="3011101579" sldId="2147483723"/>
              <pc:sldLayoutMk cId="1127466074" sldId="2147483761"/>
              <ac:spMk id="10"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1127466074" sldId="2147483761"/>
              <ac:spMk id="16"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1127466074" sldId="2147483761"/>
              <ac:spMk id="18"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1512142920" sldId="2147483763"/>
          </pc:sldLayoutMkLst>
          <pc:spChg chg="mod">
            <ac:chgData name="Sindija Kirsteine (LV)" userId="5f25501a-2215-4bb3-9d9c-8d1484ffa7c1" providerId="ADAL" clId="{93760D53-13C1-4B8B-92CA-E799D7E24E59}" dt="2024-03-04T08:30:38.651" v="4"/>
            <ac:spMkLst>
              <pc:docMk/>
              <pc:sldMasterMk cId="3011101579" sldId="2147483723"/>
              <pc:sldLayoutMk cId="1512142920" sldId="2147483763"/>
              <ac:spMk id="10"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1512142920" sldId="2147483763"/>
              <ac:spMk id="14"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1512142920" sldId="2147483763"/>
              <ac:spMk id="16"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1512142920" sldId="2147483763"/>
              <ac:spMk id="18"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554471822" sldId="2147483770"/>
          </pc:sldLayoutMkLst>
          <pc:spChg chg="mod">
            <ac:chgData name="Sindija Kirsteine (LV)" userId="5f25501a-2215-4bb3-9d9c-8d1484ffa7c1" providerId="ADAL" clId="{93760D53-13C1-4B8B-92CA-E799D7E24E59}" dt="2024-03-04T08:30:38.651" v="4"/>
            <ac:spMkLst>
              <pc:docMk/>
              <pc:sldMasterMk cId="3011101579" sldId="2147483723"/>
              <pc:sldLayoutMk cId="554471822" sldId="2147483770"/>
              <ac:spMk id="10"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3874301331" sldId="2147483771"/>
          </pc:sldLayoutMkLst>
          <pc:spChg chg="mod">
            <ac:chgData name="Sindija Kirsteine (LV)" userId="5f25501a-2215-4bb3-9d9c-8d1484ffa7c1" providerId="ADAL" clId="{93760D53-13C1-4B8B-92CA-E799D7E24E59}" dt="2024-03-04T08:30:38.651" v="4"/>
            <ac:spMkLst>
              <pc:docMk/>
              <pc:sldMasterMk cId="3011101579" sldId="2147483723"/>
              <pc:sldLayoutMk cId="3874301331" sldId="2147483771"/>
              <ac:spMk id="7"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873285981" sldId="2147483772"/>
          </pc:sldLayoutMkLst>
          <pc:spChg chg="mod">
            <ac:chgData name="Sindija Kirsteine (LV)" userId="5f25501a-2215-4bb3-9d9c-8d1484ffa7c1" providerId="ADAL" clId="{93760D53-13C1-4B8B-92CA-E799D7E24E59}" dt="2024-03-04T08:30:38.651" v="4"/>
            <ac:spMkLst>
              <pc:docMk/>
              <pc:sldMasterMk cId="3011101579" sldId="2147483723"/>
              <pc:sldLayoutMk cId="873285981" sldId="2147483772"/>
              <ac:spMk id="7" creationId="{00000000-0000-0000-0000-000000000000}"/>
            </ac:spMkLst>
          </pc:spChg>
        </pc:sldLayoutChg>
      </pc:sldMasterChg>
    </pc:docChg>
  </pc:docChgLst>
  <pc:docChgLst>
    <pc:chgData name="Ivanna Tesliuk (UA)" userId="S::ivanna.tesliuk@pwc.com::6d321940-bfe1-4e00-a673-e3faad29815e" providerId="AD" clId="Web-{66FEC303-7EA9-4918-8812-1AC34129B9ED}"/>
    <pc:docChg chg="modSld">
      <pc:chgData name="Ivanna Tesliuk (UA)" userId="S::ivanna.tesliuk@pwc.com::6d321940-bfe1-4e00-a673-e3faad29815e" providerId="AD" clId="Web-{66FEC303-7EA9-4918-8812-1AC34129B9ED}" dt="2024-06-27T07:38:16.768" v="2" actId="1076"/>
      <pc:docMkLst>
        <pc:docMk/>
      </pc:docMkLst>
      <pc:sldChg chg="modSp">
        <pc:chgData name="Ivanna Tesliuk (UA)" userId="S::ivanna.tesliuk@pwc.com::6d321940-bfe1-4e00-a673-e3faad29815e" providerId="AD" clId="Web-{66FEC303-7EA9-4918-8812-1AC34129B9ED}" dt="2024-06-27T07:38:16.768" v="2" actId="1076"/>
        <pc:sldMkLst>
          <pc:docMk/>
          <pc:sldMk cId="817197616" sldId="332"/>
        </pc:sldMkLst>
        <pc:spChg chg="mod">
          <ac:chgData name="Ivanna Tesliuk (UA)" userId="S::ivanna.tesliuk@pwc.com::6d321940-bfe1-4e00-a673-e3faad29815e" providerId="AD" clId="Web-{66FEC303-7EA9-4918-8812-1AC34129B9ED}" dt="2024-06-27T07:38:16.768" v="2" actId="1076"/>
          <ac:spMkLst>
            <pc:docMk/>
            <pc:sldMk cId="817197616" sldId="332"/>
            <ac:spMk id="15" creationId="{BE44F20B-FA95-2861-40B9-74FCD9F509AC}"/>
          </ac:spMkLst>
        </pc:spChg>
        <pc:picChg chg="mod">
          <ac:chgData name="Ivanna Tesliuk (UA)" userId="S::ivanna.tesliuk@pwc.com::6d321940-bfe1-4e00-a673-e3faad29815e" providerId="AD" clId="Web-{66FEC303-7EA9-4918-8812-1AC34129B9ED}" dt="2024-06-27T07:38:08.736" v="1"/>
          <ac:picMkLst>
            <pc:docMk/>
            <pc:sldMk cId="817197616" sldId="332"/>
            <ac:picMk id="25" creationId="{C8497267-3385-72A7-9442-F96BED434CC7}"/>
          </ac:picMkLst>
        </pc:picChg>
      </pc:sldChg>
    </pc:docChg>
  </pc:docChgLst>
  <pc:docChgLst>
    <pc:chgData name="Nataliia Chornii (UA)" userId="4e4b8b3d-5f31-49bb-9f80-8a25c04abfff" providerId="ADAL" clId="{EE97D3FE-9ACA-4467-98E5-532EC45D9D1C}"/>
    <pc:docChg chg="undo redo custSel addSld delSld modSld modMainMaster replTag">
      <pc:chgData name="Nataliia Chornii (UA)" userId="4e4b8b3d-5f31-49bb-9f80-8a25c04abfff" providerId="ADAL" clId="{EE97D3FE-9ACA-4467-98E5-532EC45D9D1C}" dt="2024-03-11T15:08:51.900" v="25292" actId="12789"/>
      <pc:docMkLst>
        <pc:docMk/>
      </pc:docMkLst>
      <pc:sldChg chg="addSp delSp modSp mod">
        <pc:chgData name="Nataliia Chornii (UA)" userId="4e4b8b3d-5f31-49bb-9f80-8a25c04abfff" providerId="ADAL" clId="{EE97D3FE-9ACA-4467-98E5-532EC45D9D1C}" dt="2024-03-01T08:52:18.338" v="6823"/>
        <pc:sldMkLst>
          <pc:docMk/>
          <pc:sldMk cId="714588004" sldId="277"/>
        </pc:sldMkLst>
        <pc:spChg chg="mod">
          <ac:chgData name="Nataliia Chornii (UA)" userId="4e4b8b3d-5f31-49bb-9f80-8a25c04abfff" providerId="ADAL" clId="{EE97D3FE-9ACA-4467-98E5-532EC45D9D1C}" dt="2024-03-01T08:52:17.791" v="6407" actId="948"/>
          <ac:spMkLst>
            <pc:docMk/>
            <pc:sldMk cId="714588004" sldId="277"/>
            <ac:spMk id="2" creationId="{00000000-0000-0000-0000-000000000000}"/>
          </ac:spMkLst>
        </pc:spChg>
        <pc:spChg chg="add del mod modVis">
          <ac:chgData name="Nataliia Chornii (UA)" userId="4e4b8b3d-5f31-49bb-9f80-8a25c04abfff" providerId="ADAL" clId="{EE97D3FE-9ACA-4467-98E5-532EC45D9D1C}" dt="2024-03-01T08:48:59.975" v="1606"/>
          <ac:spMkLst>
            <pc:docMk/>
            <pc:sldMk cId="714588004" sldId="277"/>
            <ac:spMk id="8" creationId="{7927218D-0F60-AEFA-3593-4E0E363CDF70}"/>
          </ac:spMkLst>
        </pc:spChg>
        <pc:spChg chg="add del mod modVis">
          <ac:chgData name="Nataliia Chornii (UA)" userId="4e4b8b3d-5f31-49bb-9f80-8a25c04abfff" providerId="ADAL" clId="{EE97D3FE-9ACA-4467-98E5-532EC45D9D1C}" dt="2024-03-01T08:49:33.808" v="2868"/>
          <ac:spMkLst>
            <pc:docMk/>
            <pc:sldMk cId="714588004" sldId="277"/>
            <ac:spMk id="12" creationId="{DA385887-8F7A-E40E-4FBA-7252E70B6397}"/>
          </ac:spMkLst>
        </pc:spChg>
        <pc:spChg chg="add del mod modVis">
          <ac:chgData name="Nataliia Chornii (UA)" userId="4e4b8b3d-5f31-49bb-9f80-8a25c04abfff" providerId="ADAL" clId="{EE97D3FE-9ACA-4467-98E5-532EC45D9D1C}" dt="2024-03-01T08:49:59.851" v="3856"/>
          <ac:spMkLst>
            <pc:docMk/>
            <pc:sldMk cId="714588004" sldId="277"/>
            <ac:spMk id="14" creationId="{D1D3008B-D365-9B2A-3E99-2F919E92D553}"/>
          </ac:spMkLst>
        </pc:spChg>
        <pc:spChg chg="add del mod modVis">
          <ac:chgData name="Nataliia Chornii (UA)" userId="4e4b8b3d-5f31-49bb-9f80-8a25c04abfff" providerId="ADAL" clId="{EE97D3FE-9ACA-4467-98E5-532EC45D9D1C}" dt="2024-03-01T08:51:26.154" v="4844"/>
          <ac:spMkLst>
            <pc:docMk/>
            <pc:sldMk cId="714588004" sldId="277"/>
            <ac:spMk id="15" creationId="{241CB905-692A-855A-E47B-9589A71F28B2}"/>
          </ac:spMkLst>
        </pc:spChg>
        <pc:spChg chg="add del mod modVis">
          <ac:chgData name="Nataliia Chornii (UA)" userId="4e4b8b3d-5f31-49bb-9f80-8a25c04abfff" providerId="ADAL" clId="{EE97D3FE-9ACA-4467-98E5-532EC45D9D1C}" dt="2024-03-01T08:51:56.173" v="5833"/>
          <ac:spMkLst>
            <pc:docMk/>
            <pc:sldMk cId="714588004" sldId="277"/>
            <ac:spMk id="16" creationId="{E37690C6-5990-F5F9-B8AC-5749E61720A1}"/>
          </ac:spMkLst>
        </pc:spChg>
        <pc:spChg chg="add del mod modVis">
          <ac:chgData name="Nataliia Chornii (UA)" userId="4e4b8b3d-5f31-49bb-9f80-8a25c04abfff" providerId="ADAL" clId="{EE97D3FE-9ACA-4467-98E5-532EC45D9D1C}" dt="2024-03-01T08:52:18.334" v="6821"/>
          <ac:spMkLst>
            <pc:docMk/>
            <pc:sldMk cId="714588004" sldId="277"/>
            <ac:spMk id="17" creationId="{F0565B30-44BB-94F9-0CB6-BA26F4855F90}"/>
          </ac:spMkLst>
        </pc:spChg>
        <pc:graphicFrameChg chg="add mod ord modVis replST">
          <ac:chgData name="Nataliia Chornii (UA)" userId="4e4b8b3d-5f31-49bb-9f80-8a25c04abfff" providerId="ADAL" clId="{EE97D3FE-9ACA-4467-98E5-532EC45D9D1C}" dt="2024-03-01T08:52:18.338" v="6823"/>
          <ac:graphicFrameMkLst>
            <pc:docMk/>
            <pc:sldMk cId="714588004" sldId="277"/>
            <ac:graphicFrameMk id="10" creationId="{23612334-23ED-C117-B5EA-5CAEDC739931}"/>
          </ac:graphicFrameMkLst>
        </pc:graphicFrameChg>
      </pc:sldChg>
      <pc:sldChg chg="addSp modSp mod">
        <pc:chgData name="Nataliia Chornii (UA)" userId="4e4b8b3d-5f31-49bb-9f80-8a25c04abfff" providerId="ADAL" clId="{EE97D3FE-9ACA-4467-98E5-532EC45D9D1C}" dt="2024-03-01T08:52:18.296" v="6801"/>
        <pc:sldMkLst>
          <pc:docMk/>
          <pc:sldMk cId="0" sldId="309"/>
        </pc:sldMkLst>
        <pc:graphicFrameChg chg="add mod ord modVis replST">
          <ac:chgData name="Nataliia Chornii (UA)" userId="4e4b8b3d-5f31-49bb-9f80-8a25c04abfff" providerId="ADAL" clId="{EE97D3FE-9ACA-4467-98E5-532EC45D9D1C}" dt="2024-03-01T08:52:18.296" v="6801"/>
          <ac:graphicFrameMkLst>
            <pc:docMk/>
            <pc:sldMk cId="0" sldId="309"/>
            <ac:graphicFrameMk id="7" creationId="{89B9D41C-B009-824A-C2B9-7432C117FE81}"/>
          </ac:graphicFrameMkLst>
        </pc:graphicFrameChg>
      </pc:sldChg>
      <pc:sldChg chg="addSp modSp mod">
        <pc:chgData name="Nataliia Chornii (UA)" userId="4e4b8b3d-5f31-49bb-9f80-8a25c04abfff" providerId="ADAL" clId="{EE97D3FE-9ACA-4467-98E5-532EC45D9D1C}" dt="2024-03-01T08:52:18.312" v="6811"/>
        <pc:sldMkLst>
          <pc:docMk/>
          <pc:sldMk cId="0" sldId="310"/>
        </pc:sldMkLst>
        <pc:graphicFrameChg chg="add mod ord modVis replST">
          <ac:chgData name="Nataliia Chornii (UA)" userId="4e4b8b3d-5f31-49bb-9f80-8a25c04abfff" providerId="ADAL" clId="{EE97D3FE-9ACA-4467-98E5-532EC45D9D1C}" dt="2024-03-01T08:52:18.312" v="6811"/>
          <ac:graphicFrameMkLst>
            <pc:docMk/>
            <pc:sldMk cId="0" sldId="310"/>
            <ac:graphicFrameMk id="7" creationId="{33643B41-0D48-E5D8-814E-CE57901EFF17}"/>
          </ac:graphicFrameMkLst>
        </pc:graphicFrameChg>
      </pc:sldChg>
      <pc:sldChg chg="addSp modSp mod">
        <pc:chgData name="Nataliia Chornii (UA)" userId="4e4b8b3d-5f31-49bb-9f80-8a25c04abfff" providerId="ADAL" clId="{EE97D3FE-9ACA-4467-98E5-532EC45D9D1C}" dt="2024-03-01T08:52:18.342" v="6825"/>
        <pc:sldMkLst>
          <pc:docMk/>
          <pc:sldMk cId="0" sldId="312"/>
        </pc:sldMkLst>
        <pc:graphicFrameChg chg="add mod ord modVis replST">
          <ac:chgData name="Nataliia Chornii (UA)" userId="4e4b8b3d-5f31-49bb-9f80-8a25c04abfff" providerId="ADAL" clId="{EE97D3FE-9ACA-4467-98E5-532EC45D9D1C}" dt="2024-03-01T08:52:18.342" v="6825"/>
          <ac:graphicFrameMkLst>
            <pc:docMk/>
            <pc:sldMk cId="0" sldId="312"/>
            <ac:graphicFrameMk id="6" creationId="{81855EB9-45B2-3B8D-3A0F-4514FAB1861D}"/>
          </ac:graphicFrameMkLst>
        </pc:graphicFrameChg>
      </pc:sldChg>
      <pc:sldChg chg="addSp modSp mod">
        <pc:chgData name="Nataliia Chornii (UA)" userId="4e4b8b3d-5f31-49bb-9f80-8a25c04abfff" providerId="ADAL" clId="{EE97D3FE-9ACA-4467-98E5-532EC45D9D1C}" dt="2024-03-01T08:52:18.327" v="6817"/>
        <pc:sldMkLst>
          <pc:docMk/>
          <pc:sldMk cId="0" sldId="313"/>
        </pc:sldMkLst>
        <pc:graphicFrameChg chg="add mod ord modVis replST">
          <ac:chgData name="Nataliia Chornii (UA)" userId="4e4b8b3d-5f31-49bb-9f80-8a25c04abfff" providerId="ADAL" clId="{EE97D3FE-9ACA-4467-98E5-532EC45D9D1C}" dt="2024-03-01T08:52:18.327" v="6817"/>
          <ac:graphicFrameMkLst>
            <pc:docMk/>
            <pc:sldMk cId="0" sldId="313"/>
            <ac:graphicFrameMk id="6" creationId="{2CA7AA43-0359-97A6-C8DF-C5E8709DA30C}"/>
          </ac:graphicFrameMkLst>
        </pc:graphicFrameChg>
      </pc:sldChg>
      <pc:sldChg chg="addSp modSp mod">
        <pc:chgData name="Nataliia Chornii (UA)" userId="4e4b8b3d-5f31-49bb-9f80-8a25c04abfff" providerId="ADAL" clId="{EE97D3FE-9ACA-4467-98E5-532EC45D9D1C}" dt="2024-03-01T08:52:18.334" v="6819"/>
        <pc:sldMkLst>
          <pc:docMk/>
          <pc:sldMk cId="0" sldId="314"/>
        </pc:sldMkLst>
        <pc:graphicFrameChg chg="add mod ord modVis replST">
          <ac:chgData name="Nataliia Chornii (UA)" userId="4e4b8b3d-5f31-49bb-9f80-8a25c04abfff" providerId="ADAL" clId="{EE97D3FE-9ACA-4467-98E5-532EC45D9D1C}" dt="2024-03-01T08:52:18.334" v="6819"/>
          <ac:graphicFrameMkLst>
            <pc:docMk/>
            <pc:sldMk cId="0" sldId="314"/>
            <ac:graphicFrameMk id="5" creationId="{09547F42-4A66-FE43-F7D2-907EBAD59A0E}"/>
          </ac:graphicFrameMkLst>
        </pc:graphicFrameChg>
      </pc:sldChg>
      <pc:sldChg chg="addSp delSp modSp mod modClrScheme chgLayout">
        <pc:chgData name="Nataliia Chornii (UA)" userId="4e4b8b3d-5f31-49bb-9f80-8a25c04abfff" providerId="ADAL" clId="{EE97D3FE-9ACA-4467-98E5-532EC45D9D1C}" dt="2024-03-01T08:51:31.850" v="4917" actId="207"/>
        <pc:sldMkLst>
          <pc:docMk/>
          <pc:sldMk cId="817197616" sldId="332"/>
        </pc:sldMkLst>
        <pc:spChg chg="del">
          <ac:chgData name="Nataliia Chornii (UA)" userId="4e4b8b3d-5f31-49bb-9f80-8a25c04abfff" providerId="ADAL" clId="{EE97D3FE-9ACA-4467-98E5-532EC45D9D1C}" dt="2024-03-01T08:27:29.102" v="2" actId="478"/>
          <ac:spMkLst>
            <pc:docMk/>
            <pc:sldMk cId="817197616" sldId="332"/>
            <ac:spMk id="2" creationId="{00000000-0000-0000-0000-000000000000}"/>
          </ac:spMkLst>
        </pc:spChg>
        <pc:spChg chg="del">
          <ac:chgData name="Nataliia Chornii (UA)" userId="4e4b8b3d-5f31-49bb-9f80-8a25c04abfff" providerId="ADAL" clId="{EE97D3FE-9ACA-4467-98E5-532EC45D9D1C}" dt="2024-03-01T08:27:29.102" v="2" actId="478"/>
          <ac:spMkLst>
            <pc:docMk/>
            <pc:sldMk cId="817197616" sldId="332"/>
            <ac:spMk id="3" creationId="{00000000-0000-0000-0000-000000000000}"/>
          </ac:spMkLst>
        </pc:spChg>
        <pc:spChg chg="add del mod">
          <ac:chgData name="Nataliia Chornii (UA)" userId="4e4b8b3d-5f31-49bb-9f80-8a25c04abfff" providerId="ADAL" clId="{EE97D3FE-9ACA-4467-98E5-532EC45D9D1C}" dt="2024-03-01T08:27:41.634" v="57" actId="700"/>
          <ac:spMkLst>
            <pc:docMk/>
            <pc:sldMk cId="817197616" sldId="332"/>
            <ac:spMk id="5" creationId="{C25FCFE7-E554-A689-D37C-B8B9B7E710A2}"/>
          </ac:spMkLst>
        </pc:spChg>
        <pc:spChg chg="add del mod ord">
          <ac:chgData name="Nataliia Chornii (UA)" userId="4e4b8b3d-5f31-49bb-9f80-8a25c04abfff" providerId="ADAL" clId="{EE97D3FE-9ACA-4467-98E5-532EC45D9D1C}" dt="2024-03-01T08:27:46.926" v="63"/>
          <ac:spMkLst>
            <pc:docMk/>
            <pc:sldMk cId="817197616" sldId="332"/>
            <ac:spMk id="7" creationId="{FA9D5E14-C1E9-5192-2673-811A60CE1A80}"/>
          </ac:spMkLst>
        </pc:spChg>
        <pc:spChg chg="add mod ord">
          <ac:chgData name="Nataliia Chornii (UA)" userId="4e4b8b3d-5f31-49bb-9f80-8a25c04abfff" providerId="ADAL" clId="{EE97D3FE-9ACA-4467-98E5-532EC45D9D1C}" dt="2024-03-01T08:42:33.405" v="241"/>
          <ac:spMkLst>
            <pc:docMk/>
            <pc:sldMk cId="817197616" sldId="332"/>
            <ac:spMk id="9" creationId="{9C917BBD-747E-ABCB-3683-E8C68F33230D}"/>
          </ac:spMkLst>
        </pc:spChg>
        <pc:spChg chg="add mod ord">
          <ac:chgData name="Nataliia Chornii (UA)" userId="4e4b8b3d-5f31-49bb-9f80-8a25c04abfff" providerId="ADAL" clId="{EE97D3FE-9ACA-4467-98E5-532EC45D9D1C}" dt="2024-03-01T08:42:33.405" v="243"/>
          <ac:spMkLst>
            <pc:docMk/>
            <pc:sldMk cId="817197616" sldId="332"/>
            <ac:spMk id="10" creationId="{1AF1F518-FFCA-3677-677C-CC302DF4DAFE}"/>
          </ac:spMkLst>
        </pc:spChg>
        <pc:spChg chg="add mod ord">
          <ac:chgData name="Nataliia Chornii (UA)" userId="4e4b8b3d-5f31-49bb-9f80-8a25c04abfff" providerId="ADAL" clId="{EE97D3FE-9ACA-4467-98E5-532EC45D9D1C}" dt="2024-03-01T08:42:33.405" v="245"/>
          <ac:spMkLst>
            <pc:docMk/>
            <pc:sldMk cId="817197616" sldId="332"/>
            <ac:spMk id="11" creationId="{DBC36456-4B66-EB4A-D981-C3F1BA8DC87C}"/>
          </ac:spMkLst>
        </pc:spChg>
        <pc:spChg chg="add mod ord">
          <ac:chgData name="Nataliia Chornii (UA)" userId="4e4b8b3d-5f31-49bb-9f80-8a25c04abfff" providerId="ADAL" clId="{EE97D3FE-9ACA-4467-98E5-532EC45D9D1C}" dt="2024-03-01T08:42:33.405" v="247"/>
          <ac:spMkLst>
            <pc:docMk/>
            <pc:sldMk cId="817197616" sldId="332"/>
            <ac:spMk id="12" creationId="{123D026D-5D8F-A549-5FE7-CFE0079FF1A4}"/>
          </ac:spMkLst>
        </pc:spChg>
        <pc:spChg chg="add mod ord">
          <ac:chgData name="Nataliia Chornii (UA)" userId="4e4b8b3d-5f31-49bb-9f80-8a25c04abfff" providerId="ADAL" clId="{EE97D3FE-9ACA-4467-98E5-532EC45D9D1C}" dt="2024-03-01T08:42:33.405" v="249"/>
          <ac:spMkLst>
            <pc:docMk/>
            <pc:sldMk cId="817197616" sldId="332"/>
            <ac:spMk id="13" creationId="{2CDF9D1C-06B6-DBD5-46F8-513B52B44455}"/>
          </ac:spMkLst>
        </pc:spChg>
        <pc:spChg chg="add mod ord">
          <ac:chgData name="Nataliia Chornii (UA)" userId="4e4b8b3d-5f31-49bb-9f80-8a25c04abfff" providerId="ADAL" clId="{EE97D3FE-9ACA-4467-98E5-532EC45D9D1C}" dt="2024-03-01T08:42:33.405" v="251"/>
          <ac:spMkLst>
            <pc:docMk/>
            <pc:sldMk cId="817197616" sldId="332"/>
            <ac:spMk id="14" creationId="{E62C2375-E0A6-F543-AA10-2197973EFACB}"/>
          </ac:spMkLst>
        </pc:spChg>
        <pc:spChg chg="add mod ord">
          <ac:chgData name="Nataliia Chornii (UA)" userId="4e4b8b3d-5f31-49bb-9f80-8a25c04abfff" providerId="ADAL" clId="{EE97D3FE-9ACA-4467-98E5-532EC45D9D1C}" dt="2024-03-01T08:42:33.403" v="239"/>
          <ac:spMkLst>
            <pc:docMk/>
            <pc:sldMk cId="817197616" sldId="332"/>
            <ac:spMk id="15" creationId="{BE44F20B-FA95-2861-40B9-74FCD9F509AC}"/>
          </ac:spMkLst>
        </pc:spChg>
        <pc:spChg chg="add mod ord">
          <ac:chgData name="Nataliia Chornii (UA)" userId="4e4b8b3d-5f31-49bb-9f80-8a25c04abfff" providerId="ADAL" clId="{EE97D3FE-9ACA-4467-98E5-532EC45D9D1C}" dt="2024-03-01T08:48:12.688" v="292" actId="12788"/>
          <ac:spMkLst>
            <pc:docMk/>
            <pc:sldMk cId="817197616" sldId="332"/>
            <ac:spMk id="16" creationId="{12D56AF0-5D91-586B-FC86-6E2EA8AA6489}"/>
          </ac:spMkLst>
        </pc:spChg>
        <pc:spChg chg="add mod ord">
          <ac:chgData name="Nataliia Chornii (UA)" userId="4e4b8b3d-5f31-49bb-9f80-8a25c04abfff" providerId="ADAL" clId="{EE97D3FE-9ACA-4467-98E5-532EC45D9D1C}" dt="2024-03-01T08:49:07.172" v="1952" actId="207"/>
          <ac:spMkLst>
            <pc:docMk/>
            <pc:sldMk cId="817197616" sldId="332"/>
            <ac:spMk id="17" creationId="{2AD67365-5F03-E963-4C79-A9BF11E64D4B}"/>
          </ac:spMkLst>
        </pc:spChg>
        <pc:spChg chg="add mod ord">
          <ac:chgData name="Nataliia Chornii (UA)" userId="4e4b8b3d-5f31-49bb-9f80-8a25c04abfff" providerId="ADAL" clId="{EE97D3FE-9ACA-4467-98E5-532EC45D9D1C}" dt="2024-03-01T08:48:12.688" v="292" actId="12788"/>
          <ac:spMkLst>
            <pc:docMk/>
            <pc:sldMk cId="817197616" sldId="332"/>
            <ac:spMk id="18" creationId="{3EFF9D7B-F6C9-BDA4-7649-F6C5399146DF}"/>
          </ac:spMkLst>
        </pc:spChg>
        <pc:spChg chg="add mod ord">
          <ac:chgData name="Nataliia Chornii (UA)" userId="4e4b8b3d-5f31-49bb-9f80-8a25c04abfff" providerId="ADAL" clId="{EE97D3FE-9ACA-4467-98E5-532EC45D9D1C}" dt="2024-03-01T08:48:12.688" v="292" actId="12788"/>
          <ac:spMkLst>
            <pc:docMk/>
            <pc:sldMk cId="817197616" sldId="332"/>
            <ac:spMk id="19" creationId="{3BD32581-6C0C-F715-E58C-F0FC848A828C}"/>
          </ac:spMkLst>
        </pc:spChg>
        <pc:spChg chg="add mod ord">
          <ac:chgData name="Nataliia Chornii (UA)" userId="4e4b8b3d-5f31-49bb-9f80-8a25c04abfff" providerId="ADAL" clId="{EE97D3FE-9ACA-4467-98E5-532EC45D9D1C}" dt="2024-03-01T08:51:31.850" v="4917" actId="207"/>
          <ac:spMkLst>
            <pc:docMk/>
            <pc:sldMk cId="817197616" sldId="332"/>
            <ac:spMk id="20" creationId="{C32CDEE4-492E-89E4-B047-D845DF6A57F6}"/>
          </ac:spMkLst>
        </pc:spChg>
        <pc:spChg chg="add mod ord">
          <ac:chgData name="Nataliia Chornii (UA)" userId="4e4b8b3d-5f31-49bb-9f80-8a25c04abfff" providerId="ADAL" clId="{EE97D3FE-9ACA-4467-98E5-532EC45D9D1C}" dt="2024-03-01T08:48:12.688" v="292" actId="12788"/>
          <ac:spMkLst>
            <pc:docMk/>
            <pc:sldMk cId="817197616" sldId="332"/>
            <ac:spMk id="21" creationId="{E8EC1277-A063-49F0-81F3-8CB8E7AB2F86}"/>
          </ac:spMkLst>
        </pc:spChg>
        <pc:spChg chg="add del mod">
          <ac:chgData name="Nataliia Chornii (UA)" userId="4e4b8b3d-5f31-49bb-9f80-8a25c04abfff" providerId="ADAL" clId="{EE97D3FE-9ACA-4467-98E5-532EC45D9D1C}" dt="2024-03-01T08:42:32.538" v="235" actId="931"/>
          <ac:spMkLst>
            <pc:docMk/>
            <pc:sldMk cId="817197616" sldId="332"/>
            <ac:spMk id="23" creationId="{73A4EC6E-2C20-3D4F-F39E-C09C95CC6291}"/>
          </ac:spMkLst>
        </pc:spChg>
        <pc:graphicFrameChg chg="add mod ord modVis replST">
          <ac:chgData name="Nataliia Chornii (UA)" userId="4e4b8b3d-5f31-49bb-9f80-8a25c04abfff" providerId="ADAL" clId="{EE97D3FE-9ACA-4467-98E5-532EC45D9D1C}" dt="2024-03-01T08:48:15.598" v="300"/>
          <ac:graphicFrameMkLst>
            <pc:docMk/>
            <pc:sldMk cId="817197616" sldId="332"/>
            <ac:graphicFrameMk id="6" creationId="{F519BE3E-6430-6DF8-7979-F97BC9AEB1D1}"/>
          </ac:graphicFrameMkLst>
        </pc:graphicFrameChg>
        <pc:picChg chg="add del mod ord">
          <ac:chgData name="Nataliia Chornii (UA)" userId="4e4b8b3d-5f31-49bb-9f80-8a25c04abfff" providerId="ADAL" clId="{EE97D3FE-9ACA-4467-98E5-532EC45D9D1C}" dt="2024-03-01T08:28:39.355" v="182" actId="478"/>
          <ac:picMkLst>
            <pc:docMk/>
            <pc:sldMk cId="817197616" sldId="332"/>
            <ac:picMk id="8" creationId="{30DC852E-D18A-5993-8F86-35E13B951D6F}"/>
          </ac:picMkLst>
        </pc:picChg>
        <pc:picChg chg="add mod ord">
          <ac:chgData name="Nataliia Chornii (UA)" userId="4e4b8b3d-5f31-49bb-9f80-8a25c04abfff" providerId="ADAL" clId="{EE97D3FE-9ACA-4467-98E5-532EC45D9D1C}" dt="2024-03-01T08:42:33.388" v="237"/>
          <ac:picMkLst>
            <pc:docMk/>
            <pc:sldMk cId="817197616" sldId="332"/>
            <ac:picMk id="25" creationId="{C8497267-3385-72A7-9442-F96BED434CC7}"/>
          </ac:picMkLst>
        </pc:picChg>
      </pc:sldChg>
      <pc:sldChg chg="addSp delSp modSp mod">
        <pc:chgData name="Nataliia Chornii (UA)" userId="4e4b8b3d-5f31-49bb-9f80-8a25c04abfff" providerId="ADAL" clId="{EE97D3FE-9ACA-4467-98E5-532EC45D9D1C}" dt="2024-03-01T08:52:18.296" v="6791"/>
        <pc:sldMkLst>
          <pc:docMk/>
          <pc:sldMk cId="1077060666" sldId="333"/>
        </pc:sldMkLst>
        <pc:spChg chg="mod">
          <ac:chgData name="Nataliia Chornii (UA)" userId="4e4b8b3d-5f31-49bb-9f80-8a25c04abfff" providerId="ADAL" clId="{EE97D3FE-9ACA-4467-98E5-532EC45D9D1C}" dt="2024-03-01T08:52:17.634" v="6287" actId="948"/>
          <ac:spMkLst>
            <pc:docMk/>
            <pc:sldMk cId="1077060666" sldId="333"/>
            <ac:spMk id="2" creationId="{AC42B68E-B8A9-728C-36B8-45E86158C3A3}"/>
          </ac:spMkLst>
        </pc:spChg>
        <pc:spChg chg="add del mod modVis">
          <ac:chgData name="Nataliia Chornii (UA)" userId="4e4b8b3d-5f31-49bb-9f80-8a25c04abfff" providerId="ADAL" clId="{EE97D3FE-9ACA-4467-98E5-532EC45D9D1C}" dt="2024-03-01T08:48:59.644" v="1444"/>
          <ac:spMkLst>
            <pc:docMk/>
            <pc:sldMk cId="1077060666" sldId="333"/>
            <ac:spMk id="4" creationId="{0A1F9B0E-C3CE-1119-2E5A-9377BB72E721}"/>
          </ac:spMkLst>
        </pc:spChg>
        <pc:spChg chg="add del mod modVis">
          <ac:chgData name="Nataliia Chornii (UA)" userId="4e4b8b3d-5f31-49bb-9f80-8a25c04abfff" providerId="ADAL" clId="{EE97D3FE-9ACA-4467-98E5-532EC45D9D1C}" dt="2024-03-01T08:49:33.777" v="2836"/>
          <ac:spMkLst>
            <pc:docMk/>
            <pc:sldMk cId="1077060666" sldId="333"/>
            <ac:spMk id="6" creationId="{2E41C3D8-6D5E-FA3B-9267-2A0D8E3E61CA}"/>
          </ac:spMkLst>
        </pc:spChg>
        <pc:spChg chg="add del mod modVis">
          <ac:chgData name="Nataliia Chornii (UA)" userId="4e4b8b3d-5f31-49bb-9f80-8a25c04abfff" providerId="ADAL" clId="{EE97D3FE-9ACA-4467-98E5-532EC45D9D1C}" dt="2024-03-01T08:49:59.804" v="3824"/>
          <ac:spMkLst>
            <pc:docMk/>
            <pc:sldMk cId="1077060666" sldId="333"/>
            <ac:spMk id="7" creationId="{FD03FEEB-96DF-3422-8879-A40D3CD16D1F}"/>
          </ac:spMkLst>
        </pc:spChg>
        <pc:spChg chg="add del mod modVis">
          <ac:chgData name="Nataliia Chornii (UA)" userId="4e4b8b3d-5f31-49bb-9f80-8a25c04abfff" providerId="ADAL" clId="{EE97D3FE-9ACA-4467-98E5-532EC45D9D1C}" dt="2024-03-01T08:51:26.124" v="4812"/>
          <ac:spMkLst>
            <pc:docMk/>
            <pc:sldMk cId="1077060666" sldId="333"/>
            <ac:spMk id="8" creationId="{7C223DAF-D60C-7E39-2B71-0DBBF6F9054D}"/>
          </ac:spMkLst>
        </pc:spChg>
        <pc:spChg chg="add del mod modVis">
          <ac:chgData name="Nataliia Chornii (UA)" userId="4e4b8b3d-5f31-49bb-9f80-8a25c04abfff" providerId="ADAL" clId="{EE97D3FE-9ACA-4467-98E5-532EC45D9D1C}" dt="2024-03-01T08:51:56.131" v="5801"/>
          <ac:spMkLst>
            <pc:docMk/>
            <pc:sldMk cId="1077060666" sldId="333"/>
            <ac:spMk id="9" creationId="{69568C7F-2A45-4355-C830-47103D234F9D}"/>
          </ac:spMkLst>
        </pc:spChg>
        <pc:spChg chg="add del mod modVis">
          <ac:chgData name="Nataliia Chornii (UA)" userId="4e4b8b3d-5f31-49bb-9f80-8a25c04abfff" providerId="ADAL" clId="{EE97D3FE-9ACA-4467-98E5-532EC45D9D1C}" dt="2024-03-01T08:52:18.296" v="6789"/>
          <ac:spMkLst>
            <pc:docMk/>
            <pc:sldMk cId="1077060666" sldId="333"/>
            <ac:spMk id="10" creationId="{69720849-5ADF-7974-1C8B-E83CCF387516}"/>
          </ac:spMkLst>
        </pc:spChg>
        <pc:graphicFrameChg chg="add mod ord modVis replST">
          <ac:chgData name="Nataliia Chornii (UA)" userId="4e4b8b3d-5f31-49bb-9f80-8a25c04abfff" providerId="ADAL" clId="{EE97D3FE-9ACA-4467-98E5-532EC45D9D1C}" dt="2024-03-01T08:52:18.296" v="6791"/>
          <ac:graphicFrameMkLst>
            <pc:docMk/>
            <pc:sldMk cId="1077060666" sldId="333"/>
            <ac:graphicFrameMk id="5" creationId="{14B55C25-62AB-5BAE-3512-193FEF814325}"/>
          </ac:graphicFrameMkLst>
        </pc:graphicFrameChg>
      </pc:sldChg>
      <pc:sldChg chg="addSp delSp modSp mod">
        <pc:chgData name="Nataliia Chornii (UA)" userId="4e4b8b3d-5f31-49bb-9f80-8a25c04abfff" providerId="ADAL" clId="{EE97D3FE-9ACA-4467-98E5-532EC45D9D1C}" dt="2024-03-01T08:52:18.345" v="6835"/>
        <pc:sldMkLst>
          <pc:docMk/>
          <pc:sldMk cId="1586425510" sldId="334"/>
        </pc:sldMkLst>
        <pc:spChg chg="mod">
          <ac:chgData name="Nataliia Chornii (UA)" userId="4e4b8b3d-5f31-49bb-9f80-8a25c04abfff" providerId="ADAL" clId="{EE97D3FE-9ACA-4467-98E5-532EC45D9D1C}" dt="2024-03-01T08:52:17.856" v="6447" actId="948"/>
          <ac:spMkLst>
            <pc:docMk/>
            <pc:sldMk cId="1586425510" sldId="334"/>
            <ac:spMk id="2" creationId="{CCE1867A-76FC-5612-72D9-947FD7F4B719}"/>
          </ac:spMkLst>
        </pc:spChg>
        <pc:spChg chg="add del mod modVis">
          <ac:chgData name="Nataliia Chornii (UA)" userId="4e4b8b3d-5f31-49bb-9f80-8a25c04abfff" providerId="ADAL" clId="{EE97D3FE-9ACA-4467-98E5-532EC45D9D1C}" dt="2024-03-01T08:49:00.123" v="1670"/>
          <ac:spMkLst>
            <pc:docMk/>
            <pc:sldMk cId="1586425510" sldId="334"/>
            <ac:spMk id="4" creationId="{E497585C-0438-D4E2-B227-AA1EB25F249E}"/>
          </ac:spMkLst>
        </pc:spChg>
        <pc:spChg chg="add del mod modVis">
          <ac:chgData name="Nataliia Chornii (UA)" userId="4e4b8b3d-5f31-49bb-9f80-8a25c04abfff" providerId="ADAL" clId="{EE97D3FE-9ACA-4467-98E5-532EC45D9D1C}" dt="2024-03-01T08:49:33.823" v="2880"/>
          <ac:spMkLst>
            <pc:docMk/>
            <pc:sldMk cId="1586425510" sldId="334"/>
            <ac:spMk id="6" creationId="{E59953DD-528A-374E-7CE0-1307D28F3AD2}"/>
          </ac:spMkLst>
        </pc:spChg>
        <pc:spChg chg="add del mod modVis">
          <ac:chgData name="Nataliia Chornii (UA)" userId="4e4b8b3d-5f31-49bb-9f80-8a25c04abfff" providerId="ADAL" clId="{EE97D3FE-9ACA-4467-98E5-532EC45D9D1C}" dt="2024-03-01T08:49:59.851" v="3868"/>
          <ac:spMkLst>
            <pc:docMk/>
            <pc:sldMk cId="1586425510" sldId="334"/>
            <ac:spMk id="7" creationId="{CCD43402-D8FC-7C87-0F2A-BC4554E1F7BA}"/>
          </ac:spMkLst>
        </pc:spChg>
        <pc:spChg chg="add del mod modVis">
          <ac:chgData name="Nataliia Chornii (UA)" userId="4e4b8b3d-5f31-49bb-9f80-8a25c04abfff" providerId="ADAL" clId="{EE97D3FE-9ACA-4467-98E5-532EC45D9D1C}" dt="2024-03-01T08:51:26.172" v="4856"/>
          <ac:spMkLst>
            <pc:docMk/>
            <pc:sldMk cId="1586425510" sldId="334"/>
            <ac:spMk id="8" creationId="{13F3DD8C-C44B-B270-3175-2FEF8F3291E2}"/>
          </ac:spMkLst>
        </pc:spChg>
        <pc:spChg chg="add del mod modVis">
          <ac:chgData name="Nataliia Chornii (UA)" userId="4e4b8b3d-5f31-49bb-9f80-8a25c04abfff" providerId="ADAL" clId="{EE97D3FE-9ACA-4467-98E5-532EC45D9D1C}" dt="2024-03-01T08:51:56.188" v="5845"/>
          <ac:spMkLst>
            <pc:docMk/>
            <pc:sldMk cId="1586425510" sldId="334"/>
            <ac:spMk id="9" creationId="{82E9CC16-65A6-4B9A-6B2A-248E77532420}"/>
          </ac:spMkLst>
        </pc:spChg>
        <pc:spChg chg="add del mod modVis">
          <ac:chgData name="Nataliia Chornii (UA)" userId="4e4b8b3d-5f31-49bb-9f80-8a25c04abfff" providerId="ADAL" clId="{EE97D3FE-9ACA-4467-98E5-532EC45D9D1C}" dt="2024-03-01T08:52:18.345" v="6833"/>
          <ac:spMkLst>
            <pc:docMk/>
            <pc:sldMk cId="1586425510" sldId="334"/>
            <ac:spMk id="10" creationId="{F29A5B97-72B5-DA1C-3462-0902FE7E03FE}"/>
          </ac:spMkLst>
        </pc:spChg>
        <pc:graphicFrameChg chg="add mod ord modVis replST">
          <ac:chgData name="Nataliia Chornii (UA)" userId="4e4b8b3d-5f31-49bb-9f80-8a25c04abfff" providerId="ADAL" clId="{EE97D3FE-9ACA-4467-98E5-532EC45D9D1C}" dt="2024-03-01T08:52:18.345" v="6835"/>
          <ac:graphicFrameMkLst>
            <pc:docMk/>
            <pc:sldMk cId="1586425510" sldId="334"/>
            <ac:graphicFrameMk id="5" creationId="{D67470D2-0008-D9C3-16A4-EA8755B2B5B5}"/>
          </ac:graphicFrameMkLst>
        </pc:graphicFrameChg>
      </pc:sldChg>
      <pc:sldChg chg="addSp delSp modSp mod">
        <pc:chgData name="Nataliia Chornii (UA)" userId="4e4b8b3d-5f31-49bb-9f80-8a25c04abfff" providerId="ADAL" clId="{EE97D3FE-9ACA-4467-98E5-532EC45D9D1C}" dt="2024-03-01T08:52:18.357" v="6839"/>
        <pc:sldMkLst>
          <pc:docMk/>
          <pc:sldMk cId="3962446863" sldId="335"/>
        </pc:sldMkLst>
        <pc:spChg chg="mod">
          <ac:chgData name="Nataliia Chornii (UA)" userId="4e4b8b3d-5f31-49bb-9f80-8a25c04abfff" providerId="ADAL" clId="{EE97D3FE-9ACA-4467-98E5-532EC45D9D1C}" dt="2024-03-01T08:52:17.886" v="6467" actId="948"/>
          <ac:spMkLst>
            <pc:docMk/>
            <pc:sldMk cId="3962446863" sldId="335"/>
            <ac:spMk id="2" creationId="{036EE845-32FD-E9C9-A93D-53BFBE791A59}"/>
          </ac:spMkLst>
        </pc:spChg>
        <pc:spChg chg="add del mod modVis">
          <ac:chgData name="Nataliia Chornii (UA)" userId="4e4b8b3d-5f31-49bb-9f80-8a25c04abfff" providerId="ADAL" clId="{EE97D3FE-9ACA-4467-98E5-532EC45D9D1C}" dt="2024-03-01T08:49:00.164" v="1687"/>
          <ac:spMkLst>
            <pc:docMk/>
            <pc:sldMk cId="3962446863" sldId="335"/>
            <ac:spMk id="4" creationId="{CADCD62C-FF33-E251-993D-5C6EBECEEB89}"/>
          </ac:spMkLst>
        </pc:spChg>
        <pc:spChg chg="add del mod modVis">
          <ac:chgData name="Nataliia Chornii (UA)" userId="4e4b8b3d-5f31-49bb-9f80-8a25c04abfff" providerId="ADAL" clId="{EE97D3FE-9ACA-4467-98E5-532EC45D9D1C}" dt="2024-03-01T08:49:33.839" v="2884"/>
          <ac:spMkLst>
            <pc:docMk/>
            <pc:sldMk cId="3962446863" sldId="335"/>
            <ac:spMk id="6" creationId="{8B045F08-0F20-EC4C-A38C-F6BB6F96068E}"/>
          </ac:spMkLst>
        </pc:spChg>
        <pc:spChg chg="add del mod modVis">
          <ac:chgData name="Nataliia Chornii (UA)" userId="4e4b8b3d-5f31-49bb-9f80-8a25c04abfff" providerId="ADAL" clId="{EE97D3FE-9ACA-4467-98E5-532EC45D9D1C}" dt="2024-03-01T08:49:59.867" v="3872"/>
          <ac:spMkLst>
            <pc:docMk/>
            <pc:sldMk cId="3962446863" sldId="335"/>
            <ac:spMk id="7" creationId="{E0922A31-6ECA-28D5-B511-B334612048CA}"/>
          </ac:spMkLst>
        </pc:spChg>
        <pc:spChg chg="add del mod modVis">
          <ac:chgData name="Nataliia Chornii (UA)" userId="4e4b8b3d-5f31-49bb-9f80-8a25c04abfff" providerId="ADAL" clId="{EE97D3FE-9ACA-4467-98E5-532EC45D9D1C}" dt="2024-03-01T08:51:26.178" v="4860"/>
          <ac:spMkLst>
            <pc:docMk/>
            <pc:sldMk cId="3962446863" sldId="335"/>
            <ac:spMk id="8" creationId="{0ED8D890-942B-573B-8F2F-991CA2FFAE7D}"/>
          </ac:spMkLst>
        </pc:spChg>
        <pc:spChg chg="add del mod modVis">
          <ac:chgData name="Nataliia Chornii (UA)" userId="4e4b8b3d-5f31-49bb-9f80-8a25c04abfff" providerId="ADAL" clId="{EE97D3FE-9ACA-4467-98E5-532EC45D9D1C}" dt="2024-03-01T08:51:56.188" v="5849"/>
          <ac:spMkLst>
            <pc:docMk/>
            <pc:sldMk cId="3962446863" sldId="335"/>
            <ac:spMk id="9" creationId="{AD3954B2-D86C-4654-C9C0-79D9DB078DCC}"/>
          </ac:spMkLst>
        </pc:spChg>
        <pc:spChg chg="add del mod modVis">
          <ac:chgData name="Nataliia Chornii (UA)" userId="4e4b8b3d-5f31-49bb-9f80-8a25c04abfff" providerId="ADAL" clId="{EE97D3FE-9ACA-4467-98E5-532EC45D9D1C}" dt="2024-03-01T08:52:18.345" v="6837"/>
          <ac:spMkLst>
            <pc:docMk/>
            <pc:sldMk cId="3962446863" sldId="335"/>
            <ac:spMk id="10" creationId="{5561184C-4CAA-EA8F-87AF-56171AA4CF0C}"/>
          </ac:spMkLst>
        </pc:spChg>
        <pc:graphicFrameChg chg="add mod ord modVis replST">
          <ac:chgData name="Nataliia Chornii (UA)" userId="4e4b8b3d-5f31-49bb-9f80-8a25c04abfff" providerId="ADAL" clId="{EE97D3FE-9ACA-4467-98E5-532EC45D9D1C}" dt="2024-03-01T08:52:18.357" v="6839"/>
          <ac:graphicFrameMkLst>
            <pc:docMk/>
            <pc:sldMk cId="3962446863" sldId="335"/>
            <ac:graphicFrameMk id="5" creationId="{CDEE1422-65BE-E1EF-9236-15C4E01C3888}"/>
          </ac:graphicFrameMkLst>
        </pc:graphicFrameChg>
      </pc:sldChg>
      <pc:sldChg chg="addSp delSp modSp mod">
        <pc:chgData name="Nataliia Chornii (UA)" userId="4e4b8b3d-5f31-49bb-9f80-8a25c04abfff" providerId="ADAL" clId="{EE97D3FE-9ACA-4467-98E5-532EC45D9D1C}" dt="2024-03-01T08:52:18.345" v="6831"/>
        <pc:sldMkLst>
          <pc:docMk/>
          <pc:sldMk cId="1176371514" sldId="336"/>
        </pc:sldMkLst>
        <pc:spChg chg="mod">
          <ac:chgData name="Nataliia Chornii (UA)" userId="4e4b8b3d-5f31-49bb-9f80-8a25c04abfff" providerId="ADAL" clId="{EE97D3FE-9ACA-4467-98E5-532EC45D9D1C}" dt="2024-03-01T08:52:17.824" v="6427" actId="948"/>
          <ac:spMkLst>
            <pc:docMk/>
            <pc:sldMk cId="1176371514" sldId="336"/>
            <ac:spMk id="2" creationId="{E6DA22FE-9E83-B7F5-7492-ECD3B0591A82}"/>
          </ac:spMkLst>
        </pc:spChg>
        <pc:spChg chg="add del mod modVis">
          <ac:chgData name="Nataliia Chornii (UA)" userId="4e4b8b3d-5f31-49bb-9f80-8a25c04abfff" providerId="ADAL" clId="{EE97D3FE-9ACA-4467-98E5-532EC45D9D1C}" dt="2024-03-01T08:49:00.085" v="1653"/>
          <ac:spMkLst>
            <pc:docMk/>
            <pc:sldMk cId="1176371514" sldId="336"/>
            <ac:spMk id="4" creationId="{ED166059-D381-2D0B-DBA4-96DC615CC8CB}"/>
          </ac:spMkLst>
        </pc:spChg>
        <pc:spChg chg="add del mod modVis">
          <ac:chgData name="Nataliia Chornii (UA)" userId="4e4b8b3d-5f31-49bb-9f80-8a25c04abfff" providerId="ADAL" clId="{EE97D3FE-9ACA-4467-98E5-532EC45D9D1C}" dt="2024-03-01T08:49:33.823" v="2876"/>
          <ac:spMkLst>
            <pc:docMk/>
            <pc:sldMk cId="1176371514" sldId="336"/>
            <ac:spMk id="6" creationId="{710EAF3A-517E-CCC4-DC44-3F58C3167A4B}"/>
          </ac:spMkLst>
        </pc:spChg>
        <pc:spChg chg="add del mod modVis">
          <ac:chgData name="Nataliia Chornii (UA)" userId="4e4b8b3d-5f31-49bb-9f80-8a25c04abfff" providerId="ADAL" clId="{EE97D3FE-9ACA-4467-98E5-532EC45D9D1C}" dt="2024-03-01T08:49:59.851" v="3864"/>
          <ac:spMkLst>
            <pc:docMk/>
            <pc:sldMk cId="1176371514" sldId="336"/>
            <ac:spMk id="7" creationId="{DDD9C459-F2A8-6C74-07FF-1C22DFD52C5A}"/>
          </ac:spMkLst>
        </pc:spChg>
        <pc:spChg chg="add del mod modVis">
          <ac:chgData name="Nataliia Chornii (UA)" userId="4e4b8b3d-5f31-49bb-9f80-8a25c04abfff" providerId="ADAL" clId="{EE97D3FE-9ACA-4467-98E5-532EC45D9D1C}" dt="2024-03-01T08:51:26.170" v="4852"/>
          <ac:spMkLst>
            <pc:docMk/>
            <pc:sldMk cId="1176371514" sldId="336"/>
            <ac:spMk id="8" creationId="{D0F98065-C92B-EB51-8F01-353DB5E8B00F}"/>
          </ac:spMkLst>
        </pc:spChg>
        <pc:spChg chg="add del mod modVis">
          <ac:chgData name="Nataliia Chornii (UA)" userId="4e4b8b3d-5f31-49bb-9f80-8a25c04abfff" providerId="ADAL" clId="{EE97D3FE-9ACA-4467-98E5-532EC45D9D1C}" dt="2024-03-01T08:51:56.188" v="5841"/>
          <ac:spMkLst>
            <pc:docMk/>
            <pc:sldMk cId="1176371514" sldId="336"/>
            <ac:spMk id="9" creationId="{9A3B099F-FE6C-966E-9E1A-A93891303EE7}"/>
          </ac:spMkLst>
        </pc:spChg>
        <pc:spChg chg="add del mod modVis">
          <ac:chgData name="Nataliia Chornii (UA)" userId="4e4b8b3d-5f31-49bb-9f80-8a25c04abfff" providerId="ADAL" clId="{EE97D3FE-9ACA-4467-98E5-532EC45D9D1C}" dt="2024-03-01T08:52:18.345" v="6829"/>
          <ac:spMkLst>
            <pc:docMk/>
            <pc:sldMk cId="1176371514" sldId="336"/>
            <ac:spMk id="10" creationId="{5EE40E6B-E7A3-E491-D8CE-0CEA1D337CF6}"/>
          </ac:spMkLst>
        </pc:spChg>
        <pc:graphicFrameChg chg="add mod ord modVis replST">
          <ac:chgData name="Nataliia Chornii (UA)" userId="4e4b8b3d-5f31-49bb-9f80-8a25c04abfff" providerId="ADAL" clId="{EE97D3FE-9ACA-4467-98E5-532EC45D9D1C}" dt="2024-03-01T08:52:18.345" v="6831"/>
          <ac:graphicFrameMkLst>
            <pc:docMk/>
            <pc:sldMk cId="1176371514" sldId="336"/>
            <ac:graphicFrameMk id="5" creationId="{709AA27E-2ADD-50F6-7B4A-0A04C4F0E61C}"/>
          </ac:graphicFrameMkLst>
        </pc:graphicFrameChg>
      </pc:sldChg>
      <pc:sldChg chg="addSp delSp modSp mod">
        <pc:chgData name="Nataliia Chornii (UA)" userId="4e4b8b3d-5f31-49bb-9f80-8a25c04abfff" providerId="ADAL" clId="{EE97D3FE-9ACA-4467-98E5-532EC45D9D1C}" dt="2024-03-01T08:52:18.375" v="6853"/>
        <pc:sldMkLst>
          <pc:docMk/>
          <pc:sldMk cId="3244661427" sldId="337"/>
        </pc:sldMkLst>
        <pc:spChg chg="mod">
          <ac:chgData name="Nataliia Chornii (UA)" userId="4e4b8b3d-5f31-49bb-9f80-8a25c04abfff" providerId="ADAL" clId="{EE97D3FE-9ACA-4467-98E5-532EC45D9D1C}" dt="2024-03-01T08:52:17.933" v="6507" actId="948"/>
          <ac:spMkLst>
            <pc:docMk/>
            <pc:sldMk cId="3244661427" sldId="337"/>
            <ac:spMk id="2" creationId="{7B0B7F8E-339A-D477-6D76-DDF1726DE509}"/>
          </ac:spMkLst>
        </pc:spChg>
        <pc:spChg chg="add del mod modVis">
          <ac:chgData name="Nataliia Chornii (UA)" userId="4e4b8b3d-5f31-49bb-9f80-8a25c04abfff" providerId="ADAL" clId="{EE97D3FE-9ACA-4467-98E5-532EC45D9D1C}" dt="2024-03-01T08:49:00.336" v="1766"/>
          <ac:spMkLst>
            <pc:docMk/>
            <pc:sldMk cId="3244661427" sldId="337"/>
            <ac:spMk id="4" creationId="{B6549496-CCFC-D9E7-7DEC-2BD19EEC480E}"/>
          </ac:spMkLst>
        </pc:spChg>
        <pc:spChg chg="add del mod modVis">
          <ac:chgData name="Nataliia Chornii (UA)" userId="4e4b8b3d-5f31-49bb-9f80-8a25c04abfff" providerId="ADAL" clId="{EE97D3FE-9ACA-4467-98E5-532EC45D9D1C}" dt="2024-03-01T08:49:33.860" v="2898"/>
          <ac:spMkLst>
            <pc:docMk/>
            <pc:sldMk cId="3244661427" sldId="337"/>
            <ac:spMk id="6" creationId="{B87B8407-82B5-312F-A8F8-63E8063C7060}"/>
          </ac:spMkLst>
        </pc:spChg>
        <pc:spChg chg="add del mod modVis">
          <ac:chgData name="Nataliia Chornii (UA)" userId="4e4b8b3d-5f31-49bb-9f80-8a25c04abfff" providerId="ADAL" clId="{EE97D3FE-9ACA-4467-98E5-532EC45D9D1C}" dt="2024-03-01T08:49:59.885" v="3886"/>
          <ac:spMkLst>
            <pc:docMk/>
            <pc:sldMk cId="3244661427" sldId="337"/>
            <ac:spMk id="7" creationId="{0A05B2F4-45A9-81BC-957F-391D2CC16600}"/>
          </ac:spMkLst>
        </pc:spChg>
        <pc:spChg chg="add del mod modVis">
          <ac:chgData name="Nataliia Chornii (UA)" userId="4e4b8b3d-5f31-49bb-9f80-8a25c04abfff" providerId="ADAL" clId="{EE97D3FE-9ACA-4467-98E5-532EC45D9D1C}" dt="2024-03-01T08:51:26.198" v="4874"/>
          <ac:spMkLst>
            <pc:docMk/>
            <pc:sldMk cId="3244661427" sldId="337"/>
            <ac:spMk id="8" creationId="{C828B0F0-284E-CAFF-36AC-43A4102DA558}"/>
          </ac:spMkLst>
        </pc:spChg>
        <pc:spChg chg="add del mod modVis">
          <ac:chgData name="Nataliia Chornii (UA)" userId="4e4b8b3d-5f31-49bb-9f80-8a25c04abfff" providerId="ADAL" clId="{EE97D3FE-9ACA-4467-98E5-532EC45D9D1C}" dt="2024-03-01T08:51:56.204" v="5863"/>
          <ac:spMkLst>
            <pc:docMk/>
            <pc:sldMk cId="3244661427" sldId="337"/>
            <ac:spMk id="9" creationId="{4F6256CA-0042-BB3A-2CC3-E7A5F8171A40}"/>
          </ac:spMkLst>
        </pc:spChg>
        <pc:spChg chg="add del mod modVis">
          <ac:chgData name="Nataliia Chornii (UA)" userId="4e4b8b3d-5f31-49bb-9f80-8a25c04abfff" providerId="ADAL" clId="{EE97D3FE-9ACA-4467-98E5-532EC45D9D1C}" dt="2024-03-01T08:52:18.359" v="6851"/>
          <ac:spMkLst>
            <pc:docMk/>
            <pc:sldMk cId="3244661427" sldId="337"/>
            <ac:spMk id="10" creationId="{B5D7C8C9-87B7-8DFC-BADE-8E9A38FEDD6B}"/>
          </ac:spMkLst>
        </pc:spChg>
        <pc:graphicFrameChg chg="add mod ord modVis replST">
          <ac:chgData name="Nataliia Chornii (UA)" userId="4e4b8b3d-5f31-49bb-9f80-8a25c04abfff" providerId="ADAL" clId="{EE97D3FE-9ACA-4467-98E5-532EC45D9D1C}" dt="2024-03-01T08:52:18.375" v="6853"/>
          <ac:graphicFrameMkLst>
            <pc:docMk/>
            <pc:sldMk cId="3244661427" sldId="337"/>
            <ac:graphicFrameMk id="5" creationId="{6418E303-72CA-54F8-F33A-9F29A7D12C1C}"/>
          </ac:graphicFrameMkLst>
        </pc:graphicFrameChg>
      </pc:sldChg>
      <pc:sldChg chg="addSp delSp modSp mod">
        <pc:chgData name="Nataliia Chornii (UA)" userId="4e4b8b3d-5f31-49bb-9f80-8a25c04abfff" providerId="ADAL" clId="{EE97D3FE-9ACA-4467-98E5-532EC45D9D1C}" dt="2024-03-01T08:52:18.375" v="6861"/>
        <pc:sldMkLst>
          <pc:docMk/>
          <pc:sldMk cId="2065102976" sldId="338"/>
        </pc:sldMkLst>
        <pc:spChg chg="mod">
          <ac:chgData name="Nataliia Chornii (UA)" userId="4e4b8b3d-5f31-49bb-9f80-8a25c04abfff" providerId="ADAL" clId="{EE97D3FE-9ACA-4467-98E5-532EC45D9D1C}" dt="2024-03-01T08:52:17.998" v="6547" actId="948"/>
          <ac:spMkLst>
            <pc:docMk/>
            <pc:sldMk cId="2065102976" sldId="338"/>
            <ac:spMk id="2" creationId="{9EE425CE-7CB9-3C41-5338-5BF0CEB6DBC1}"/>
          </ac:spMkLst>
        </pc:spChg>
        <pc:spChg chg="add del mod modVis">
          <ac:chgData name="Nataliia Chornii (UA)" userId="4e4b8b3d-5f31-49bb-9f80-8a25c04abfff" providerId="ADAL" clId="{EE97D3FE-9ACA-4467-98E5-532EC45D9D1C}" dt="2024-03-01T08:49:00.400" v="1800"/>
          <ac:spMkLst>
            <pc:docMk/>
            <pc:sldMk cId="2065102976" sldId="338"/>
            <ac:spMk id="4" creationId="{9ADF0993-A7D9-F4AF-0984-FE15967BC602}"/>
          </ac:spMkLst>
        </pc:spChg>
        <pc:spChg chg="add del mod modVis">
          <ac:chgData name="Nataliia Chornii (UA)" userId="4e4b8b3d-5f31-49bb-9f80-8a25c04abfff" providerId="ADAL" clId="{EE97D3FE-9ACA-4467-98E5-532EC45D9D1C}" dt="2024-03-01T08:49:33.871" v="2906"/>
          <ac:spMkLst>
            <pc:docMk/>
            <pc:sldMk cId="2065102976" sldId="338"/>
            <ac:spMk id="6" creationId="{B646924D-8FD8-5177-464F-1C35E1440ED9}"/>
          </ac:spMkLst>
        </pc:spChg>
        <pc:spChg chg="add del mod modVis">
          <ac:chgData name="Nataliia Chornii (UA)" userId="4e4b8b3d-5f31-49bb-9f80-8a25c04abfff" providerId="ADAL" clId="{EE97D3FE-9ACA-4467-98E5-532EC45D9D1C}" dt="2024-03-01T08:49:59.885" v="3894"/>
          <ac:spMkLst>
            <pc:docMk/>
            <pc:sldMk cId="2065102976" sldId="338"/>
            <ac:spMk id="7" creationId="{4221591D-5DAC-9CA4-4E5F-ED2B3E5F4B5A}"/>
          </ac:spMkLst>
        </pc:spChg>
        <pc:spChg chg="add del mod modVis">
          <ac:chgData name="Nataliia Chornii (UA)" userId="4e4b8b3d-5f31-49bb-9f80-8a25c04abfff" providerId="ADAL" clId="{EE97D3FE-9ACA-4467-98E5-532EC45D9D1C}" dt="2024-03-01T08:51:26.202" v="4882"/>
          <ac:spMkLst>
            <pc:docMk/>
            <pc:sldMk cId="2065102976" sldId="338"/>
            <ac:spMk id="8" creationId="{543CFB89-884D-E7FF-82AA-DAAB74CA3884}"/>
          </ac:spMkLst>
        </pc:spChg>
        <pc:spChg chg="add del mod modVis">
          <ac:chgData name="Nataliia Chornii (UA)" userId="4e4b8b3d-5f31-49bb-9f80-8a25c04abfff" providerId="ADAL" clId="{EE97D3FE-9ACA-4467-98E5-532EC45D9D1C}" dt="2024-03-01T08:51:56.219" v="5871"/>
          <ac:spMkLst>
            <pc:docMk/>
            <pc:sldMk cId="2065102976" sldId="338"/>
            <ac:spMk id="9" creationId="{739E5F02-44A0-D990-B45E-272569396DF2}"/>
          </ac:spMkLst>
        </pc:spChg>
        <pc:spChg chg="add del mod modVis">
          <ac:chgData name="Nataliia Chornii (UA)" userId="4e4b8b3d-5f31-49bb-9f80-8a25c04abfff" providerId="ADAL" clId="{EE97D3FE-9ACA-4467-98E5-532EC45D9D1C}" dt="2024-03-01T08:52:18.375" v="6859"/>
          <ac:spMkLst>
            <pc:docMk/>
            <pc:sldMk cId="2065102976" sldId="338"/>
            <ac:spMk id="10" creationId="{71214A5E-B00A-B57A-51E1-465A96C8C227}"/>
          </ac:spMkLst>
        </pc:spChg>
        <pc:graphicFrameChg chg="add mod ord modVis replST">
          <ac:chgData name="Nataliia Chornii (UA)" userId="4e4b8b3d-5f31-49bb-9f80-8a25c04abfff" providerId="ADAL" clId="{EE97D3FE-9ACA-4467-98E5-532EC45D9D1C}" dt="2024-03-01T08:52:18.375" v="6861"/>
          <ac:graphicFrameMkLst>
            <pc:docMk/>
            <pc:sldMk cId="2065102976" sldId="338"/>
            <ac:graphicFrameMk id="5" creationId="{12C6A954-0553-DE57-B03F-3DB2AB4C7423}"/>
          </ac:graphicFrameMkLst>
        </pc:graphicFrameChg>
      </pc:sldChg>
      <pc:sldChg chg="addSp delSp modSp mod">
        <pc:chgData name="Nataliia Chornii (UA)" userId="4e4b8b3d-5f31-49bb-9f80-8a25c04abfff" providerId="ADAL" clId="{EE97D3FE-9ACA-4467-98E5-532EC45D9D1C}" dt="2024-03-01T08:52:18.391" v="6873"/>
        <pc:sldMkLst>
          <pc:docMk/>
          <pc:sldMk cId="1311325920" sldId="339"/>
        </pc:sldMkLst>
        <pc:spChg chg="mod">
          <ac:chgData name="Nataliia Chornii (UA)" userId="4e4b8b3d-5f31-49bb-9f80-8a25c04abfff" providerId="ADAL" clId="{EE97D3FE-9ACA-4467-98E5-532EC45D9D1C}" dt="2024-03-01T08:52:18.075" v="6607" actId="948"/>
          <ac:spMkLst>
            <pc:docMk/>
            <pc:sldMk cId="1311325920" sldId="339"/>
            <ac:spMk id="2" creationId="{F8A4A46F-D306-D2A6-D0B5-D19828E438E4}"/>
          </ac:spMkLst>
        </pc:spChg>
        <pc:spChg chg="add del mod modVis">
          <ac:chgData name="Nataliia Chornii (UA)" userId="4e4b8b3d-5f31-49bb-9f80-8a25c04abfff" providerId="ADAL" clId="{EE97D3FE-9ACA-4467-98E5-532EC45D9D1C}" dt="2024-03-01T08:49:00.493" v="1851"/>
          <ac:spMkLst>
            <pc:docMk/>
            <pc:sldMk cId="1311325920" sldId="339"/>
            <ac:spMk id="4" creationId="{92DA8829-3FFF-003F-48F3-799B215E7B50}"/>
          </ac:spMkLst>
        </pc:spChg>
        <pc:spChg chg="add del mod modVis">
          <ac:chgData name="Nataliia Chornii (UA)" userId="4e4b8b3d-5f31-49bb-9f80-8a25c04abfff" providerId="ADAL" clId="{EE97D3FE-9ACA-4467-98E5-532EC45D9D1C}" dt="2024-03-01T08:49:33.886" v="2918"/>
          <ac:spMkLst>
            <pc:docMk/>
            <pc:sldMk cId="1311325920" sldId="339"/>
            <ac:spMk id="6" creationId="{DC5EA467-E7EF-3AC4-7513-5E03601A72B8}"/>
          </ac:spMkLst>
        </pc:spChg>
        <pc:spChg chg="add del mod modVis">
          <ac:chgData name="Nataliia Chornii (UA)" userId="4e4b8b3d-5f31-49bb-9f80-8a25c04abfff" providerId="ADAL" clId="{EE97D3FE-9ACA-4467-98E5-532EC45D9D1C}" dt="2024-03-01T08:49:59.898" v="3906"/>
          <ac:spMkLst>
            <pc:docMk/>
            <pc:sldMk cId="1311325920" sldId="339"/>
            <ac:spMk id="7" creationId="{9ABB3D73-7C4A-03FE-68E4-9D291E91DF60}"/>
          </ac:spMkLst>
        </pc:spChg>
        <pc:spChg chg="add del mod modVis">
          <ac:chgData name="Nataliia Chornii (UA)" userId="4e4b8b3d-5f31-49bb-9f80-8a25c04abfff" providerId="ADAL" clId="{EE97D3FE-9ACA-4467-98E5-532EC45D9D1C}" dt="2024-03-01T08:51:26.217" v="4894"/>
          <ac:spMkLst>
            <pc:docMk/>
            <pc:sldMk cId="1311325920" sldId="339"/>
            <ac:spMk id="8" creationId="{520A7FB5-EF27-CECC-4A94-35C43A736E2B}"/>
          </ac:spMkLst>
        </pc:spChg>
        <pc:spChg chg="add del mod modVis">
          <ac:chgData name="Nataliia Chornii (UA)" userId="4e4b8b3d-5f31-49bb-9f80-8a25c04abfff" providerId="ADAL" clId="{EE97D3FE-9ACA-4467-98E5-532EC45D9D1C}" dt="2024-03-01T08:51:56.230" v="5883"/>
          <ac:spMkLst>
            <pc:docMk/>
            <pc:sldMk cId="1311325920" sldId="339"/>
            <ac:spMk id="9" creationId="{9AE52F99-CE46-F556-4E89-E0DA02373FD5}"/>
          </ac:spMkLst>
        </pc:spChg>
        <pc:spChg chg="add del mod modVis">
          <ac:chgData name="Nataliia Chornii (UA)" userId="4e4b8b3d-5f31-49bb-9f80-8a25c04abfff" providerId="ADAL" clId="{EE97D3FE-9ACA-4467-98E5-532EC45D9D1C}" dt="2024-03-01T08:52:18.391" v="6871"/>
          <ac:spMkLst>
            <pc:docMk/>
            <pc:sldMk cId="1311325920" sldId="339"/>
            <ac:spMk id="10" creationId="{B464B2D0-B675-E657-30C6-E3BA7C72E9F8}"/>
          </ac:spMkLst>
        </pc:spChg>
        <pc:graphicFrameChg chg="add mod ord modVis replST">
          <ac:chgData name="Nataliia Chornii (UA)" userId="4e4b8b3d-5f31-49bb-9f80-8a25c04abfff" providerId="ADAL" clId="{EE97D3FE-9ACA-4467-98E5-532EC45D9D1C}" dt="2024-03-01T08:52:18.391" v="6873"/>
          <ac:graphicFrameMkLst>
            <pc:docMk/>
            <pc:sldMk cId="1311325920" sldId="339"/>
            <ac:graphicFrameMk id="5" creationId="{BDF5C055-D4A1-F706-9979-1748DB37614B}"/>
          </ac:graphicFrameMkLst>
        </pc:graphicFrameChg>
      </pc:sldChg>
      <pc:sldChg chg="addSp delSp modSp mod">
        <pc:chgData name="Nataliia Chornii (UA)" userId="4e4b8b3d-5f31-49bb-9f80-8a25c04abfff" providerId="ADAL" clId="{EE97D3FE-9ACA-4467-98E5-532EC45D9D1C}" dt="2024-03-01T08:52:18.391" v="6881"/>
        <pc:sldMkLst>
          <pc:docMk/>
          <pc:sldMk cId="3750811665" sldId="340"/>
        </pc:sldMkLst>
        <pc:spChg chg="mod">
          <ac:chgData name="Nataliia Chornii (UA)" userId="4e4b8b3d-5f31-49bb-9f80-8a25c04abfff" providerId="ADAL" clId="{EE97D3FE-9ACA-4467-98E5-532EC45D9D1C}" dt="2024-03-01T08:52:18.122" v="6647" actId="948"/>
          <ac:spMkLst>
            <pc:docMk/>
            <pc:sldMk cId="3750811665" sldId="340"/>
            <ac:spMk id="2" creationId="{5F1DCD49-0841-7F1C-09A1-3AB5A0A1839C}"/>
          </ac:spMkLst>
        </pc:spChg>
        <pc:spChg chg="add del mod modVis">
          <ac:chgData name="Nataliia Chornii (UA)" userId="4e4b8b3d-5f31-49bb-9f80-8a25c04abfff" providerId="ADAL" clId="{EE97D3FE-9ACA-4467-98E5-532EC45D9D1C}" dt="2024-03-01T08:49:00.572" v="1885"/>
          <ac:spMkLst>
            <pc:docMk/>
            <pc:sldMk cId="3750811665" sldId="340"/>
            <ac:spMk id="4" creationId="{9511BA3E-E37D-82DA-FA4B-7C29459ECA5A}"/>
          </ac:spMkLst>
        </pc:spChg>
        <pc:spChg chg="add del mod modVis">
          <ac:chgData name="Nataliia Chornii (UA)" userId="4e4b8b3d-5f31-49bb-9f80-8a25c04abfff" providerId="ADAL" clId="{EE97D3FE-9ACA-4467-98E5-532EC45D9D1C}" dt="2024-03-01T08:49:33.902" v="2926"/>
          <ac:spMkLst>
            <pc:docMk/>
            <pc:sldMk cId="3750811665" sldId="340"/>
            <ac:spMk id="6" creationId="{2FDF7589-C7EB-237B-0E02-64EFB8BB64C6}"/>
          </ac:spMkLst>
        </pc:spChg>
        <pc:spChg chg="add del mod modVis">
          <ac:chgData name="Nataliia Chornii (UA)" userId="4e4b8b3d-5f31-49bb-9f80-8a25c04abfff" providerId="ADAL" clId="{EE97D3FE-9ACA-4467-98E5-532EC45D9D1C}" dt="2024-03-01T08:49:59.913" v="3914"/>
          <ac:spMkLst>
            <pc:docMk/>
            <pc:sldMk cId="3750811665" sldId="340"/>
            <ac:spMk id="7" creationId="{D7D29D3C-4708-BFF3-41AC-2A7299438F6C}"/>
          </ac:spMkLst>
        </pc:spChg>
        <pc:spChg chg="add del mod modVis">
          <ac:chgData name="Nataliia Chornii (UA)" userId="4e4b8b3d-5f31-49bb-9f80-8a25c04abfff" providerId="ADAL" clId="{EE97D3FE-9ACA-4467-98E5-532EC45D9D1C}" dt="2024-03-01T08:51:26.225" v="4902"/>
          <ac:spMkLst>
            <pc:docMk/>
            <pc:sldMk cId="3750811665" sldId="340"/>
            <ac:spMk id="8" creationId="{30B12456-2CEC-DDF9-CB74-86CEC37909F4}"/>
          </ac:spMkLst>
        </pc:spChg>
        <pc:spChg chg="add del mod modVis">
          <ac:chgData name="Nataliia Chornii (UA)" userId="4e4b8b3d-5f31-49bb-9f80-8a25c04abfff" providerId="ADAL" clId="{EE97D3FE-9ACA-4467-98E5-532EC45D9D1C}" dt="2024-03-01T08:51:56.242" v="5891"/>
          <ac:spMkLst>
            <pc:docMk/>
            <pc:sldMk cId="3750811665" sldId="340"/>
            <ac:spMk id="9" creationId="{EB303941-8856-1D7F-543A-EFD7D12D142B}"/>
          </ac:spMkLst>
        </pc:spChg>
        <pc:spChg chg="add del mod modVis">
          <ac:chgData name="Nataliia Chornii (UA)" userId="4e4b8b3d-5f31-49bb-9f80-8a25c04abfff" providerId="ADAL" clId="{EE97D3FE-9ACA-4467-98E5-532EC45D9D1C}" dt="2024-03-01T08:52:18.391" v="6879"/>
          <ac:spMkLst>
            <pc:docMk/>
            <pc:sldMk cId="3750811665" sldId="340"/>
            <ac:spMk id="10" creationId="{D2A8D8B9-7BFA-E198-859B-ED34E76AEB6D}"/>
          </ac:spMkLst>
        </pc:spChg>
        <pc:graphicFrameChg chg="add mod ord modVis replST">
          <ac:chgData name="Nataliia Chornii (UA)" userId="4e4b8b3d-5f31-49bb-9f80-8a25c04abfff" providerId="ADAL" clId="{EE97D3FE-9ACA-4467-98E5-532EC45D9D1C}" dt="2024-03-01T08:52:18.391" v="6881"/>
          <ac:graphicFrameMkLst>
            <pc:docMk/>
            <pc:sldMk cId="3750811665" sldId="340"/>
            <ac:graphicFrameMk id="5" creationId="{0075F278-E0FC-9E8D-EDCF-B8809EDC1B2B}"/>
          </ac:graphicFrameMkLst>
        </pc:graphicFrameChg>
      </pc:sldChg>
      <pc:sldChg chg="addSp delSp modSp mod">
        <pc:chgData name="Nataliia Chornii (UA)" userId="4e4b8b3d-5f31-49bb-9f80-8a25c04abfff" providerId="ADAL" clId="{EE97D3FE-9ACA-4467-98E5-532EC45D9D1C}" dt="2024-03-01T08:52:18.391" v="6877"/>
        <pc:sldMkLst>
          <pc:docMk/>
          <pc:sldMk cId="633515575" sldId="341"/>
        </pc:sldMkLst>
        <pc:spChg chg="mod">
          <ac:chgData name="Nataliia Chornii (UA)" userId="4e4b8b3d-5f31-49bb-9f80-8a25c04abfff" providerId="ADAL" clId="{EE97D3FE-9ACA-4467-98E5-532EC45D9D1C}" dt="2024-03-01T08:52:18.092" v="6627" actId="948"/>
          <ac:spMkLst>
            <pc:docMk/>
            <pc:sldMk cId="633515575" sldId="341"/>
            <ac:spMk id="2" creationId="{46267CAE-0DD6-29A0-1BA7-3E0C02825001}"/>
          </ac:spMkLst>
        </pc:spChg>
        <pc:spChg chg="add del mod modVis">
          <ac:chgData name="Nataliia Chornii (UA)" userId="4e4b8b3d-5f31-49bb-9f80-8a25c04abfff" providerId="ADAL" clId="{EE97D3FE-9ACA-4467-98E5-532EC45D9D1C}" dt="2024-03-01T08:49:00.524" v="1868"/>
          <ac:spMkLst>
            <pc:docMk/>
            <pc:sldMk cId="633515575" sldId="341"/>
            <ac:spMk id="4" creationId="{4AC9DF4E-E96F-1C67-1868-752B56D8EA96}"/>
          </ac:spMkLst>
        </pc:spChg>
        <pc:spChg chg="add del mod modVis">
          <ac:chgData name="Nataliia Chornii (UA)" userId="4e4b8b3d-5f31-49bb-9f80-8a25c04abfff" providerId="ADAL" clId="{EE97D3FE-9ACA-4467-98E5-532EC45D9D1C}" dt="2024-03-01T08:49:33.886" v="2922"/>
          <ac:spMkLst>
            <pc:docMk/>
            <pc:sldMk cId="633515575" sldId="341"/>
            <ac:spMk id="6" creationId="{9828F8F4-3069-1B24-D4E9-B3A2BED0ED32}"/>
          </ac:spMkLst>
        </pc:spChg>
        <pc:spChg chg="add del mod modVis">
          <ac:chgData name="Nataliia Chornii (UA)" userId="4e4b8b3d-5f31-49bb-9f80-8a25c04abfff" providerId="ADAL" clId="{EE97D3FE-9ACA-4467-98E5-532EC45D9D1C}" dt="2024-03-01T08:49:59.898" v="3910"/>
          <ac:spMkLst>
            <pc:docMk/>
            <pc:sldMk cId="633515575" sldId="341"/>
            <ac:spMk id="7" creationId="{2ACD013E-0BBC-B3F3-3A85-E46799163B7E}"/>
          </ac:spMkLst>
        </pc:spChg>
        <pc:spChg chg="add del mod modVis">
          <ac:chgData name="Nataliia Chornii (UA)" userId="4e4b8b3d-5f31-49bb-9f80-8a25c04abfff" providerId="ADAL" clId="{EE97D3FE-9ACA-4467-98E5-532EC45D9D1C}" dt="2024-03-01T08:51:26.220" v="4898"/>
          <ac:spMkLst>
            <pc:docMk/>
            <pc:sldMk cId="633515575" sldId="341"/>
            <ac:spMk id="8" creationId="{D547953D-0BE2-820A-4356-DFBF5186D821}"/>
          </ac:spMkLst>
        </pc:spChg>
        <pc:spChg chg="add del mod modVis">
          <ac:chgData name="Nataliia Chornii (UA)" userId="4e4b8b3d-5f31-49bb-9f80-8a25c04abfff" providerId="ADAL" clId="{EE97D3FE-9ACA-4467-98E5-532EC45D9D1C}" dt="2024-03-01T08:51:56.236" v="5887"/>
          <ac:spMkLst>
            <pc:docMk/>
            <pc:sldMk cId="633515575" sldId="341"/>
            <ac:spMk id="9" creationId="{1C9ACDA9-EB20-AE21-0DAE-B45FEADD27D1}"/>
          </ac:spMkLst>
        </pc:spChg>
        <pc:spChg chg="add del mod modVis">
          <ac:chgData name="Nataliia Chornii (UA)" userId="4e4b8b3d-5f31-49bb-9f80-8a25c04abfff" providerId="ADAL" clId="{EE97D3FE-9ACA-4467-98E5-532EC45D9D1C}" dt="2024-03-01T08:52:18.391" v="6875"/>
          <ac:spMkLst>
            <pc:docMk/>
            <pc:sldMk cId="633515575" sldId="341"/>
            <ac:spMk id="10" creationId="{4D6836D7-E5BA-2044-7BFF-E3AFB0139C11}"/>
          </ac:spMkLst>
        </pc:spChg>
        <pc:graphicFrameChg chg="add mod ord modVis replST">
          <ac:chgData name="Nataliia Chornii (UA)" userId="4e4b8b3d-5f31-49bb-9f80-8a25c04abfff" providerId="ADAL" clId="{EE97D3FE-9ACA-4467-98E5-532EC45D9D1C}" dt="2024-03-01T08:52:18.391" v="6877"/>
          <ac:graphicFrameMkLst>
            <pc:docMk/>
            <pc:sldMk cId="633515575" sldId="341"/>
            <ac:graphicFrameMk id="5" creationId="{D1A940A3-DD12-848A-F577-A5EA579E8927}"/>
          </ac:graphicFrameMkLst>
        </pc:graphicFrameChg>
      </pc:sldChg>
      <pc:sldChg chg="addSp modSp mod">
        <pc:chgData name="Nataliia Chornii (UA)" userId="4e4b8b3d-5f31-49bb-9f80-8a25c04abfff" providerId="ADAL" clId="{EE97D3FE-9ACA-4467-98E5-532EC45D9D1C}" dt="2024-03-01T08:52:18.359" v="6849"/>
        <pc:sldMkLst>
          <pc:docMk/>
          <pc:sldMk cId="0" sldId="351"/>
        </pc:sldMkLst>
        <pc:graphicFrameChg chg="add mod ord modVis replST">
          <ac:chgData name="Nataliia Chornii (UA)" userId="4e4b8b3d-5f31-49bb-9f80-8a25c04abfff" providerId="ADAL" clId="{EE97D3FE-9ACA-4467-98E5-532EC45D9D1C}" dt="2024-03-01T08:52:18.359" v="6849"/>
          <ac:graphicFrameMkLst>
            <pc:docMk/>
            <pc:sldMk cId="0" sldId="351"/>
            <ac:graphicFrameMk id="6" creationId="{1E461650-678A-AE9E-3014-658FE2B9ADD5}"/>
          </ac:graphicFrameMkLst>
        </pc:graphicFrameChg>
      </pc:sldChg>
      <pc:sldChg chg="addSp modSp mod">
        <pc:chgData name="Nataliia Chornii (UA)" userId="4e4b8b3d-5f31-49bb-9f80-8a25c04abfff" providerId="ADAL" clId="{EE97D3FE-9ACA-4467-98E5-532EC45D9D1C}" dt="2024-03-01T08:52:18.345" v="6827"/>
        <pc:sldMkLst>
          <pc:docMk/>
          <pc:sldMk cId="0" sldId="371"/>
        </pc:sldMkLst>
        <pc:graphicFrameChg chg="add mod ord modVis replST">
          <ac:chgData name="Nataliia Chornii (UA)" userId="4e4b8b3d-5f31-49bb-9f80-8a25c04abfff" providerId="ADAL" clId="{EE97D3FE-9ACA-4467-98E5-532EC45D9D1C}" dt="2024-03-01T08:52:18.345" v="6827"/>
          <ac:graphicFrameMkLst>
            <pc:docMk/>
            <pc:sldMk cId="0" sldId="371"/>
            <ac:graphicFrameMk id="5" creationId="{E15C02D9-843F-69D2-CFA5-3D3A8E1BF3D8}"/>
          </ac:graphicFrameMkLst>
        </pc:graphicFrameChg>
      </pc:sldChg>
      <pc:sldChg chg="addSp modSp mod">
        <pc:chgData name="Nataliia Chornii (UA)" userId="4e4b8b3d-5f31-49bb-9f80-8a25c04abfff" providerId="ADAL" clId="{EE97D3FE-9ACA-4467-98E5-532EC45D9D1C}" dt="2024-03-01T08:52:18.359" v="6847"/>
        <pc:sldMkLst>
          <pc:docMk/>
          <pc:sldMk cId="0" sldId="392"/>
        </pc:sldMkLst>
        <pc:graphicFrameChg chg="add mod ord modVis replST">
          <ac:chgData name="Nataliia Chornii (UA)" userId="4e4b8b3d-5f31-49bb-9f80-8a25c04abfff" providerId="ADAL" clId="{EE97D3FE-9ACA-4467-98E5-532EC45D9D1C}" dt="2024-03-01T08:52:18.359" v="6847"/>
          <ac:graphicFrameMkLst>
            <pc:docMk/>
            <pc:sldMk cId="0" sldId="392"/>
            <ac:graphicFrameMk id="49" creationId="{4A96142F-411E-C238-68F0-5037CB00F132}"/>
          </ac:graphicFrameMkLst>
        </pc:graphicFrameChg>
      </pc:sldChg>
      <pc:sldChg chg="addSp modSp mod">
        <pc:chgData name="Nataliia Chornii (UA)" userId="4e4b8b3d-5f31-49bb-9f80-8a25c04abfff" providerId="ADAL" clId="{EE97D3FE-9ACA-4467-98E5-532EC45D9D1C}" dt="2024-03-01T08:52:18.408" v="6887"/>
        <pc:sldMkLst>
          <pc:docMk/>
          <pc:sldMk cId="0" sldId="419"/>
        </pc:sldMkLst>
        <pc:graphicFrameChg chg="add mod ord modVis replST">
          <ac:chgData name="Nataliia Chornii (UA)" userId="4e4b8b3d-5f31-49bb-9f80-8a25c04abfff" providerId="ADAL" clId="{EE97D3FE-9ACA-4467-98E5-532EC45D9D1C}" dt="2024-03-01T08:52:18.408" v="6887"/>
          <ac:graphicFrameMkLst>
            <pc:docMk/>
            <pc:sldMk cId="0" sldId="419"/>
            <ac:graphicFrameMk id="5" creationId="{3C8DF7DF-5829-5DE3-0597-14DAC4C69E07}"/>
          </ac:graphicFrameMkLst>
        </pc:graphicFrameChg>
      </pc:sldChg>
      <pc:sldChg chg="addSp delSp modSp mod">
        <pc:chgData name="Nataliia Chornii (UA)" userId="4e4b8b3d-5f31-49bb-9f80-8a25c04abfff" providerId="ADAL" clId="{EE97D3FE-9ACA-4467-98E5-532EC45D9D1C}" dt="2024-03-01T08:52:18.359" v="6845"/>
        <pc:sldMkLst>
          <pc:docMk/>
          <pc:sldMk cId="0" sldId="431"/>
        </pc:sldMkLst>
        <pc:spChg chg="add del mod modVis">
          <ac:chgData name="Nataliia Chornii (UA)" userId="4e4b8b3d-5f31-49bb-9f80-8a25c04abfff" providerId="ADAL" clId="{EE97D3FE-9ACA-4467-98E5-532EC45D9D1C}" dt="2024-03-01T08:49:00.211" v="1719"/>
          <ac:spMkLst>
            <pc:docMk/>
            <pc:sldMk cId="0" sldId="431"/>
            <ac:spMk id="3" creationId="{E09BB54B-53F6-BE73-5132-F549CFB225F2}"/>
          </ac:spMkLst>
        </pc:spChg>
        <pc:spChg chg="add del mod modVis">
          <ac:chgData name="Nataliia Chornii (UA)" userId="4e4b8b3d-5f31-49bb-9f80-8a25c04abfff" providerId="ADAL" clId="{EE97D3FE-9ACA-4467-98E5-532EC45D9D1C}" dt="2024-03-01T08:49:33.839" v="2890"/>
          <ac:spMkLst>
            <pc:docMk/>
            <pc:sldMk cId="0" sldId="431"/>
            <ac:spMk id="6" creationId="{B094F011-7685-99C1-4633-DE8AABF858AE}"/>
          </ac:spMkLst>
        </pc:spChg>
        <pc:spChg chg="add del mod modVis">
          <ac:chgData name="Nataliia Chornii (UA)" userId="4e4b8b3d-5f31-49bb-9f80-8a25c04abfff" providerId="ADAL" clId="{EE97D3FE-9ACA-4467-98E5-532EC45D9D1C}" dt="2024-03-01T08:49:59.867" v="3878"/>
          <ac:spMkLst>
            <pc:docMk/>
            <pc:sldMk cId="0" sldId="431"/>
            <ac:spMk id="7" creationId="{C3509DFB-C3F1-B77C-8B8F-A0C36EB100FF}"/>
          </ac:spMkLst>
        </pc:spChg>
        <pc:spChg chg="add del mod modVis">
          <ac:chgData name="Nataliia Chornii (UA)" userId="4e4b8b3d-5f31-49bb-9f80-8a25c04abfff" providerId="ADAL" clId="{EE97D3FE-9ACA-4467-98E5-532EC45D9D1C}" dt="2024-03-01T08:51:26.187" v="4866"/>
          <ac:spMkLst>
            <pc:docMk/>
            <pc:sldMk cId="0" sldId="431"/>
            <ac:spMk id="9" creationId="{C2B1B11A-8A75-1767-5B69-4DF8D9BE5F6E}"/>
          </ac:spMkLst>
        </pc:spChg>
        <pc:spChg chg="add del mod modVis">
          <ac:chgData name="Nataliia Chornii (UA)" userId="4e4b8b3d-5f31-49bb-9f80-8a25c04abfff" providerId="ADAL" clId="{EE97D3FE-9ACA-4467-98E5-532EC45D9D1C}" dt="2024-03-01T08:51:56.204" v="5855"/>
          <ac:spMkLst>
            <pc:docMk/>
            <pc:sldMk cId="0" sldId="431"/>
            <ac:spMk id="10" creationId="{A285E15A-A895-06DF-0296-072A945B7E61}"/>
          </ac:spMkLst>
        </pc:spChg>
        <pc:spChg chg="add del mod modVis">
          <ac:chgData name="Nataliia Chornii (UA)" userId="4e4b8b3d-5f31-49bb-9f80-8a25c04abfff" providerId="ADAL" clId="{EE97D3FE-9ACA-4467-98E5-532EC45D9D1C}" dt="2024-03-01T08:52:18.359" v="6843"/>
          <ac:spMkLst>
            <pc:docMk/>
            <pc:sldMk cId="0" sldId="431"/>
            <ac:spMk id="11" creationId="{A5784770-D66C-B89B-DBAA-0407BAC603D1}"/>
          </ac:spMkLst>
        </pc:spChg>
        <pc:spChg chg="mod">
          <ac:chgData name="Nataliia Chornii (UA)" userId="4e4b8b3d-5f31-49bb-9f80-8a25c04abfff" providerId="ADAL" clId="{EE97D3FE-9ACA-4467-98E5-532EC45D9D1C}" dt="2024-03-01T08:52:17.901" v="6487" actId="948"/>
          <ac:spMkLst>
            <pc:docMk/>
            <pc:sldMk cId="0" sldId="431"/>
            <ac:spMk id="8194" creationId="{445EBD0D-2ECD-91E6-3E4C-93F9AE778EEC}"/>
          </ac:spMkLst>
        </pc:spChg>
        <pc:graphicFrameChg chg="add mod ord modVis replST">
          <ac:chgData name="Nataliia Chornii (UA)" userId="4e4b8b3d-5f31-49bb-9f80-8a25c04abfff" providerId="ADAL" clId="{EE97D3FE-9ACA-4467-98E5-532EC45D9D1C}" dt="2024-03-01T08:52:18.359" v="6845"/>
          <ac:graphicFrameMkLst>
            <pc:docMk/>
            <pc:sldMk cId="0" sldId="431"/>
            <ac:graphicFrameMk id="5" creationId="{47EED099-C308-E200-28BF-3CF1C9E38A80}"/>
          </ac:graphicFrameMkLst>
        </pc:graphicFrameChg>
      </pc:sldChg>
      <pc:sldChg chg="addSp modSp mod">
        <pc:chgData name="Nataliia Chornii (UA)" userId="4e4b8b3d-5f31-49bb-9f80-8a25c04abfff" providerId="ADAL" clId="{EE97D3FE-9ACA-4467-98E5-532EC45D9D1C}" dt="2024-03-01T08:52:18.359" v="6841"/>
        <pc:sldMkLst>
          <pc:docMk/>
          <pc:sldMk cId="0" sldId="432"/>
        </pc:sldMkLst>
        <pc:graphicFrameChg chg="add mod ord modVis replST">
          <ac:chgData name="Nataliia Chornii (UA)" userId="4e4b8b3d-5f31-49bb-9f80-8a25c04abfff" providerId="ADAL" clId="{EE97D3FE-9ACA-4467-98E5-532EC45D9D1C}" dt="2024-03-01T08:52:18.359" v="6841"/>
          <ac:graphicFrameMkLst>
            <pc:docMk/>
            <pc:sldMk cId="0" sldId="432"/>
            <ac:graphicFrameMk id="3" creationId="{FDD9EADE-82A1-0801-3A9F-388D98E43F3D}"/>
          </ac:graphicFrameMkLst>
        </pc:graphicFrameChg>
      </pc:sldChg>
      <pc:sldChg chg="addSp delSp modSp mod">
        <pc:chgData name="Nataliia Chornii (UA)" userId="4e4b8b3d-5f31-49bb-9f80-8a25c04abfff" providerId="ADAL" clId="{EE97D3FE-9ACA-4467-98E5-532EC45D9D1C}" dt="2024-03-01T08:52:18.418" v="6891"/>
        <pc:sldMkLst>
          <pc:docMk/>
          <pc:sldMk cId="0" sldId="434"/>
        </pc:sldMkLst>
        <pc:spChg chg="add del mod modVis">
          <ac:chgData name="Nataliia Chornii (UA)" userId="4e4b8b3d-5f31-49bb-9f80-8a25c04abfff" providerId="ADAL" clId="{EE97D3FE-9ACA-4467-98E5-532EC45D9D1C}" dt="2024-03-01T08:49:00.682" v="1934"/>
          <ac:spMkLst>
            <pc:docMk/>
            <pc:sldMk cId="0" sldId="434"/>
            <ac:spMk id="3" creationId="{68A80960-C76D-B9D5-4FFE-7BF43E4E608B}"/>
          </ac:spMkLst>
        </pc:spChg>
        <pc:spChg chg="add del mod modVis">
          <ac:chgData name="Nataliia Chornii (UA)" userId="4e4b8b3d-5f31-49bb-9f80-8a25c04abfff" providerId="ADAL" clId="{EE97D3FE-9ACA-4467-98E5-532EC45D9D1C}" dt="2024-03-01T08:49:33.902" v="2936"/>
          <ac:spMkLst>
            <pc:docMk/>
            <pc:sldMk cId="0" sldId="434"/>
            <ac:spMk id="6" creationId="{4EBF2B21-DE98-B42A-ED61-C04BD45A2584}"/>
          </ac:spMkLst>
        </pc:spChg>
        <pc:spChg chg="add del mod modVis">
          <ac:chgData name="Nataliia Chornii (UA)" userId="4e4b8b3d-5f31-49bb-9f80-8a25c04abfff" providerId="ADAL" clId="{EE97D3FE-9ACA-4467-98E5-532EC45D9D1C}" dt="2024-03-01T08:49:59.913" v="3924"/>
          <ac:spMkLst>
            <pc:docMk/>
            <pc:sldMk cId="0" sldId="434"/>
            <ac:spMk id="7" creationId="{38507D43-AF89-A7EB-934E-162111172BB7}"/>
          </ac:spMkLst>
        </pc:spChg>
        <pc:spChg chg="add del mod modVis">
          <ac:chgData name="Nataliia Chornii (UA)" userId="4e4b8b3d-5f31-49bb-9f80-8a25c04abfff" providerId="ADAL" clId="{EE97D3FE-9ACA-4467-98E5-532EC45D9D1C}" dt="2024-03-01T08:51:26.242" v="4912"/>
          <ac:spMkLst>
            <pc:docMk/>
            <pc:sldMk cId="0" sldId="434"/>
            <ac:spMk id="8" creationId="{06052257-46BB-5B85-020C-E475936DB60A}"/>
          </ac:spMkLst>
        </pc:spChg>
        <pc:spChg chg="add del mod modVis">
          <ac:chgData name="Nataliia Chornii (UA)" userId="4e4b8b3d-5f31-49bb-9f80-8a25c04abfff" providerId="ADAL" clId="{EE97D3FE-9ACA-4467-98E5-532EC45D9D1C}" dt="2024-03-01T08:51:56.253" v="5901"/>
          <ac:spMkLst>
            <pc:docMk/>
            <pc:sldMk cId="0" sldId="434"/>
            <ac:spMk id="9" creationId="{46F0CE4E-90B1-A7BC-8660-A1290D01D91E}"/>
          </ac:spMkLst>
        </pc:spChg>
        <pc:spChg chg="add del mod modVis">
          <ac:chgData name="Nataliia Chornii (UA)" userId="4e4b8b3d-5f31-49bb-9f80-8a25c04abfff" providerId="ADAL" clId="{EE97D3FE-9ACA-4467-98E5-532EC45D9D1C}" dt="2024-03-01T08:52:18.408" v="6889"/>
          <ac:spMkLst>
            <pc:docMk/>
            <pc:sldMk cId="0" sldId="434"/>
            <ac:spMk id="10" creationId="{52C52EE1-79B8-5062-1936-9F4EABFDE9A0}"/>
          </ac:spMkLst>
        </pc:spChg>
        <pc:spChg chg="mod">
          <ac:chgData name="Nataliia Chornii (UA)" userId="4e4b8b3d-5f31-49bb-9f80-8a25c04abfff" providerId="ADAL" clId="{EE97D3FE-9ACA-4467-98E5-532EC45D9D1C}" dt="2024-03-01T08:52:18.186" v="6687" actId="948"/>
          <ac:spMkLst>
            <pc:docMk/>
            <pc:sldMk cId="0" sldId="434"/>
            <ac:spMk id="22530" creationId="{90803F70-EEC1-AA9F-C765-C47998E60961}"/>
          </ac:spMkLst>
        </pc:spChg>
        <pc:graphicFrameChg chg="add mod ord modVis replST">
          <ac:chgData name="Nataliia Chornii (UA)" userId="4e4b8b3d-5f31-49bb-9f80-8a25c04abfff" providerId="ADAL" clId="{EE97D3FE-9ACA-4467-98E5-532EC45D9D1C}" dt="2024-03-01T08:52:18.418" v="6891"/>
          <ac:graphicFrameMkLst>
            <pc:docMk/>
            <pc:sldMk cId="0" sldId="434"/>
            <ac:graphicFrameMk id="5" creationId="{3057BDF6-FFE0-651F-6A27-9B179C325AFB}"/>
          </ac:graphicFrameMkLst>
        </pc:graphicFrameChg>
      </pc:sldChg>
      <pc:sldChg chg="addSp delSp modSp mod">
        <pc:chgData name="Nataliia Chornii (UA)" userId="4e4b8b3d-5f31-49bb-9f80-8a25c04abfff" providerId="ADAL" clId="{EE97D3FE-9ACA-4467-98E5-532EC45D9D1C}" dt="2024-03-01T08:52:18.375" v="6865"/>
        <pc:sldMkLst>
          <pc:docMk/>
          <pc:sldMk cId="0" sldId="435"/>
        </pc:sldMkLst>
        <pc:spChg chg="add del mod modVis">
          <ac:chgData name="Nataliia Chornii (UA)" userId="4e4b8b3d-5f31-49bb-9f80-8a25c04abfff" providerId="ADAL" clId="{EE97D3FE-9ACA-4467-98E5-532EC45D9D1C}" dt="2024-03-01T08:49:00.430" v="1817"/>
          <ac:spMkLst>
            <pc:docMk/>
            <pc:sldMk cId="0" sldId="435"/>
            <ac:spMk id="3" creationId="{B0CD7726-E847-54E9-7260-236F5DA0BA13}"/>
          </ac:spMkLst>
        </pc:spChg>
        <pc:spChg chg="add del mod modVis">
          <ac:chgData name="Nataliia Chornii (UA)" userId="4e4b8b3d-5f31-49bb-9f80-8a25c04abfff" providerId="ADAL" clId="{EE97D3FE-9ACA-4467-98E5-532EC45D9D1C}" dt="2024-03-01T08:49:33.886" v="2910"/>
          <ac:spMkLst>
            <pc:docMk/>
            <pc:sldMk cId="0" sldId="435"/>
            <ac:spMk id="6" creationId="{F335C3E9-6994-FAA5-06F3-BD107BFFD870}"/>
          </ac:spMkLst>
        </pc:spChg>
        <pc:spChg chg="add del mod modVis">
          <ac:chgData name="Nataliia Chornii (UA)" userId="4e4b8b3d-5f31-49bb-9f80-8a25c04abfff" providerId="ADAL" clId="{EE97D3FE-9ACA-4467-98E5-532EC45D9D1C}" dt="2024-03-01T08:49:59.898" v="3898"/>
          <ac:spMkLst>
            <pc:docMk/>
            <pc:sldMk cId="0" sldId="435"/>
            <ac:spMk id="7" creationId="{C79C417A-5264-E62A-2259-75701385FEB9}"/>
          </ac:spMkLst>
        </pc:spChg>
        <pc:spChg chg="add del mod modVis">
          <ac:chgData name="Nataliia Chornii (UA)" userId="4e4b8b3d-5f31-49bb-9f80-8a25c04abfff" providerId="ADAL" clId="{EE97D3FE-9ACA-4467-98E5-532EC45D9D1C}" dt="2024-03-01T08:51:26.202" v="4886"/>
          <ac:spMkLst>
            <pc:docMk/>
            <pc:sldMk cId="0" sldId="435"/>
            <ac:spMk id="8" creationId="{9427E240-0493-AFD5-60C5-4C3573B7660A}"/>
          </ac:spMkLst>
        </pc:spChg>
        <pc:spChg chg="add del mod modVis">
          <ac:chgData name="Nataliia Chornii (UA)" userId="4e4b8b3d-5f31-49bb-9f80-8a25c04abfff" providerId="ADAL" clId="{EE97D3FE-9ACA-4467-98E5-532EC45D9D1C}" dt="2024-03-01T08:51:56.219" v="5875"/>
          <ac:spMkLst>
            <pc:docMk/>
            <pc:sldMk cId="0" sldId="435"/>
            <ac:spMk id="9" creationId="{B50CB155-97CB-30CC-484D-8D096A1980B3}"/>
          </ac:spMkLst>
        </pc:spChg>
        <pc:spChg chg="add del mod modVis">
          <ac:chgData name="Nataliia Chornii (UA)" userId="4e4b8b3d-5f31-49bb-9f80-8a25c04abfff" providerId="ADAL" clId="{EE97D3FE-9ACA-4467-98E5-532EC45D9D1C}" dt="2024-03-01T08:52:18.375" v="6863"/>
          <ac:spMkLst>
            <pc:docMk/>
            <pc:sldMk cId="0" sldId="435"/>
            <ac:spMk id="10" creationId="{10F2ED7B-1B24-BBF7-333B-3F5047000B02}"/>
          </ac:spMkLst>
        </pc:spChg>
        <pc:spChg chg="mod">
          <ac:chgData name="Nataliia Chornii (UA)" userId="4e4b8b3d-5f31-49bb-9f80-8a25c04abfff" providerId="ADAL" clId="{EE97D3FE-9ACA-4467-98E5-532EC45D9D1C}" dt="2024-03-01T08:52:18.012" v="6567" actId="948"/>
          <ac:spMkLst>
            <pc:docMk/>
            <pc:sldMk cId="0" sldId="435"/>
            <ac:spMk id="16386" creationId="{3A50658C-86F4-F398-CFB3-E88EF2F2A615}"/>
          </ac:spMkLst>
        </pc:spChg>
        <pc:graphicFrameChg chg="add mod ord modVis replST">
          <ac:chgData name="Nataliia Chornii (UA)" userId="4e4b8b3d-5f31-49bb-9f80-8a25c04abfff" providerId="ADAL" clId="{EE97D3FE-9ACA-4467-98E5-532EC45D9D1C}" dt="2024-03-01T08:52:18.375" v="6865"/>
          <ac:graphicFrameMkLst>
            <pc:docMk/>
            <pc:sldMk cId="0" sldId="435"/>
            <ac:graphicFrameMk id="5" creationId="{26D0D581-64AC-0E97-E10A-92DEE6D64B9F}"/>
          </ac:graphicFrameMkLst>
        </pc:graphicFrameChg>
      </pc:sldChg>
      <pc:sldChg chg="addSp delSp modSp mod">
        <pc:chgData name="Nataliia Chornii (UA)" userId="4e4b8b3d-5f31-49bb-9f80-8a25c04abfff" providerId="ADAL" clId="{EE97D3FE-9ACA-4467-98E5-532EC45D9D1C}" dt="2024-03-01T08:52:18.375" v="6857"/>
        <pc:sldMkLst>
          <pc:docMk/>
          <pc:sldMk cId="0" sldId="436"/>
        </pc:sldMkLst>
        <pc:spChg chg="add del mod modVis">
          <ac:chgData name="Nataliia Chornii (UA)" userId="4e4b8b3d-5f31-49bb-9f80-8a25c04abfff" providerId="ADAL" clId="{EE97D3FE-9ACA-4467-98E5-532EC45D9D1C}" dt="2024-03-01T08:49:00.351" v="1783"/>
          <ac:spMkLst>
            <pc:docMk/>
            <pc:sldMk cId="0" sldId="436"/>
            <ac:spMk id="3" creationId="{080E237C-45A8-D5D4-0DB7-0C513C8792CA}"/>
          </ac:spMkLst>
        </pc:spChg>
        <pc:spChg chg="add del mod modVis">
          <ac:chgData name="Nataliia Chornii (UA)" userId="4e4b8b3d-5f31-49bb-9f80-8a25c04abfff" providerId="ADAL" clId="{EE97D3FE-9ACA-4467-98E5-532EC45D9D1C}" dt="2024-03-01T08:49:33.862" v="2902"/>
          <ac:spMkLst>
            <pc:docMk/>
            <pc:sldMk cId="0" sldId="436"/>
            <ac:spMk id="6" creationId="{D729359F-9631-6F54-8530-8731F2AF900D}"/>
          </ac:spMkLst>
        </pc:spChg>
        <pc:spChg chg="add del mod modVis">
          <ac:chgData name="Nataliia Chornii (UA)" userId="4e4b8b3d-5f31-49bb-9f80-8a25c04abfff" providerId="ADAL" clId="{EE97D3FE-9ACA-4467-98E5-532EC45D9D1C}" dt="2024-03-01T08:49:59.885" v="3890"/>
          <ac:spMkLst>
            <pc:docMk/>
            <pc:sldMk cId="0" sldId="436"/>
            <ac:spMk id="7" creationId="{19C04AC0-9B70-B957-B85E-C09F979DD33B}"/>
          </ac:spMkLst>
        </pc:spChg>
        <pc:spChg chg="add del mod modVis">
          <ac:chgData name="Nataliia Chornii (UA)" userId="4e4b8b3d-5f31-49bb-9f80-8a25c04abfff" providerId="ADAL" clId="{EE97D3FE-9ACA-4467-98E5-532EC45D9D1C}" dt="2024-03-01T08:51:26.202" v="4878"/>
          <ac:spMkLst>
            <pc:docMk/>
            <pc:sldMk cId="0" sldId="436"/>
            <ac:spMk id="8" creationId="{F1022A89-6D6C-490C-3152-E533F8C0A4A3}"/>
          </ac:spMkLst>
        </pc:spChg>
        <pc:spChg chg="add del mod modVis">
          <ac:chgData name="Nataliia Chornii (UA)" userId="4e4b8b3d-5f31-49bb-9f80-8a25c04abfff" providerId="ADAL" clId="{EE97D3FE-9ACA-4467-98E5-532EC45D9D1C}" dt="2024-03-01T08:51:56.219" v="5867"/>
          <ac:spMkLst>
            <pc:docMk/>
            <pc:sldMk cId="0" sldId="436"/>
            <ac:spMk id="9" creationId="{F4D19794-257B-CDB9-A077-49E966C4A7D6}"/>
          </ac:spMkLst>
        </pc:spChg>
        <pc:spChg chg="add del mod modVis">
          <ac:chgData name="Nataliia Chornii (UA)" userId="4e4b8b3d-5f31-49bb-9f80-8a25c04abfff" providerId="ADAL" clId="{EE97D3FE-9ACA-4467-98E5-532EC45D9D1C}" dt="2024-03-01T08:52:18.375" v="6855"/>
          <ac:spMkLst>
            <pc:docMk/>
            <pc:sldMk cId="0" sldId="436"/>
            <ac:spMk id="10" creationId="{A4A07E9A-A36A-93B8-6871-0839C4D39985}"/>
          </ac:spMkLst>
        </pc:spChg>
        <pc:spChg chg="mod">
          <ac:chgData name="Nataliia Chornii (UA)" userId="4e4b8b3d-5f31-49bb-9f80-8a25c04abfff" providerId="ADAL" clId="{EE97D3FE-9ACA-4467-98E5-532EC45D9D1C}" dt="2024-03-01T08:52:17.964" v="6527" actId="948"/>
          <ac:spMkLst>
            <pc:docMk/>
            <pc:sldMk cId="0" sldId="436"/>
            <ac:spMk id="14338" creationId="{E852B5DF-031C-809A-E3D0-97AA441A35D2}"/>
          </ac:spMkLst>
        </pc:spChg>
        <pc:graphicFrameChg chg="add mod ord modVis replST">
          <ac:chgData name="Nataliia Chornii (UA)" userId="4e4b8b3d-5f31-49bb-9f80-8a25c04abfff" providerId="ADAL" clId="{EE97D3FE-9ACA-4467-98E5-532EC45D9D1C}" dt="2024-03-01T08:52:18.375" v="6857"/>
          <ac:graphicFrameMkLst>
            <pc:docMk/>
            <pc:sldMk cId="0" sldId="436"/>
            <ac:graphicFrameMk id="5" creationId="{94D73DF1-C344-D6B2-0B86-9E8541BE5460}"/>
          </ac:graphicFrameMkLst>
        </pc:graphicFrameChg>
      </pc:sldChg>
      <pc:sldChg chg="addSp delSp modSp mod">
        <pc:chgData name="Nataliia Chornii (UA)" userId="4e4b8b3d-5f31-49bb-9f80-8a25c04abfff" providerId="ADAL" clId="{EE97D3FE-9ACA-4467-98E5-532EC45D9D1C}" dt="2024-03-01T08:52:18.408" v="6885"/>
        <pc:sldMkLst>
          <pc:docMk/>
          <pc:sldMk cId="0" sldId="437"/>
        </pc:sldMkLst>
        <pc:spChg chg="add del mod modVis">
          <ac:chgData name="Nataliia Chornii (UA)" userId="4e4b8b3d-5f31-49bb-9f80-8a25c04abfff" providerId="ADAL" clId="{EE97D3FE-9ACA-4467-98E5-532EC45D9D1C}" dt="2024-03-01T08:49:00.603" v="1902"/>
          <ac:spMkLst>
            <pc:docMk/>
            <pc:sldMk cId="0" sldId="437"/>
            <ac:spMk id="3" creationId="{69E3DA32-1D52-3875-4D9F-A05F62325654}"/>
          </ac:spMkLst>
        </pc:spChg>
        <pc:spChg chg="add del mod modVis">
          <ac:chgData name="Nataliia Chornii (UA)" userId="4e4b8b3d-5f31-49bb-9f80-8a25c04abfff" providerId="ADAL" clId="{EE97D3FE-9ACA-4467-98E5-532EC45D9D1C}" dt="2024-03-01T08:49:33.902" v="2930"/>
          <ac:spMkLst>
            <pc:docMk/>
            <pc:sldMk cId="0" sldId="437"/>
            <ac:spMk id="6" creationId="{35E94DA4-7CD5-7C57-E9C2-6D2507EAFE55}"/>
          </ac:spMkLst>
        </pc:spChg>
        <pc:spChg chg="add del mod modVis">
          <ac:chgData name="Nataliia Chornii (UA)" userId="4e4b8b3d-5f31-49bb-9f80-8a25c04abfff" providerId="ADAL" clId="{EE97D3FE-9ACA-4467-98E5-532EC45D9D1C}" dt="2024-03-01T08:49:59.913" v="3918"/>
          <ac:spMkLst>
            <pc:docMk/>
            <pc:sldMk cId="0" sldId="437"/>
            <ac:spMk id="7" creationId="{5E1845B6-F9F8-CAC7-5F0E-466E3948287E}"/>
          </ac:spMkLst>
        </pc:spChg>
        <pc:spChg chg="add del mod modVis">
          <ac:chgData name="Nataliia Chornii (UA)" userId="4e4b8b3d-5f31-49bb-9f80-8a25c04abfff" providerId="ADAL" clId="{EE97D3FE-9ACA-4467-98E5-532EC45D9D1C}" dt="2024-03-01T08:51:26.233" v="4906"/>
          <ac:spMkLst>
            <pc:docMk/>
            <pc:sldMk cId="0" sldId="437"/>
            <ac:spMk id="8" creationId="{DCF00BFF-8A48-2E9F-6F7E-C6D5E6DB1956}"/>
          </ac:spMkLst>
        </pc:spChg>
        <pc:spChg chg="add del mod modVis">
          <ac:chgData name="Nataliia Chornii (UA)" userId="4e4b8b3d-5f31-49bb-9f80-8a25c04abfff" providerId="ADAL" clId="{EE97D3FE-9ACA-4467-98E5-532EC45D9D1C}" dt="2024-03-01T08:51:56.244" v="5895"/>
          <ac:spMkLst>
            <pc:docMk/>
            <pc:sldMk cId="0" sldId="437"/>
            <ac:spMk id="9" creationId="{A05214B4-C71E-FB2A-8C12-C30F9120E4FC}"/>
          </ac:spMkLst>
        </pc:spChg>
        <pc:spChg chg="add del mod modVis">
          <ac:chgData name="Nataliia Chornii (UA)" userId="4e4b8b3d-5f31-49bb-9f80-8a25c04abfff" providerId="ADAL" clId="{EE97D3FE-9ACA-4467-98E5-532EC45D9D1C}" dt="2024-03-01T08:52:18.406" v="6883"/>
          <ac:spMkLst>
            <pc:docMk/>
            <pc:sldMk cId="0" sldId="437"/>
            <ac:spMk id="10" creationId="{406130C5-30B7-D4FF-1820-85E5F8FEF121}"/>
          </ac:spMkLst>
        </pc:spChg>
        <pc:spChg chg="mod">
          <ac:chgData name="Nataliia Chornii (UA)" userId="4e4b8b3d-5f31-49bb-9f80-8a25c04abfff" providerId="ADAL" clId="{EE97D3FE-9ACA-4467-98E5-532EC45D9D1C}" dt="2024-03-01T08:52:18.154" v="6667" actId="948"/>
          <ac:spMkLst>
            <pc:docMk/>
            <pc:sldMk cId="0" sldId="437"/>
            <ac:spMk id="20482" creationId="{E2B7FBCA-76E7-3F92-809D-F9B8703DB69A}"/>
          </ac:spMkLst>
        </pc:spChg>
        <pc:graphicFrameChg chg="add mod ord modVis replST">
          <ac:chgData name="Nataliia Chornii (UA)" userId="4e4b8b3d-5f31-49bb-9f80-8a25c04abfff" providerId="ADAL" clId="{EE97D3FE-9ACA-4467-98E5-532EC45D9D1C}" dt="2024-03-01T08:52:18.408" v="6885"/>
          <ac:graphicFrameMkLst>
            <pc:docMk/>
            <pc:sldMk cId="0" sldId="437"/>
            <ac:graphicFrameMk id="5" creationId="{34B00F0B-F275-B8CE-649A-C5EF32FB1F1B}"/>
          </ac:graphicFrameMkLst>
        </pc:graphicFrameChg>
      </pc:sldChg>
      <pc:sldChg chg="addSp delSp modSp mod">
        <pc:chgData name="Nataliia Chornii (UA)" userId="4e4b8b3d-5f31-49bb-9f80-8a25c04abfff" providerId="ADAL" clId="{EE97D3FE-9ACA-4467-98E5-532EC45D9D1C}" dt="2024-03-01T08:52:18.391" v="6869"/>
        <pc:sldMkLst>
          <pc:docMk/>
          <pc:sldMk cId="0" sldId="438"/>
        </pc:sldMkLst>
        <pc:spChg chg="add del mod modVis">
          <ac:chgData name="Nataliia Chornii (UA)" userId="4e4b8b3d-5f31-49bb-9f80-8a25c04abfff" providerId="ADAL" clId="{EE97D3FE-9ACA-4467-98E5-532EC45D9D1C}" dt="2024-03-01T08:49:00.461" v="1834"/>
          <ac:spMkLst>
            <pc:docMk/>
            <pc:sldMk cId="0" sldId="438"/>
            <ac:spMk id="3" creationId="{2F433DF6-2682-2E66-4315-154E299928F6}"/>
          </ac:spMkLst>
        </pc:spChg>
        <pc:spChg chg="add del mod modVis">
          <ac:chgData name="Nataliia Chornii (UA)" userId="4e4b8b3d-5f31-49bb-9f80-8a25c04abfff" providerId="ADAL" clId="{EE97D3FE-9ACA-4467-98E5-532EC45D9D1C}" dt="2024-03-01T08:49:33.886" v="2914"/>
          <ac:spMkLst>
            <pc:docMk/>
            <pc:sldMk cId="0" sldId="438"/>
            <ac:spMk id="6" creationId="{19C0DCDE-5AE9-9348-79DF-7FAD563EE024}"/>
          </ac:spMkLst>
        </pc:spChg>
        <pc:spChg chg="add del mod modVis">
          <ac:chgData name="Nataliia Chornii (UA)" userId="4e4b8b3d-5f31-49bb-9f80-8a25c04abfff" providerId="ADAL" clId="{EE97D3FE-9ACA-4467-98E5-532EC45D9D1C}" dt="2024-03-01T08:49:59.898" v="3902"/>
          <ac:spMkLst>
            <pc:docMk/>
            <pc:sldMk cId="0" sldId="438"/>
            <ac:spMk id="7" creationId="{401E0C68-897C-D3E6-3580-5BEB521CF5A5}"/>
          </ac:spMkLst>
        </pc:spChg>
        <pc:spChg chg="add del mod modVis">
          <ac:chgData name="Nataliia Chornii (UA)" userId="4e4b8b3d-5f31-49bb-9f80-8a25c04abfff" providerId="ADAL" clId="{EE97D3FE-9ACA-4467-98E5-532EC45D9D1C}" dt="2024-03-01T08:51:26.214" v="4890"/>
          <ac:spMkLst>
            <pc:docMk/>
            <pc:sldMk cId="0" sldId="438"/>
            <ac:spMk id="8" creationId="{DB92BDF4-C69A-536D-AFF4-8BE66EF6E97A}"/>
          </ac:spMkLst>
        </pc:spChg>
        <pc:spChg chg="add del mod modVis">
          <ac:chgData name="Nataliia Chornii (UA)" userId="4e4b8b3d-5f31-49bb-9f80-8a25c04abfff" providerId="ADAL" clId="{EE97D3FE-9ACA-4467-98E5-532EC45D9D1C}" dt="2024-03-01T08:51:56.230" v="5879"/>
          <ac:spMkLst>
            <pc:docMk/>
            <pc:sldMk cId="0" sldId="438"/>
            <ac:spMk id="9" creationId="{7DB3A309-1DD6-2D5D-0DD2-6CBBC4E293A3}"/>
          </ac:spMkLst>
        </pc:spChg>
        <pc:spChg chg="add del mod modVis">
          <ac:chgData name="Nataliia Chornii (UA)" userId="4e4b8b3d-5f31-49bb-9f80-8a25c04abfff" providerId="ADAL" clId="{EE97D3FE-9ACA-4467-98E5-532EC45D9D1C}" dt="2024-03-01T08:52:18.391" v="6867"/>
          <ac:spMkLst>
            <pc:docMk/>
            <pc:sldMk cId="0" sldId="438"/>
            <ac:spMk id="10" creationId="{7287D2E2-4A72-65E8-CFD5-6087236B2999}"/>
          </ac:spMkLst>
        </pc:spChg>
        <pc:spChg chg="mod">
          <ac:chgData name="Nataliia Chornii (UA)" userId="4e4b8b3d-5f31-49bb-9f80-8a25c04abfff" providerId="ADAL" clId="{EE97D3FE-9ACA-4467-98E5-532EC45D9D1C}" dt="2024-03-01T08:52:18.043" v="6587" actId="948"/>
          <ac:spMkLst>
            <pc:docMk/>
            <pc:sldMk cId="0" sldId="438"/>
            <ac:spMk id="18434" creationId="{FADB79CA-61AE-0EFE-9561-64AAE2B84507}"/>
          </ac:spMkLst>
        </pc:spChg>
        <pc:graphicFrameChg chg="add mod ord modVis replST">
          <ac:chgData name="Nataliia Chornii (UA)" userId="4e4b8b3d-5f31-49bb-9f80-8a25c04abfff" providerId="ADAL" clId="{EE97D3FE-9ACA-4467-98E5-532EC45D9D1C}" dt="2024-03-01T08:52:18.391" v="6869"/>
          <ac:graphicFrameMkLst>
            <pc:docMk/>
            <pc:sldMk cId="0" sldId="438"/>
            <ac:graphicFrameMk id="5" creationId="{DA8AD06A-AA59-D75B-A465-80FB4633415D}"/>
          </ac:graphicFrameMkLst>
        </pc:graphicFrameChg>
      </pc:sldChg>
      <pc:sldChg chg="addSp delSp modSp mod modClrScheme chgLayout">
        <pc:chgData name="Nataliia Chornii (UA)" userId="4e4b8b3d-5f31-49bb-9f80-8a25c04abfff" providerId="ADAL" clId="{EE97D3FE-9ACA-4467-98E5-532EC45D9D1C}" dt="2024-03-11T14:19:30.931" v="23933" actId="164"/>
        <pc:sldMkLst>
          <pc:docMk/>
          <pc:sldMk cId="399328488" sldId="450"/>
        </pc:sldMkLst>
        <pc:spChg chg="mod">
          <ac:chgData name="Nataliia Chornii (UA)" userId="4e4b8b3d-5f31-49bb-9f80-8a25c04abfff" providerId="ADAL" clId="{EE97D3FE-9ACA-4467-98E5-532EC45D9D1C}" dt="2024-03-11T14:04:59.503" v="23369" actId="1035"/>
          <ac:spMkLst>
            <pc:docMk/>
            <pc:sldMk cId="399328488" sldId="450"/>
            <ac:spMk id="2" creationId="{06CA5123-FA6E-5376-B3D9-BDF5B08EA25B}"/>
          </ac:spMkLst>
        </pc:spChg>
        <pc:spChg chg="del mod ord">
          <ac:chgData name="Nataliia Chornii (UA)" userId="4e4b8b3d-5f31-49bb-9f80-8a25c04abfff" providerId="ADAL" clId="{EE97D3FE-9ACA-4467-98E5-532EC45D9D1C}" dt="2024-03-01T08:54:18.195" v="6927" actId="478"/>
          <ac:spMkLst>
            <pc:docMk/>
            <pc:sldMk cId="399328488" sldId="450"/>
            <ac:spMk id="2" creationId="{20E40FBF-934F-95FE-8778-92F849DEC1EA}"/>
          </ac:spMkLst>
        </pc:spChg>
        <pc:spChg chg="mod ord">
          <ac:chgData name="Nataliia Chornii (UA)" userId="4e4b8b3d-5f31-49bb-9f80-8a25c04abfff" providerId="ADAL" clId="{EE97D3FE-9ACA-4467-98E5-532EC45D9D1C}" dt="2024-03-11T14:04:06.306" v="23347" actId="948"/>
          <ac:spMkLst>
            <pc:docMk/>
            <pc:sldMk cId="399328488" sldId="450"/>
            <ac:spMk id="3" creationId="{AAFE076C-9B8C-9BB3-8680-7E4B60DEC21C}"/>
          </ac:spMkLst>
        </pc:spChg>
        <pc:spChg chg="mod ord">
          <ac:chgData name="Nataliia Chornii (UA)" userId="4e4b8b3d-5f31-49bb-9f80-8a25c04abfff" providerId="ADAL" clId="{EE97D3FE-9ACA-4467-98E5-532EC45D9D1C}" dt="2024-03-01T13:01:20.637" v="12377" actId="207"/>
          <ac:spMkLst>
            <pc:docMk/>
            <pc:sldMk cId="399328488" sldId="450"/>
            <ac:spMk id="4" creationId="{51A056F4-4CF2-BBE9-52F6-908FF9154948}"/>
          </ac:spMkLst>
        </pc:spChg>
        <pc:spChg chg="del">
          <ac:chgData name="Nataliia Chornii (UA)" userId="4e4b8b3d-5f31-49bb-9f80-8a25c04abfff" providerId="ADAL" clId="{EE97D3FE-9ACA-4467-98E5-532EC45D9D1C}" dt="2024-03-01T08:54:13.163" v="6924" actId="478"/>
          <ac:spMkLst>
            <pc:docMk/>
            <pc:sldMk cId="399328488" sldId="450"/>
            <ac:spMk id="5" creationId="{1C73DC58-4723-3B96-46FC-CBBC7FA3EB02}"/>
          </ac:spMkLst>
        </pc:spChg>
        <pc:spChg chg="del">
          <ac:chgData name="Nataliia Chornii (UA)" userId="4e4b8b3d-5f31-49bb-9f80-8a25c04abfff" providerId="ADAL" clId="{EE97D3FE-9ACA-4467-98E5-532EC45D9D1C}" dt="2024-03-11T14:03:10.571" v="23306" actId="478"/>
          <ac:spMkLst>
            <pc:docMk/>
            <pc:sldMk cId="399328488" sldId="450"/>
            <ac:spMk id="5" creationId="{B23D23F6-EAA1-C1CC-4EAD-63DE62A28506}"/>
          </ac:spMkLst>
        </pc:spChg>
        <pc:spChg chg="del mod ord">
          <ac:chgData name="Nataliia Chornii (UA)" userId="4e4b8b3d-5f31-49bb-9f80-8a25c04abfff" providerId="ADAL" clId="{EE97D3FE-9ACA-4467-98E5-532EC45D9D1C}" dt="2024-03-01T08:54:45.832" v="7004" actId="478"/>
          <ac:spMkLst>
            <pc:docMk/>
            <pc:sldMk cId="399328488" sldId="450"/>
            <ac:spMk id="6" creationId="{2E672114-781E-3E9E-07DD-B0CC53AC0021}"/>
          </ac:spMkLst>
        </pc:spChg>
        <pc:spChg chg="del mod">
          <ac:chgData name="Nataliia Chornii (UA)" userId="4e4b8b3d-5f31-49bb-9f80-8a25c04abfff" providerId="ADAL" clId="{EE97D3FE-9ACA-4467-98E5-532EC45D9D1C}" dt="2024-03-11T14:08:22.377" v="23498" actId="478"/>
          <ac:spMkLst>
            <pc:docMk/>
            <pc:sldMk cId="399328488" sldId="450"/>
            <ac:spMk id="6" creationId="{C921EC8E-0465-7791-299D-694BBCA764E9}"/>
          </ac:spMkLst>
        </pc:spChg>
        <pc:spChg chg="del mod">
          <ac:chgData name="Nataliia Chornii (UA)" userId="4e4b8b3d-5f31-49bb-9f80-8a25c04abfff" providerId="ADAL" clId="{EE97D3FE-9ACA-4467-98E5-532EC45D9D1C}" dt="2024-03-01T08:54:18.195" v="6927" actId="478"/>
          <ac:spMkLst>
            <pc:docMk/>
            <pc:sldMk cId="399328488" sldId="450"/>
            <ac:spMk id="7" creationId="{11B054F7-BD3F-CC04-8F9A-A47566ADA21E}"/>
          </ac:spMkLst>
        </pc:spChg>
        <pc:spChg chg="del">
          <ac:chgData name="Nataliia Chornii (UA)" userId="4e4b8b3d-5f31-49bb-9f80-8a25c04abfff" providerId="ADAL" clId="{EE97D3FE-9ACA-4467-98E5-532EC45D9D1C}" dt="2024-03-11T14:03:10.571" v="23306" actId="478"/>
          <ac:spMkLst>
            <pc:docMk/>
            <pc:sldMk cId="399328488" sldId="450"/>
            <ac:spMk id="7" creationId="{342010C7-05ED-A506-BB45-990074298A60}"/>
          </ac:spMkLst>
        </pc:spChg>
        <pc:spChg chg="del">
          <ac:chgData name="Nataliia Chornii (UA)" userId="4e4b8b3d-5f31-49bb-9f80-8a25c04abfff" providerId="ADAL" clId="{EE97D3FE-9ACA-4467-98E5-532EC45D9D1C}" dt="2024-03-11T14:18:23.466" v="23921" actId="478"/>
          <ac:spMkLst>
            <pc:docMk/>
            <pc:sldMk cId="399328488" sldId="450"/>
            <ac:spMk id="8" creationId="{8CC35DE3-4BB1-6CC3-3075-F8F54B9BCE23}"/>
          </ac:spMkLst>
        </pc:spChg>
        <pc:spChg chg="add del mod modVis">
          <ac:chgData name="Nataliia Chornii (UA)" userId="4e4b8b3d-5f31-49bb-9f80-8a25c04abfff" providerId="ADAL" clId="{EE97D3FE-9ACA-4467-98E5-532EC45D9D1C}" dt="2024-03-01T08:48:59.251" v="1242"/>
          <ac:spMkLst>
            <pc:docMk/>
            <pc:sldMk cId="399328488" sldId="450"/>
            <ac:spMk id="8" creationId="{A85CE0C6-99E6-DF65-9956-CFBE3457DF05}"/>
          </ac:spMkLst>
        </pc:spChg>
        <pc:spChg chg="add del mod modVis">
          <ac:chgData name="Nataliia Chornii (UA)" userId="4e4b8b3d-5f31-49bb-9f80-8a25c04abfff" providerId="ADAL" clId="{EE97D3FE-9ACA-4467-98E5-532EC45D9D1C}" dt="2024-03-11T14:03:24.722" v="23337"/>
          <ac:spMkLst>
            <pc:docMk/>
            <pc:sldMk cId="399328488" sldId="450"/>
            <ac:spMk id="10" creationId="{1AEBA408-07D1-C2A9-F4EB-F641D362E362}"/>
          </ac:spMkLst>
        </pc:spChg>
        <pc:spChg chg="del">
          <ac:chgData name="Nataliia Chornii (UA)" userId="4e4b8b3d-5f31-49bb-9f80-8a25c04abfff" providerId="ADAL" clId="{EE97D3FE-9ACA-4467-98E5-532EC45D9D1C}" dt="2024-03-01T08:54:02.046" v="6920" actId="478"/>
          <ac:spMkLst>
            <pc:docMk/>
            <pc:sldMk cId="399328488" sldId="450"/>
            <ac:spMk id="10" creationId="{9289F6C4-FC0B-0E3A-DAD4-24B0CD0E3DD5}"/>
          </ac:spMkLst>
        </pc:spChg>
        <pc:spChg chg="add del mod modVis">
          <ac:chgData name="Nataliia Chornii (UA)" userId="4e4b8b3d-5f31-49bb-9f80-8a25c04abfff" providerId="ADAL" clId="{EE97D3FE-9ACA-4467-98E5-532EC45D9D1C}" dt="2024-03-01T08:49:33.707" v="2790"/>
          <ac:spMkLst>
            <pc:docMk/>
            <pc:sldMk cId="399328488" sldId="450"/>
            <ac:spMk id="11" creationId="{D007A732-CBDF-AB11-F9C9-4AB0AF45C6A7}"/>
          </ac:spMkLst>
        </pc:spChg>
        <pc:spChg chg="mod topLvl">
          <ac:chgData name="Nataliia Chornii (UA)" userId="4e4b8b3d-5f31-49bb-9f80-8a25c04abfff" providerId="ADAL" clId="{EE97D3FE-9ACA-4467-98E5-532EC45D9D1C}" dt="2024-03-11T14:19:30.931" v="23933" actId="164"/>
          <ac:spMkLst>
            <pc:docMk/>
            <pc:sldMk cId="399328488" sldId="450"/>
            <ac:spMk id="12" creationId="{437AFA95-4629-E445-8011-A1331848A9C1}"/>
          </ac:spMkLst>
        </pc:spChg>
        <pc:spChg chg="del mod">
          <ac:chgData name="Nataliia Chornii (UA)" userId="4e4b8b3d-5f31-49bb-9f80-8a25c04abfff" providerId="ADAL" clId="{EE97D3FE-9ACA-4467-98E5-532EC45D9D1C}" dt="2024-03-01T08:54:10.085" v="6922" actId="478"/>
          <ac:spMkLst>
            <pc:docMk/>
            <pc:sldMk cId="399328488" sldId="450"/>
            <ac:spMk id="12" creationId="{5BA3FC79-5B8F-4417-8615-05D13DBFFB22}"/>
          </ac:spMkLst>
        </pc:spChg>
        <pc:spChg chg="mod topLvl">
          <ac:chgData name="Nataliia Chornii (UA)" userId="4e4b8b3d-5f31-49bb-9f80-8a25c04abfff" providerId="ADAL" clId="{EE97D3FE-9ACA-4467-98E5-532EC45D9D1C}" dt="2024-03-11T14:19:30.931" v="23933" actId="164"/>
          <ac:spMkLst>
            <pc:docMk/>
            <pc:sldMk cId="399328488" sldId="450"/>
            <ac:spMk id="13" creationId="{07F853EE-4954-F93E-0658-251452786CF6}"/>
          </ac:spMkLst>
        </pc:spChg>
        <pc:spChg chg="add del mod modVis">
          <ac:chgData name="Nataliia Chornii (UA)" userId="4e4b8b3d-5f31-49bb-9f80-8a25c04abfff" providerId="ADAL" clId="{EE97D3FE-9ACA-4467-98E5-532EC45D9D1C}" dt="2024-03-01T08:49:59.773" v="3778"/>
          <ac:spMkLst>
            <pc:docMk/>
            <pc:sldMk cId="399328488" sldId="450"/>
            <ac:spMk id="13" creationId="{89DB3D54-29A1-CDCA-5FC7-2CF9441B303C}"/>
          </ac:spMkLst>
        </pc:spChg>
        <pc:spChg chg="mod topLvl">
          <ac:chgData name="Nataliia Chornii (UA)" userId="4e4b8b3d-5f31-49bb-9f80-8a25c04abfff" providerId="ADAL" clId="{EE97D3FE-9ACA-4467-98E5-532EC45D9D1C}" dt="2024-03-11T14:19:30.931" v="23933" actId="164"/>
          <ac:spMkLst>
            <pc:docMk/>
            <pc:sldMk cId="399328488" sldId="450"/>
            <ac:spMk id="14" creationId="{47611A2B-87DE-E012-FBEB-CD8C3F27162D}"/>
          </ac:spMkLst>
        </pc:spChg>
        <pc:spChg chg="add del mod modVis">
          <ac:chgData name="Nataliia Chornii (UA)" userId="4e4b8b3d-5f31-49bb-9f80-8a25c04abfff" providerId="ADAL" clId="{EE97D3FE-9ACA-4467-98E5-532EC45D9D1C}" dt="2024-03-01T08:51:26.075" v="4766"/>
          <ac:spMkLst>
            <pc:docMk/>
            <pc:sldMk cId="399328488" sldId="450"/>
            <ac:spMk id="14" creationId="{B2F8F407-7B04-BF6F-173E-668E384A3E54}"/>
          </ac:spMkLst>
        </pc:spChg>
        <pc:spChg chg="add del mod modVis">
          <ac:chgData name="Nataliia Chornii (UA)" userId="4e4b8b3d-5f31-49bb-9f80-8a25c04abfff" providerId="ADAL" clId="{EE97D3FE-9ACA-4467-98E5-532EC45D9D1C}" dt="2024-03-01T08:51:56.079" v="5755"/>
          <ac:spMkLst>
            <pc:docMk/>
            <pc:sldMk cId="399328488" sldId="450"/>
            <ac:spMk id="15" creationId="{221F9FCE-8D39-B55C-A5CA-BF29D92AB3E5}"/>
          </ac:spMkLst>
        </pc:spChg>
        <pc:spChg chg="mod topLvl">
          <ac:chgData name="Nataliia Chornii (UA)" userId="4e4b8b3d-5f31-49bb-9f80-8a25c04abfff" providerId="ADAL" clId="{EE97D3FE-9ACA-4467-98E5-532EC45D9D1C}" dt="2024-03-11T14:19:30.931" v="23933" actId="164"/>
          <ac:spMkLst>
            <pc:docMk/>
            <pc:sldMk cId="399328488" sldId="450"/>
            <ac:spMk id="15" creationId="{F075C420-0F8B-D5BA-BC4C-BE0D5D4A9645}"/>
          </ac:spMkLst>
        </pc:spChg>
        <pc:spChg chg="add del mod modVis">
          <ac:chgData name="Nataliia Chornii (UA)" userId="4e4b8b3d-5f31-49bb-9f80-8a25c04abfff" providerId="ADAL" clId="{EE97D3FE-9ACA-4467-98E5-532EC45D9D1C}" dt="2024-03-01T08:52:18.249" v="6743"/>
          <ac:spMkLst>
            <pc:docMk/>
            <pc:sldMk cId="399328488" sldId="450"/>
            <ac:spMk id="16" creationId="{379E4BC4-5B7E-9B3E-DDEF-FA2BC67F0DFB}"/>
          </ac:spMkLst>
        </pc:spChg>
        <pc:spChg chg="mod topLvl">
          <ac:chgData name="Nataliia Chornii (UA)" userId="4e4b8b3d-5f31-49bb-9f80-8a25c04abfff" providerId="ADAL" clId="{EE97D3FE-9ACA-4467-98E5-532EC45D9D1C}" dt="2024-03-11T14:19:30.931" v="23933" actId="164"/>
          <ac:spMkLst>
            <pc:docMk/>
            <pc:sldMk cId="399328488" sldId="450"/>
            <ac:spMk id="16" creationId="{E8603D44-7F97-0FEA-D908-A5DDE8A41CC8}"/>
          </ac:spMkLst>
        </pc:spChg>
        <pc:spChg chg="add del mod">
          <ac:chgData name="Nataliia Chornii (UA)" userId="4e4b8b3d-5f31-49bb-9f80-8a25c04abfff" providerId="ADAL" clId="{EE97D3FE-9ACA-4467-98E5-532EC45D9D1C}" dt="2024-03-01T08:54:16.284" v="6926" actId="6264"/>
          <ac:spMkLst>
            <pc:docMk/>
            <pc:sldMk cId="399328488" sldId="450"/>
            <ac:spMk id="17" creationId="{6A25801D-BA8D-7C1E-896E-A8ACB1C104C2}"/>
          </ac:spMkLst>
        </pc:spChg>
        <pc:spChg chg="mod topLvl">
          <ac:chgData name="Nataliia Chornii (UA)" userId="4e4b8b3d-5f31-49bb-9f80-8a25c04abfff" providerId="ADAL" clId="{EE97D3FE-9ACA-4467-98E5-532EC45D9D1C}" dt="2024-03-11T14:19:30.931" v="23933" actId="164"/>
          <ac:spMkLst>
            <pc:docMk/>
            <pc:sldMk cId="399328488" sldId="450"/>
            <ac:spMk id="17" creationId="{F94A9033-6BFC-B403-C388-86F98F207B0B}"/>
          </ac:spMkLst>
        </pc:spChg>
        <pc:spChg chg="add del mod">
          <ac:chgData name="Nataliia Chornii (UA)" userId="4e4b8b3d-5f31-49bb-9f80-8a25c04abfff" providerId="ADAL" clId="{EE97D3FE-9ACA-4467-98E5-532EC45D9D1C}" dt="2024-03-01T08:54:16.284" v="6926" actId="6264"/>
          <ac:spMkLst>
            <pc:docMk/>
            <pc:sldMk cId="399328488" sldId="450"/>
            <ac:spMk id="18" creationId="{AE0E333A-974E-6328-3599-EDEDF071CBE8}"/>
          </ac:spMkLst>
        </pc:spChg>
        <pc:spChg chg="add del mod">
          <ac:chgData name="Nataliia Chornii (UA)" userId="4e4b8b3d-5f31-49bb-9f80-8a25c04abfff" providerId="ADAL" clId="{EE97D3FE-9ACA-4467-98E5-532EC45D9D1C}" dt="2024-03-01T08:54:16.284" v="6926" actId="6264"/>
          <ac:spMkLst>
            <pc:docMk/>
            <pc:sldMk cId="399328488" sldId="450"/>
            <ac:spMk id="19" creationId="{8D370E06-5C55-8277-3BE3-0CA9B68ED638}"/>
          </ac:spMkLst>
        </pc:spChg>
        <pc:spChg chg="add del mod">
          <ac:chgData name="Nataliia Chornii (UA)" userId="4e4b8b3d-5f31-49bb-9f80-8a25c04abfff" providerId="ADAL" clId="{EE97D3FE-9ACA-4467-98E5-532EC45D9D1C}" dt="2024-03-01T08:54:16.284" v="6926" actId="6264"/>
          <ac:spMkLst>
            <pc:docMk/>
            <pc:sldMk cId="399328488" sldId="450"/>
            <ac:spMk id="20" creationId="{8E45C418-1040-BEF3-E4E6-509967401DCD}"/>
          </ac:spMkLst>
        </pc:spChg>
        <pc:spChg chg="add del mod">
          <ac:chgData name="Nataliia Chornii (UA)" userId="4e4b8b3d-5f31-49bb-9f80-8a25c04abfff" providerId="ADAL" clId="{EE97D3FE-9ACA-4467-98E5-532EC45D9D1C}" dt="2024-03-01T08:54:24.964" v="6928" actId="700"/>
          <ac:spMkLst>
            <pc:docMk/>
            <pc:sldMk cId="399328488" sldId="450"/>
            <ac:spMk id="22" creationId="{545CCB76-132B-211A-AB48-3C880D9ECBD6}"/>
          </ac:spMkLst>
        </pc:spChg>
        <pc:spChg chg="add del mod modVis">
          <ac:chgData name="Nataliia Chornii (UA)" userId="4e4b8b3d-5f31-49bb-9f80-8a25c04abfff" providerId="ADAL" clId="{EE97D3FE-9ACA-4467-98E5-532EC45D9D1C}" dt="2024-03-01T08:54:25.514" v="6952"/>
          <ac:spMkLst>
            <pc:docMk/>
            <pc:sldMk cId="399328488" sldId="450"/>
            <ac:spMk id="23" creationId="{5B0ACADC-66D7-5C4B-8E7D-13FD73767EC7}"/>
          </ac:spMkLst>
        </pc:spChg>
        <pc:spChg chg="add del mod ord">
          <ac:chgData name="Nataliia Chornii (UA)" userId="4e4b8b3d-5f31-49bb-9f80-8a25c04abfff" providerId="ADAL" clId="{EE97D3FE-9ACA-4467-98E5-532EC45D9D1C}" dt="2024-03-01T09:05:53.133" v="7727" actId="478"/>
          <ac:spMkLst>
            <pc:docMk/>
            <pc:sldMk cId="399328488" sldId="450"/>
            <ac:spMk id="24" creationId="{645603F9-C712-0174-E256-7157458858BF}"/>
          </ac:spMkLst>
        </pc:spChg>
        <pc:spChg chg="add del mod ord">
          <ac:chgData name="Nataliia Chornii (UA)" userId="4e4b8b3d-5f31-49bb-9f80-8a25c04abfff" providerId="ADAL" clId="{EE97D3FE-9ACA-4467-98E5-532EC45D9D1C}" dt="2024-03-01T09:05:53.133" v="7727" actId="478"/>
          <ac:spMkLst>
            <pc:docMk/>
            <pc:sldMk cId="399328488" sldId="450"/>
            <ac:spMk id="25" creationId="{7A914F7E-4878-0D10-CAC6-DD7E7B9B70C4}"/>
          </ac:spMkLst>
        </pc:spChg>
        <pc:spChg chg="add del mod">
          <ac:chgData name="Nataliia Chornii (UA)" userId="4e4b8b3d-5f31-49bb-9f80-8a25c04abfff" providerId="ADAL" clId="{EE97D3FE-9ACA-4467-98E5-532EC45D9D1C}" dt="2024-03-01T08:54:28.481" v="6956" actId="6264"/>
          <ac:spMkLst>
            <pc:docMk/>
            <pc:sldMk cId="399328488" sldId="450"/>
            <ac:spMk id="26" creationId="{8843BCC2-73C6-B259-ECDD-6B65994E557C}"/>
          </ac:spMkLst>
        </pc:spChg>
        <pc:spChg chg="add del mod">
          <ac:chgData name="Nataliia Chornii (UA)" userId="4e4b8b3d-5f31-49bb-9f80-8a25c04abfff" providerId="ADAL" clId="{EE97D3FE-9ACA-4467-98E5-532EC45D9D1C}" dt="2024-03-01T08:54:28.481" v="6956" actId="6264"/>
          <ac:spMkLst>
            <pc:docMk/>
            <pc:sldMk cId="399328488" sldId="450"/>
            <ac:spMk id="27" creationId="{D5D88B24-1988-BDA3-A505-89F18D6A881E}"/>
          </ac:spMkLst>
        </pc:spChg>
        <pc:spChg chg="add del mod">
          <ac:chgData name="Nataliia Chornii (UA)" userId="4e4b8b3d-5f31-49bb-9f80-8a25c04abfff" providerId="ADAL" clId="{EE97D3FE-9ACA-4467-98E5-532EC45D9D1C}" dt="2024-03-01T08:54:28.481" v="6956" actId="6264"/>
          <ac:spMkLst>
            <pc:docMk/>
            <pc:sldMk cId="399328488" sldId="450"/>
            <ac:spMk id="28" creationId="{12375810-6F0A-B564-D103-5ED68F19FEFA}"/>
          </ac:spMkLst>
        </pc:spChg>
        <pc:spChg chg="add del mod modVis">
          <ac:chgData name="Nataliia Chornii (UA)" userId="4e4b8b3d-5f31-49bb-9f80-8a25c04abfff" providerId="ADAL" clId="{EE97D3FE-9ACA-4467-98E5-532EC45D9D1C}" dt="2024-03-01T08:54:29.161" v="6980"/>
          <ac:spMkLst>
            <pc:docMk/>
            <pc:sldMk cId="399328488" sldId="450"/>
            <ac:spMk id="29" creationId="{DC4538CE-FAD1-38F9-DBBA-4CDF2B89878D}"/>
          </ac:spMkLst>
        </pc:spChg>
        <pc:spChg chg="add del mod ord">
          <ac:chgData name="Nataliia Chornii (UA)" userId="4e4b8b3d-5f31-49bb-9f80-8a25c04abfff" providerId="ADAL" clId="{EE97D3FE-9ACA-4467-98E5-532EC45D9D1C}" dt="2024-03-01T08:58:13.082" v="7487" actId="478"/>
          <ac:spMkLst>
            <pc:docMk/>
            <pc:sldMk cId="399328488" sldId="450"/>
            <ac:spMk id="30" creationId="{01F0CB71-7CC1-4CDA-D857-3F7F99DF6CFB}"/>
          </ac:spMkLst>
        </pc:spChg>
        <pc:spChg chg="add del mod">
          <ac:chgData name="Nataliia Chornii (UA)" userId="4e4b8b3d-5f31-49bb-9f80-8a25c04abfff" providerId="ADAL" clId="{EE97D3FE-9ACA-4467-98E5-532EC45D9D1C}" dt="2024-03-01T08:54:48.247" v="7006" actId="6264"/>
          <ac:spMkLst>
            <pc:docMk/>
            <pc:sldMk cId="399328488" sldId="450"/>
            <ac:spMk id="31" creationId="{AAE70EF8-55F2-DFEC-A8FC-5006D8505F45}"/>
          </ac:spMkLst>
        </pc:spChg>
        <pc:spChg chg="add del mod">
          <ac:chgData name="Nataliia Chornii (UA)" userId="4e4b8b3d-5f31-49bb-9f80-8a25c04abfff" providerId="ADAL" clId="{EE97D3FE-9ACA-4467-98E5-532EC45D9D1C}" dt="2024-03-01T08:54:48.247" v="7006" actId="6264"/>
          <ac:spMkLst>
            <pc:docMk/>
            <pc:sldMk cId="399328488" sldId="450"/>
            <ac:spMk id="32" creationId="{60C31AB8-824F-0A71-2015-42D053AB21A4}"/>
          </ac:spMkLst>
        </pc:spChg>
        <pc:spChg chg="add del mod modVis">
          <ac:chgData name="Nataliia Chornii (UA)" userId="4e4b8b3d-5f31-49bb-9f80-8a25c04abfff" providerId="ADAL" clId="{EE97D3FE-9ACA-4467-98E5-532EC45D9D1C}" dt="2024-03-01T08:54:48.791" v="7030"/>
          <ac:spMkLst>
            <pc:docMk/>
            <pc:sldMk cId="399328488" sldId="450"/>
            <ac:spMk id="33" creationId="{355D6FBA-1B90-1C15-16E9-7DFD5065C5BD}"/>
          </ac:spMkLst>
        </pc:spChg>
        <pc:spChg chg="add del mod">
          <ac:chgData name="Nataliia Chornii (UA)" userId="4e4b8b3d-5f31-49bb-9f80-8a25c04abfff" providerId="ADAL" clId="{EE97D3FE-9ACA-4467-98E5-532EC45D9D1C}" dt="2024-03-01T08:54:53.932" v="7034" actId="6264"/>
          <ac:spMkLst>
            <pc:docMk/>
            <pc:sldMk cId="399328488" sldId="450"/>
            <ac:spMk id="34" creationId="{C1036AFB-6A31-A302-F927-2FE88E877020}"/>
          </ac:spMkLst>
        </pc:spChg>
        <pc:spChg chg="add del mod">
          <ac:chgData name="Nataliia Chornii (UA)" userId="4e4b8b3d-5f31-49bb-9f80-8a25c04abfff" providerId="ADAL" clId="{EE97D3FE-9ACA-4467-98E5-532EC45D9D1C}" dt="2024-03-01T08:54:53.932" v="7034" actId="6264"/>
          <ac:spMkLst>
            <pc:docMk/>
            <pc:sldMk cId="399328488" sldId="450"/>
            <ac:spMk id="35" creationId="{2BD42DAD-6EA6-F9C7-D318-550DE388336B}"/>
          </ac:spMkLst>
        </pc:spChg>
        <pc:spChg chg="add del mod modVis">
          <ac:chgData name="Nataliia Chornii (UA)" userId="4e4b8b3d-5f31-49bb-9f80-8a25c04abfff" providerId="ADAL" clId="{EE97D3FE-9ACA-4467-98E5-532EC45D9D1C}" dt="2024-03-01T08:54:54.469" v="7058"/>
          <ac:spMkLst>
            <pc:docMk/>
            <pc:sldMk cId="399328488" sldId="450"/>
            <ac:spMk id="36" creationId="{4BDBDF1E-79DE-64BF-7246-D319D7F85214}"/>
          </ac:spMkLst>
        </pc:spChg>
        <pc:spChg chg="add del mod">
          <ac:chgData name="Nataliia Chornii (UA)" userId="4e4b8b3d-5f31-49bb-9f80-8a25c04abfff" providerId="ADAL" clId="{EE97D3FE-9ACA-4467-98E5-532EC45D9D1C}" dt="2024-03-01T08:58:05.904" v="7457" actId="6264"/>
          <ac:spMkLst>
            <pc:docMk/>
            <pc:sldMk cId="399328488" sldId="450"/>
            <ac:spMk id="37" creationId="{92FBA8FF-3D5B-B566-C7D0-A20EEB2E7186}"/>
          </ac:spMkLst>
        </pc:spChg>
        <pc:spChg chg="add del mod">
          <ac:chgData name="Nataliia Chornii (UA)" userId="4e4b8b3d-5f31-49bb-9f80-8a25c04abfff" providerId="ADAL" clId="{EE97D3FE-9ACA-4467-98E5-532EC45D9D1C}" dt="2024-03-01T08:58:05.904" v="7457" actId="6264"/>
          <ac:spMkLst>
            <pc:docMk/>
            <pc:sldMk cId="399328488" sldId="450"/>
            <ac:spMk id="38" creationId="{EBDD2D52-28DD-3FB0-564D-22A065CDC36F}"/>
          </ac:spMkLst>
        </pc:spChg>
        <pc:spChg chg="add del mod ord">
          <ac:chgData name="Nataliia Chornii (UA)" userId="4e4b8b3d-5f31-49bb-9f80-8a25c04abfff" providerId="ADAL" clId="{EE97D3FE-9ACA-4467-98E5-532EC45D9D1C}" dt="2024-03-01T08:58:14.089" v="7488" actId="6264"/>
          <ac:spMkLst>
            <pc:docMk/>
            <pc:sldMk cId="399328488" sldId="450"/>
            <ac:spMk id="39" creationId="{0CF4DCE7-22CC-17EE-D1E1-15F558C67BDA}"/>
          </ac:spMkLst>
        </pc:spChg>
        <pc:spChg chg="add del mod modVis">
          <ac:chgData name="Nataliia Chornii (UA)" userId="4e4b8b3d-5f31-49bb-9f80-8a25c04abfff" providerId="ADAL" clId="{EE97D3FE-9ACA-4467-98E5-532EC45D9D1C}" dt="2024-03-01T08:58:06.443" v="7481"/>
          <ac:spMkLst>
            <pc:docMk/>
            <pc:sldMk cId="399328488" sldId="450"/>
            <ac:spMk id="40" creationId="{1936A31E-A7A6-1231-298D-00A343A2D6AC}"/>
          </ac:spMkLst>
        </pc:spChg>
        <pc:spChg chg="add del mod">
          <ac:chgData name="Nataliia Chornii (UA)" userId="4e4b8b3d-5f31-49bb-9f80-8a25c04abfff" providerId="ADAL" clId="{EE97D3FE-9ACA-4467-98E5-532EC45D9D1C}" dt="2024-03-01T08:58:14.089" v="7488" actId="6264"/>
          <ac:spMkLst>
            <pc:docMk/>
            <pc:sldMk cId="399328488" sldId="450"/>
            <ac:spMk id="41" creationId="{4D8DA02C-43E7-BA3A-8B8F-8C882EBFC60F}"/>
          </ac:spMkLst>
        </pc:spChg>
        <pc:spChg chg="add del mod">
          <ac:chgData name="Nataliia Chornii (UA)" userId="4e4b8b3d-5f31-49bb-9f80-8a25c04abfff" providerId="ADAL" clId="{EE97D3FE-9ACA-4467-98E5-532EC45D9D1C}" dt="2024-03-01T08:58:14.089" v="7488" actId="6264"/>
          <ac:spMkLst>
            <pc:docMk/>
            <pc:sldMk cId="399328488" sldId="450"/>
            <ac:spMk id="42" creationId="{19832979-F5E3-264C-3552-43F1741C50E8}"/>
          </ac:spMkLst>
        </pc:spChg>
        <pc:spChg chg="add mod ord">
          <ac:chgData name="Nataliia Chornii (UA)" userId="4e4b8b3d-5f31-49bb-9f80-8a25c04abfff" providerId="ADAL" clId="{EE97D3FE-9ACA-4467-98E5-532EC45D9D1C}" dt="2024-03-01T13:01:14.260" v="12354"/>
          <ac:spMkLst>
            <pc:docMk/>
            <pc:sldMk cId="399328488" sldId="450"/>
            <ac:spMk id="43" creationId="{E8E63795-2ECA-7132-F643-55B4A59C7A85}"/>
          </ac:spMkLst>
        </pc:spChg>
        <pc:spChg chg="add del mod modVis">
          <ac:chgData name="Nataliia Chornii (UA)" userId="4e4b8b3d-5f31-49bb-9f80-8a25c04abfff" providerId="ADAL" clId="{EE97D3FE-9ACA-4467-98E5-532EC45D9D1C}" dt="2024-03-01T08:58:14.624" v="7512"/>
          <ac:spMkLst>
            <pc:docMk/>
            <pc:sldMk cId="399328488" sldId="450"/>
            <ac:spMk id="44" creationId="{EE998702-9702-2F06-C203-DD6E976D791A}"/>
          </ac:spMkLst>
        </pc:spChg>
        <pc:spChg chg="add del mod">
          <ac:chgData name="Nataliia Chornii (UA)" userId="4e4b8b3d-5f31-49bb-9f80-8a25c04abfff" providerId="ADAL" clId="{EE97D3FE-9ACA-4467-98E5-532EC45D9D1C}" dt="2024-03-01T08:58:16.913" v="7516" actId="6264"/>
          <ac:spMkLst>
            <pc:docMk/>
            <pc:sldMk cId="399328488" sldId="450"/>
            <ac:spMk id="45" creationId="{3F02BD4C-A648-A3A7-B6CB-4C1D209B01EF}"/>
          </ac:spMkLst>
        </pc:spChg>
        <pc:spChg chg="add del mod">
          <ac:chgData name="Nataliia Chornii (UA)" userId="4e4b8b3d-5f31-49bb-9f80-8a25c04abfff" providerId="ADAL" clId="{EE97D3FE-9ACA-4467-98E5-532EC45D9D1C}" dt="2024-03-01T08:58:16.913" v="7516" actId="6264"/>
          <ac:spMkLst>
            <pc:docMk/>
            <pc:sldMk cId="399328488" sldId="450"/>
            <ac:spMk id="46" creationId="{B970A80A-C712-A9BF-EF05-0DB51239F449}"/>
          </ac:spMkLst>
        </pc:spChg>
        <pc:spChg chg="add del mod">
          <ac:chgData name="Nataliia Chornii (UA)" userId="4e4b8b3d-5f31-49bb-9f80-8a25c04abfff" providerId="ADAL" clId="{EE97D3FE-9ACA-4467-98E5-532EC45D9D1C}" dt="2024-03-01T08:58:16.913" v="7516" actId="6264"/>
          <ac:spMkLst>
            <pc:docMk/>
            <pc:sldMk cId="399328488" sldId="450"/>
            <ac:spMk id="47" creationId="{19371F69-4772-4C34-C37C-7B0BCCE63762}"/>
          </ac:spMkLst>
        </pc:spChg>
        <pc:spChg chg="add del mod modVis">
          <ac:chgData name="Nataliia Chornii (UA)" userId="4e4b8b3d-5f31-49bb-9f80-8a25c04abfff" providerId="ADAL" clId="{EE97D3FE-9ACA-4467-98E5-532EC45D9D1C}" dt="2024-03-01T08:58:17.478" v="7540"/>
          <ac:spMkLst>
            <pc:docMk/>
            <pc:sldMk cId="399328488" sldId="450"/>
            <ac:spMk id="48" creationId="{964D3633-F24D-CC09-9EE2-56722777A166}"/>
          </ac:spMkLst>
        </pc:spChg>
        <pc:spChg chg="add del mod">
          <ac:chgData name="Nataliia Chornii (UA)" userId="4e4b8b3d-5f31-49bb-9f80-8a25c04abfff" providerId="ADAL" clId="{EE97D3FE-9ACA-4467-98E5-532EC45D9D1C}" dt="2024-03-01T09:11:31.697" v="8000" actId="478"/>
          <ac:spMkLst>
            <pc:docMk/>
            <pc:sldMk cId="399328488" sldId="450"/>
            <ac:spMk id="49" creationId="{BEE9056F-2D7B-CA56-9E85-366DA86AC1B8}"/>
          </ac:spMkLst>
        </pc:spChg>
        <pc:spChg chg="add del mod">
          <ac:chgData name="Nataliia Chornii (UA)" userId="4e4b8b3d-5f31-49bb-9f80-8a25c04abfff" providerId="ADAL" clId="{EE97D3FE-9ACA-4467-98E5-532EC45D9D1C}" dt="2024-03-01T09:11:31.697" v="8000" actId="478"/>
          <ac:spMkLst>
            <pc:docMk/>
            <pc:sldMk cId="399328488" sldId="450"/>
            <ac:spMk id="50" creationId="{B161390D-D094-046C-0DEB-6F587C609875}"/>
          </ac:spMkLst>
        </pc:spChg>
        <pc:spChg chg="mod">
          <ac:chgData name="Nataliia Chornii (UA)" userId="4e4b8b3d-5f31-49bb-9f80-8a25c04abfff" providerId="ADAL" clId="{EE97D3FE-9ACA-4467-98E5-532EC45D9D1C}" dt="2024-03-01T09:05:53.480" v="7728"/>
          <ac:spMkLst>
            <pc:docMk/>
            <pc:sldMk cId="399328488" sldId="450"/>
            <ac:spMk id="52" creationId="{F2DF526E-BB66-790B-368B-29FCDC5C87AD}"/>
          </ac:spMkLst>
        </pc:spChg>
        <pc:spChg chg="mod">
          <ac:chgData name="Nataliia Chornii (UA)" userId="4e4b8b3d-5f31-49bb-9f80-8a25c04abfff" providerId="ADAL" clId="{EE97D3FE-9ACA-4467-98E5-532EC45D9D1C}" dt="2024-03-01T09:05:53.480" v="7728"/>
          <ac:spMkLst>
            <pc:docMk/>
            <pc:sldMk cId="399328488" sldId="450"/>
            <ac:spMk id="53" creationId="{C0E38A0C-F0E6-5B59-FB9C-0F007AA642BD}"/>
          </ac:spMkLst>
        </pc:spChg>
        <pc:spChg chg="mod">
          <ac:chgData name="Nataliia Chornii (UA)" userId="4e4b8b3d-5f31-49bb-9f80-8a25c04abfff" providerId="ADAL" clId="{EE97D3FE-9ACA-4467-98E5-532EC45D9D1C}" dt="2024-03-01T09:05:53.480" v="7728"/>
          <ac:spMkLst>
            <pc:docMk/>
            <pc:sldMk cId="399328488" sldId="450"/>
            <ac:spMk id="54" creationId="{AA635C4B-E423-67A1-6394-B53B74D29484}"/>
          </ac:spMkLst>
        </pc:spChg>
        <pc:spChg chg="mod">
          <ac:chgData name="Nataliia Chornii (UA)" userId="4e4b8b3d-5f31-49bb-9f80-8a25c04abfff" providerId="ADAL" clId="{EE97D3FE-9ACA-4467-98E5-532EC45D9D1C}" dt="2024-03-01T09:05:53.480" v="7728"/>
          <ac:spMkLst>
            <pc:docMk/>
            <pc:sldMk cId="399328488" sldId="450"/>
            <ac:spMk id="56" creationId="{ECC0DBC0-2C9E-C866-83FE-FED1275ED347}"/>
          </ac:spMkLst>
        </pc:spChg>
        <pc:spChg chg="mod">
          <ac:chgData name="Nataliia Chornii (UA)" userId="4e4b8b3d-5f31-49bb-9f80-8a25c04abfff" providerId="ADAL" clId="{EE97D3FE-9ACA-4467-98E5-532EC45D9D1C}" dt="2024-03-01T09:05:53.480" v="7728"/>
          <ac:spMkLst>
            <pc:docMk/>
            <pc:sldMk cId="399328488" sldId="450"/>
            <ac:spMk id="57" creationId="{F9CE2D31-62DB-A5BE-B7D8-ADB084E11B70}"/>
          </ac:spMkLst>
        </pc:spChg>
        <pc:spChg chg="mod">
          <ac:chgData name="Nataliia Chornii (UA)" userId="4e4b8b3d-5f31-49bb-9f80-8a25c04abfff" providerId="ADAL" clId="{EE97D3FE-9ACA-4467-98E5-532EC45D9D1C}" dt="2024-03-01T09:05:53.480" v="7728"/>
          <ac:spMkLst>
            <pc:docMk/>
            <pc:sldMk cId="399328488" sldId="450"/>
            <ac:spMk id="58" creationId="{0AF0B80A-E998-5DEC-A3E8-C5971E52E443}"/>
          </ac:spMkLst>
        </pc:spChg>
        <pc:spChg chg="add del mod">
          <ac:chgData name="Nataliia Chornii (UA)" userId="4e4b8b3d-5f31-49bb-9f80-8a25c04abfff" providerId="ADAL" clId="{EE97D3FE-9ACA-4467-98E5-532EC45D9D1C}" dt="2024-03-01T09:05:55.358" v="7729" actId="478"/>
          <ac:spMkLst>
            <pc:docMk/>
            <pc:sldMk cId="399328488" sldId="450"/>
            <ac:spMk id="59" creationId="{DEFA6305-7298-701E-064D-DD62E2486D84}"/>
          </ac:spMkLst>
        </pc:spChg>
        <pc:spChg chg="add del mod">
          <ac:chgData name="Nataliia Chornii (UA)" userId="4e4b8b3d-5f31-49bb-9f80-8a25c04abfff" providerId="ADAL" clId="{EE97D3FE-9ACA-4467-98E5-532EC45D9D1C}" dt="2024-03-01T09:07:24.482" v="7889" actId="6264"/>
          <ac:spMkLst>
            <pc:docMk/>
            <pc:sldMk cId="399328488" sldId="450"/>
            <ac:spMk id="60" creationId="{3D69295F-67C8-CE1C-ABF0-942725368162}"/>
          </ac:spMkLst>
        </pc:spChg>
        <pc:spChg chg="add del mod">
          <ac:chgData name="Nataliia Chornii (UA)" userId="4e4b8b3d-5f31-49bb-9f80-8a25c04abfff" providerId="ADAL" clId="{EE97D3FE-9ACA-4467-98E5-532EC45D9D1C}" dt="2024-03-01T09:07:24.482" v="7889" actId="6264"/>
          <ac:spMkLst>
            <pc:docMk/>
            <pc:sldMk cId="399328488" sldId="450"/>
            <ac:spMk id="61" creationId="{986C78F5-17B1-A34E-CE43-995C6361CD7F}"/>
          </ac:spMkLst>
        </pc:spChg>
        <pc:spChg chg="add del mod">
          <ac:chgData name="Nataliia Chornii (UA)" userId="4e4b8b3d-5f31-49bb-9f80-8a25c04abfff" providerId="ADAL" clId="{EE97D3FE-9ACA-4467-98E5-532EC45D9D1C}" dt="2024-03-01T09:07:24.482" v="7889" actId="6264"/>
          <ac:spMkLst>
            <pc:docMk/>
            <pc:sldMk cId="399328488" sldId="450"/>
            <ac:spMk id="62" creationId="{A028C8D5-12FF-3012-F000-BE4C95273744}"/>
          </ac:spMkLst>
        </pc:spChg>
        <pc:spChg chg="add del mod modVis">
          <ac:chgData name="Nataliia Chornii (UA)" userId="4e4b8b3d-5f31-49bb-9f80-8a25c04abfff" providerId="ADAL" clId="{EE97D3FE-9ACA-4467-98E5-532EC45D9D1C}" dt="2024-03-01T09:07:25.048" v="7913"/>
          <ac:spMkLst>
            <pc:docMk/>
            <pc:sldMk cId="399328488" sldId="450"/>
            <ac:spMk id="63" creationId="{F354D5A1-672C-3E75-1142-7AF87E38A33F}"/>
          </ac:spMkLst>
        </pc:spChg>
        <pc:spChg chg="add mod ord">
          <ac:chgData name="Nataliia Chornii (UA)" userId="4e4b8b3d-5f31-49bb-9f80-8a25c04abfff" providerId="ADAL" clId="{EE97D3FE-9ACA-4467-98E5-532EC45D9D1C}" dt="2024-03-01T13:01:14.260" v="12356"/>
          <ac:spMkLst>
            <pc:docMk/>
            <pc:sldMk cId="399328488" sldId="450"/>
            <ac:spMk id="64" creationId="{F5198B29-4548-5C2A-0DEF-90C53FD5EF11}"/>
          </ac:spMkLst>
        </pc:spChg>
        <pc:spChg chg="add mod ord">
          <ac:chgData name="Nataliia Chornii (UA)" userId="4e4b8b3d-5f31-49bb-9f80-8a25c04abfff" providerId="ADAL" clId="{EE97D3FE-9ACA-4467-98E5-532EC45D9D1C}" dt="2024-03-04T09:58:22.337" v="20141" actId="12789"/>
          <ac:spMkLst>
            <pc:docMk/>
            <pc:sldMk cId="399328488" sldId="450"/>
            <ac:spMk id="65" creationId="{7F6756C5-2CE3-DBCB-913A-8EAD5564B5E9}"/>
          </ac:spMkLst>
        </pc:spChg>
        <pc:spChg chg="add mod ord">
          <ac:chgData name="Nataliia Chornii (UA)" userId="4e4b8b3d-5f31-49bb-9f80-8a25c04abfff" providerId="ADAL" clId="{EE97D3FE-9ACA-4467-98E5-532EC45D9D1C}" dt="2024-03-04T09:58:28.802" v="20143" actId="12788"/>
          <ac:spMkLst>
            <pc:docMk/>
            <pc:sldMk cId="399328488" sldId="450"/>
            <ac:spMk id="66" creationId="{71E65A8B-1A0E-7189-CB1E-7B85B0FCDF92}"/>
          </ac:spMkLst>
        </pc:spChg>
        <pc:spChg chg="add mod ord">
          <ac:chgData name="Nataliia Chornii (UA)" userId="4e4b8b3d-5f31-49bb-9f80-8a25c04abfff" providerId="ADAL" clId="{EE97D3FE-9ACA-4467-98E5-532EC45D9D1C}" dt="2024-03-01T13:01:14.276" v="12362"/>
          <ac:spMkLst>
            <pc:docMk/>
            <pc:sldMk cId="399328488" sldId="450"/>
            <ac:spMk id="67" creationId="{C7BD28FD-69AC-2308-FAFB-928853CF7082}"/>
          </ac:spMkLst>
        </pc:spChg>
        <pc:spChg chg="add mod ord">
          <ac:chgData name="Nataliia Chornii (UA)" userId="4e4b8b3d-5f31-49bb-9f80-8a25c04abfff" providerId="ADAL" clId="{EE97D3FE-9ACA-4467-98E5-532EC45D9D1C}" dt="2024-03-04T09:58:25.537" v="20142" actId="12788"/>
          <ac:spMkLst>
            <pc:docMk/>
            <pc:sldMk cId="399328488" sldId="450"/>
            <ac:spMk id="68" creationId="{F3C0F73D-96F5-2632-9996-CB5D4313F69F}"/>
          </ac:spMkLst>
        </pc:spChg>
        <pc:spChg chg="mod">
          <ac:chgData name="Nataliia Chornii (UA)" userId="4e4b8b3d-5f31-49bb-9f80-8a25c04abfff" providerId="ADAL" clId="{EE97D3FE-9ACA-4467-98E5-532EC45D9D1C}" dt="2024-03-01T09:11:32.027" v="8001"/>
          <ac:spMkLst>
            <pc:docMk/>
            <pc:sldMk cId="399328488" sldId="450"/>
            <ac:spMk id="70" creationId="{F5955A8F-5764-221D-4746-8286D1ED814F}"/>
          </ac:spMkLst>
        </pc:spChg>
        <pc:spChg chg="mod">
          <ac:chgData name="Nataliia Chornii (UA)" userId="4e4b8b3d-5f31-49bb-9f80-8a25c04abfff" providerId="ADAL" clId="{EE97D3FE-9ACA-4467-98E5-532EC45D9D1C}" dt="2024-03-01T09:11:32.027" v="8001"/>
          <ac:spMkLst>
            <pc:docMk/>
            <pc:sldMk cId="399328488" sldId="450"/>
            <ac:spMk id="71" creationId="{89B91E98-FEBB-72AD-374C-0CAE052B6574}"/>
          </ac:spMkLst>
        </pc:spChg>
        <pc:spChg chg="mod">
          <ac:chgData name="Nataliia Chornii (UA)" userId="4e4b8b3d-5f31-49bb-9f80-8a25c04abfff" providerId="ADAL" clId="{EE97D3FE-9ACA-4467-98E5-532EC45D9D1C}" dt="2024-03-01T09:11:32.027" v="8001"/>
          <ac:spMkLst>
            <pc:docMk/>
            <pc:sldMk cId="399328488" sldId="450"/>
            <ac:spMk id="73" creationId="{7B6212B5-AEF3-09C7-BF95-F185ECA402E0}"/>
          </ac:spMkLst>
        </pc:spChg>
        <pc:spChg chg="mod">
          <ac:chgData name="Nataliia Chornii (UA)" userId="4e4b8b3d-5f31-49bb-9f80-8a25c04abfff" providerId="ADAL" clId="{EE97D3FE-9ACA-4467-98E5-532EC45D9D1C}" dt="2024-03-01T09:11:32.027" v="8001"/>
          <ac:spMkLst>
            <pc:docMk/>
            <pc:sldMk cId="399328488" sldId="450"/>
            <ac:spMk id="74" creationId="{0B2A879E-1978-42B5-0487-C00DB0806B7F}"/>
          </ac:spMkLst>
        </pc:spChg>
        <pc:spChg chg="mod">
          <ac:chgData name="Nataliia Chornii (UA)" userId="4e4b8b3d-5f31-49bb-9f80-8a25c04abfff" providerId="ADAL" clId="{EE97D3FE-9ACA-4467-98E5-532EC45D9D1C}" dt="2024-03-01T09:11:32.027" v="8001"/>
          <ac:spMkLst>
            <pc:docMk/>
            <pc:sldMk cId="399328488" sldId="450"/>
            <ac:spMk id="75" creationId="{99BB8356-A0C8-58E3-691C-EFB85DCB4F5C}"/>
          </ac:spMkLst>
        </pc:spChg>
        <pc:spChg chg="mod">
          <ac:chgData name="Nataliia Chornii (UA)" userId="4e4b8b3d-5f31-49bb-9f80-8a25c04abfff" providerId="ADAL" clId="{EE97D3FE-9ACA-4467-98E5-532EC45D9D1C}" dt="2024-03-01T09:11:32.027" v="8001"/>
          <ac:spMkLst>
            <pc:docMk/>
            <pc:sldMk cId="399328488" sldId="450"/>
            <ac:spMk id="76" creationId="{54E37425-B29E-D086-F8C5-72CECA15201B}"/>
          </ac:spMkLst>
        </pc:spChg>
        <pc:spChg chg="mod">
          <ac:chgData name="Nataliia Chornii (UA)" userId="4e4b8b3d-5f31-49bb-9f80-8a25c04abfff" providerId="ADAL" clId="{EE97D3FE-9ACA-4467-98E5-532EC45D9D1C}" dt="2024-03-01T09:11:32.027" v="8001"/>
          <ac:spMkLst>
            <pc:docMk/>
            <pc:sldMk cId="399328488" sldId="450"/>
            <ac:spMk id="77" creationId="{C04E4FD5-21F3-B258-F123-DBF326A6E4A3}"/>
          </ac:spMkLst>
        </pc:spChg>
        <pc:spChg chg="mod">
          <ac:chgData name="Nataliia Chornii (UA)" userId="4e4b8b3d-5f31-49bb-9f80-8a25c04abfff" providerId="ADAL" clId="{EE97D3FE-9ACA-4467-98E5-532EC45D9D1C}" dt="2024-03-01T09:11:32.027" v="8001"/>
          <ac:spMkLst>
            <pc:docMk/>
            <pc:sldMk cId="399328488" sldId="450"/>
            <ac:spMk id="78" creationId="{C38BDBA8-C60E-3B32-804B-9C21599C1EB3}"/>
          </ac:spMkLst>
        </pc:spChg>
        <pc:spChg chg="mod">
          <ac:chgData name="Nataliia Chornii (UA)" userId="4e4b8b3d-5f31-49bb-9f80-8a25c04abfff" providerId="ADAL" clId="{EE97D3FE-9ACA-4467-98E5-532EC45D9D1C}" dt="2024-03-01T09:11:32.027" v="8001"/>
          <ac:spMkLst>
            <pc:docMk/>
            <pc:sldMk cId="399328488" sldId="450"/>
            <ac:spMk id="79" creationId="{B8D8F72C-74AE-8317-14F4-B64632432806}"/>
          </ac:spMkLst>
        </pc:spChg>
        <pc:spChg chg="mod">
          <ac:chgData name="Nataliia Chornii (UA)" userId="4e4b8b3d-5f31-49bb-9f80-8a25c04abfff" providerId="ADAL" clId="{EE97D3FE-9ACA-4467-98E5-532EC45D9D1C}" dt="2024-03-01T09:11:32.027" v="8001"/>
          <ac:spMkLst>
            <pc:docMk/>
            <pc:sldMk cId="399328488" sldId="450"/>
            <ac:spMk id="80" creationId="{E4966998-2A81-4222-FAB6-08407DCDE413}"/>
          </ac:spMkLst>
        </pc:spChg>
        <pc:spChg chg="mod">
          <ac:chgData name="Nataliia Chornii (UA)" userId="4e4b8b3d-5f31-49bb-9f80-8a25c04abfff" providerId="ADAL" clId="{EE97D3FE-9ACA-4467-98E5-532EC45D9D1C}" dt="2024-03-01T09:11:32.027" v="8001"/>
          <ac:spMkLst>
            <pc:docMk/>
            <pc:sldMk cId="399328488" sldId="450"/>
            <ac:spMk id="81" creationId="{C27D324E-78CF-5109-A4A8-3FB8E8A86526}"/>
          </ac:spMkLst>
        </pc:spChg>
        <pc:spChg chg="mod">
          <ac:chgData name="Nataliia Chornii (UA)" userId="4e4b8b3d-5f31-49bb-9f80-8a25c04abfff" providerId="ADAL" clId="{EE97D3FE-9ACA-4467-98E5-532EC45D9D1C}" dt="2024-03-01T09:11:32.027" v="8001"/>
          <ac:spMkLst>
            <pc:docMk/>
            <pc:sldMk cId="399328488" sldId="450"/>
            <ac:spMk id="82" creationId="{1FA250DF-AA7A-C867-726E-0599271CD262}"/>
          </ac:spMkLst>
        </pc:spChg>
        <pc:spChg chg="mod">
          <ac:chgData name="Nataliia Chornii (UA)" userId="4e4b8b3d-5f31-49bb-9f80-8a25c04abfff" providerId="ADAL" clId="{EE97D3FE-9ACA-4467-98E5-532EC45D9D1C}" dt="2024-03-01T09:11:32.027" v="8001"/>
          <ac:spMkLst>
            <pc:docMk/>
            <pc:sldMk cId="399328488" sldId="450"/>
            <ac:spMk id="83" creationId="{7EAE60EC-5F19-C235-B8C9-161E7B875E14}"/>
          </ac:spMkLst>
        </pc:spChg>
        <pc:spChg chg="mod">
          <ac:chgData name="Nataliia Chornii (UA)" userId="4e4b8b3d-5f31-49bb-9f80-8a25c04abfff" providerId="ADAL" clId="{EE97D3FE-9ACA-4467-98E5-532EC45D9D1C}" dt="2024-03-01T09:11:32.027" v="8001"/>
          <ac:spMkLst>
            <pc:docMk/>
            <pc:sldMk cId="399328488" sldId="450"/>
            <ac:spMk id="84" creationId="{0DE1B29D-4A8B-427A-55FD-CBD5DE51C8B7}"/>
          </ac:spMkLst>
        </pc:spChg>
        <pc:spChg chg="mod">
          <ac:chgData name="Nataliia Chornii (UA)" userId="4e4b8b3d-5f31-49bb-9f80-8a25c04abfff" providerId="ADAL" clId="{EE97D3FE-9ACA-4467-98E5-532EC45D9D1C}" dt="2024-03-01T09:11:32.027" v="8001"/>
          <ac:spMkLst>
            <pc:docMk/>
            <pc:sldMk cId="399328488" sldId="450"/>
            <ac:spMk id="85" creationId="{CC31E929-99A2-84E9-A833-965C75326A58}"/>
          </ac:spMkLst>
        </pc:spChg>
        <pc:spChg chg="mod">
          <ac:chgData name="Nataliia Chornii (UA)" userId="4e4b8b3d-5f31-49bb-9f80-8a25c04abfff" providerId="ADAL" clId="{EE97D3FE-9ACA-4467-98E5-532EC45D9D1C}" dt="2024-03-01T09:11:32.027" v="8001"/>
          <ac:spMkLst>
            <pc:docMk/>
            <pc:sldMk cId="399328488" sldId="450"/>
            <ac:spMk id="86" creationId="{15545845-7745-1ECB-BF84-9C7592183F7A}"/>
          </ac:spMkLst>
        </pc:spChg>
        <pc:spChg chg="mod">
          <ac:chgData name="Nataliia Chornii (UA)" userId="4e4b8b3d-5f31-49bb-9f80-8a25c04abfff" providerId="ADAL" clId="{EE97D3FE-9ACA-4467-98E5-532EC45D9D1C}" dt="2024-03-01T09:11:32.027" v="8001"/>
          <ac:spMkLst>
            <pc:docMk/>
            <pc:sldMk cId="399328488" sldId="450"/>
            <ac:spMk id="87" creationId="{FDFD5712-4ACE-BB16-5B8D-25F96EC1BC2B}"/>
          </ac:spMkLst>
        </pc:spChg>
        <pc:spChg chg="mod">
          <ac:chgData name="Nataliia Chornii (UA)" userId="4e4b8b3d-5f31-49bb-9f80-8a25c04abfff" providerId="ADAL" clId="{EE97D3FE-9ACA-4467-98E5-532EC45D9D1C}" dt="2024-03-01T09:11:32.027" v="8001"/>
          <ac:spMkLst>
            <pc:docMk/>
            <pc:sldMk cId="399328488" sldId="450"/>
            <ac:spMk id="88" creationId="{DD248765-9838-3FD8-E6D3-1C7FFEEF9D7D}"/>
          </ac:spMkLst>
        </pc:spChg>
        <pc:spChg chg="add mod ord">
          <ac:chgData name="Nataliia Chornii (UA)" userId="4e4b8b3d-5f31-49bb-9f80-8a25c04abfff" providerId="ADAL" clId="{EE97D3FE-9ACA-4467-98E5-532EC45D9D1C}" dt="2024-03-01T13:01:14.276" v="12370"/>
          <ac:spMkLst>
            <pc:docMk/>
            <pc:sldMk cId="399328488" sldId="450"/>
            <ac:spMk id="89" creationId="{B8B03AD2-01F2-EE79-5FD2-B6C5C3225B69}"/>
          </ac:spMkLst>
        </pc:spChg>
        <pc:spChg chg="add del mod">
          <ac:chgData name="Nataliia Chornii (UA)" userId="4e4b8b3d-5f31-49bb-9f80-8a25c04abfff" providerId="ADAL" clId="{EE97D3FE-9ACA-4467-98E5-532EC45D9D1C}" dt="2024-03-01T09:11:34.659" v="8002" actId="478"/>
          <ac:spMkLst>
            <pc:docMk/>
            <pc:sldMk cId="399328488" sldId="450"/>
            <ac:spMk id="90" creationId="{7DB8A639-5FD7-D1CF-A840-B10B45CCB27F}"/>
          </ac:spMkLst>
        </pc:spChg>
        <pc:spChg chg="add mod ord">
          <ac:chgData name="Nataliia Chornii (UA)" userId="4e4b8b3d-5f31-49bb-9f80-8a25c04abfff" providerId="ADAL" clId="{EE97D3FE-9ACA-4467-98E5-532EC45D9D1C}" dt="2024-03-01T13:01:16.944" v="12376" actId="12789"/>
          <ac:spMkLst>
            <pc:docMk/>
            <pc:sldMk cId="399328488" sldId="450"/>
            <ac:spMk id="92" creationId="{9A291FD0-DB23-DD5D-0DB3-0069513F81E0}"/>
          </ac:spMkLst>
        </pc:spChg>
        <pc:spChg chg="add mod">
          <ac:chgData name="Nataliia Chornii (UA)" userId="4e4b8b3d-5f31-49bb-9f80-8a25c04abfff" providerId="ADAL" clId="{EE97D3FE-9ACA-4467-98E5-532EC45D9D1C}" dt="2024-03-01T13:01:29.107" v="12380" actId="20577"/>
          <ac:spMkLst>
            <pc:docMk/>
            <pc:sldMk cId="399328488" sldId="450"/>
            <ac:spMk id="93" creationId="{5D366C9B-225E-CEA0-72EB-D85F0DA52B9E}"/>
          </ac:spMkLst>
        </pc:spChg>
        <pc:spChg chg="add mod">
          <ac:chgData name="Nataliia Chornii (UA)" userId="4e4b8b3d-5f31-49bb-9f80-8a25c04abfff" providerId="ADAL" clId="{EE97D3FE-9ACA-4467-98E5-532EC45D9D1C}" dt="2024-03-01T13:01:27.973" v="12379" actId="20577"/>
          <ac:spMkLst>
            <pc:docMk/>
            <pc:sldMk cId="399328488" sldId="450"/>
            <ac:spMk id="94" creationId="{ECEF0416-3FCC-3A4B-65C3-F9459EDEFA45}"/>
          </ac:spMkLst>
        </pc:spChg>
        <pc:grpChg chg="add del mod">
          <ac:chgData name="Nataliia Chornii (UA)" userId="4e4b8b3d-5f31-49bb-9f80-8a25c04abfff" providerId="ADAL" clId="{EE97D3FE-9ACA-4467-98E5-532EC45D9D1C}" dt="2024-03-11T14:19:13.108" v="23922" actId="165"/>
          <ac:grpSpMkLst>
            <pc:docMk/>
            <pc:sldMk cId="399328488" sldId="450"/>
            <ac:grpSpMk id="11" creationId="{D86B8A06-87BC-F26E-71D3-D99A2FFB9805}"/>
          </ac:grpSpMkLst>
        </pc:grpChg>
        <pc:grpChg chg="add mod">
          <ac:chgData name="Nataliia Chornii (UA)" userId="4e4b8b3d-5f31-49bb-9f80-8a25c04abfff" providerId="ADAL" clId="{EE97D3FE-9ACA-4467-98E5-532EC45D9D1C}" dt="2024-03-11T14:19:30.931" v="23933" actId="164"/>
          <ac:grpSpMkLst>
            <pc:docMk/>
            <pc:sldMk cId="399328488" sldId="450"/>
            <ac:grpSpMk id="18" creationId="{9B759D3A-70EC-3263-D767-3E553E4C2434}"/>
          </ac:grpSpMkLst>
        </pc:grpChg>
        <pc:grpChg chg="add del mod">
          <ac:chgData name="Nataliia Chornii (UA)" userId="4e4b8b3d-5f31-49bb-9f80-8a25c04abfff" providerId="ADAL" clId="{EE97D3FE-9ACA-4467-98E5-532EC45D9D1C}" dt="2024-03-01T09:11:31.697" v="8000" actId="478"/>
          <ac:grpSpMkLst>
            <pc:docMk/>
            <pc:sldMk cId="399328488" sldId="450"/>
            <ac:grpSpMk id="51" creationId="{FC22122D-27C6-3FBD-CF59-BD4E9FE6738A}"/>
          </ac:grpSpMkLst>
        </pc:grpChg>
        <pc:grpChg chg="add del mod">
          <ac:chgData name="Nataliia Chornii (UA)" userId="4e4b8b3d-5f31-49bb-9f80-8a25c04abfff" providerId="ADAL" clId="{EE97D3FE-9ACA-4467-98E5-532EC45D9D1C}" dt="2024-03-01T09:11:31.697" v="8000" actId="478"/>
          <ac:grpSpMkLst>
            <pc:docMk/>
            <pc:sldMk cId="399328488" sldId="450"/>
            <ac:grpSpMk id="55" creationId="{3C3F3BCB-6A6A-00D5-A876-EA3ACFD9C8DD}"/>
          </ac:grpSpMkLst>
        </pc:grpChg>
        <pc:grpChg chg="add mod ord">
          <ac:chgData name="Nataliia Chornii (UA)" userId="4e4b8b3d-5f31-49bb-9f80-8a25c04abfff" providerId="ADAL" clId="{EE97D3FE-9ACA-4467-98E5-532EC45D9D1C}" dt="2024-03-04T09:58:25.537" v="20142" actId="12788"/>
          <ac:grpSpMkLst>
            <pc:docMk/>
            <pc:sldMk cId="399328488" sldId="450"/>
            <ac:grpSpMk id="69" creationId="{3E85C73C-761E-2FBC-4444-75116D559392}"/>
          </ac:grpSpMkLst>
        </pc:grpChg>
        <pc:grpChg chg="add mod ord">
          <ac:chgData name="Nataliia Chornii (UA)" userId="4e4b8b3d-5f31-49bb-9f80-8a25c04abfff" providerId="ADAL" clId="{EE97D3FE-9ACA-4467-98E5-532EC45D9D1C}" dt="2024-03-04T09:58:28.802" v="20143" actId="12788"/>
          <ac:grpSpMkLst>
            <pc:docMk/>
            <pc:sldMk cId="399328488" sldId="450"/>
            <ac:grpSpMk id="72" creationId="{8FEA0D19-AAD4-085C-E5AD-B7997ACDC4C3}"/>
          </ac:grpSpMkLst>
        </pc:grpChg>
        <pc:graphicFrameChg chg="add mod ord modVis replST">
          <ac:chgData name="Nataliia Chornii (UA)" userId="4e4b8b3d-5f31-49bb-9f80-8a25c04abfff" providerId="ADAL" clId="{EE97D3FE-9ACA-4467-98E5-532EC45D9D1C}" dt="2024-03-11T14:04:06.328" v="23355"/>
          <ac:graphicFrameMkLst>
            <pc:docMk/>
            <pc:sldMk cId="399328488" sldId="450"/>
            <ac:graphicFrameMk id="9" creationId="{BA03CC50-9C61-256C-1A44-DC0EDAE80704}"/>
          </ac:graphicFrameMkLst>
        </pc:graphicFrameChg>
        <pc:picChg chg="add mod ord">
          <ac:chgData name="Nataliia Chornii (UA)" userId="4e4b8b3d-5f31-49bb-9f80-8a25c04abfff" providerId="ADAL" clId="{EE97D3FE-9ACA-4467-98E5-532EC45D9D1C}" dt="2024-03-01T13:01:16.944" v="12376" actId="12789"/>
          <ac:picMkLst>
            <pc:docMk/>
            <pc:sldMk cId="399328488" sldId="450"/>
            <ac:picMk id="91" creationId="{76FDAB38-B63D-7CD4-14A0-D25CF75F9D4B}"/>
          </ac:picMkLst>
        </pc:picChg>
      </pc:sldChg>
      <pc:sldChg chg="addSp delSp modSp mod">
        <pc:chgData name="Nataliia Chornii (UA)" userId="4e4b8b3d-5f31-49bb-9f80-8a25c04abfff" providerId="ADAL" clId="{EE97D3FE-9ACA-4467-98E5-532EC45D9D1C}" dt="2024-03-11T14:20:52.474" v="23961" actId="478"/>
        <pc:sldMkLst>
          <pc:docMk/>
          <pc:sldMk cId="192098022" sldId="769"/>
        </pc:sldMkLst>
        <pc:spChg chg="mod ord">
          <ac:chgData name="Nataliia Chornii (UA)" userId="4e4b8b3d-5f31-49bb-9f80-8a25c04abfff" providerId="ADAL" clId="{EE97D3FE-9ACA-4467-98E5-532EC45D9D1C}" dt="2024-03-11T14:15:12.659" v="23640"/>
          <ac:spMkLst>
            <pc:docMk/>
            <pc:sldMk cId="192098022" sldId="769"/>
            <ac:spMk id="2" creationId="{44641C4F-F07F-7C71-88DD-EEFC9A9A1906}"/>
          </ac:spMkLst>
        </pc:spChg>
        <pc:spChg chg="del mod ord">
          <ac:chgData name="Nataliia Chornii (UA)" userId="4e4b8b3d-5f31-49bb-9f80-8a25c04abfff" providerId="ADAL" clId="{EE97D3FE-9ACA-4467-98E5-532EC45D9D1C}" dt="2024-03-11T14:15:19.405" v="23662" actId="478"/>
          <ac:spMkLst>
            <pc:docMk/>
            <pc:sldMk cId="192098022" sldId="769"/>
            <ac:spMk id="3" creationId="{490C57A7-69EE-C28F-972B-2E8CBABC00B6}"/>
          </ac:spMkLst>
        </pc:spChg>
        <pc:spChg chg="mod ord">
          <ac:chgData name="Nataliia Chornii (UA)" userId="4e4b8b3d-5f31-49bb-9f80-8a25c04abfff" providerId="ADAL" clId="{EE97D3FE-9ACA-4467-98E5-532EC45D9D1C}" dt="2024-03-11T14:15:12.659" v="23652"/>
          <ac:spMkLst>
            <pc:docMk/>
            <pc:sldMk cId="192098022" sldId="769"/>
            <ac:spMk id="5" creationId="{88400727-FB91-F4FE-5805-13D74D98FADF}"/>
          </ac:spMkLst>
        </pc:spChg>
        <pc:spChg chg="mod ord">
          <ac:chgData name="Nataliia Chornii (UA)" userId="4e4b8b3d-5f31-49bb-9f80-8a25c04abfff" providerId="ADAL" clId="{EE97D3FE-9ACA-4467-98E5-532EC45D9D1C}" dt="2024-03-11T14:15:12.659" v="23642"/>
          <ac:spMkLst>
            <pc:docMk/>
            <pc:sldMk cId="192098022" sldId="769"/>
            <ac:spMk id="6" creationId="{2CB3F9F5-858C-1D21-4D13-EAEDABE2E74A}"/>
          </ac:spMkLst>
        </pc:spChg>
        <pc:spChg chg="mod ord">
          <ac:chgData name="Nataliia Chornii (UA)" userId="4e4b8b3d-5f31-49bb-9f80-8a25c04abfff" providerId="ADAL" clId="{EE97D3FE-9ACA-4467-98E5-532EC45D9D1C}" dt="2024-03-11T14:15:12.659" v="23644"/>
          <ac:spMkLst>
            <pc:docMk/>
            <pc:sldMk cId="192098022" sldId="769"/>
            <ac:spMk id="8" creationId="{B6BFA0E2-7135-FFE5-3283-2EDC43146D38}"/>
          </ac:spMkLst>
        </pc:spChg>
        <pc:spChg chg="add del mod modVis">
          <ac:chgData name="Nataliia Chornii (UA)" userId="4e4b8b3d-5f31-49bb-9f80-8a25c04abfff" providerId="ADAL" clId="{EE97D3FE-9ACA-4467-98E5-532EC45D9D1C}" dt="2024-03-11T14:15:12.659" v="23658"/>
          <ac:spMkLst>
            <pc:docMk/>
            <pc:sldMk cId="192098022" sldId="769"/>
            <ac:spMk id="9" creationId="{54E46201-E3C3-24C6-8DD3-1C995E415292}"/>
          </ac:spMkLst>
        </pc:spChg>
        <pc:spChg chg="add del mod">
          <ac:chgData name="Nataliia Chornii (UA)" userId="4e4b8b3d-5f31-49bb-9f80-8a25c04abfff" providerId="ADAL" clId="{EE97D3FE-9ACA-4467-98E5-532EC45D9D1C}" dt="2024-03-11T14:20:30.515" v="23950"/>
          <ac:spMkLst>
            <pc:docMk/>
            <pc:sldMk cId="192098022" sldId="769"/>
            <ac:spMk id="10" creationId="{7A6F1F11-F8D6-1929-773A-C14C605B1330}"/>
          </ac:spMkLst>
        </pc:spChg>
        <pc:spChg chg="mod">
          <ac:chgData name="Nataliia Chornii (UA)" userId="4e4b8b3d-5f31-49bb-9f80-8a25c04abfff" providerId="ADAL" clId="{EE97D3FE-9ACA-4467-98E5-532EC45D9D1C}" dt="2024-03-11T14:19:38.735" v="23935"/>
          <ac:spMkLst>
            <pc:docMk/>
            <pc:sldMk cId="192098022" sldId="769"/>
            <ac:spMk id="12" creationId="{FB482096-F01C-1D07-EDCE-A0599AD37BE2}"/>
          </ac:spMkLst>
        </pc:spChg>
        <pc:spChg chg="mod">
          <ac:chgData name="Nataliia Chornii (UA)" userId="4e4b8b3d-5f31-49bb-9f80-8a25c04abfff" providerId="ADAL" clId="{EE97D3FE-9ACA-4467-98E5-532EC45D9D1C}" dt="2024-03-11T14:19:38.735" v="23935"/>
          <ac:spMkLst>
            <pc:docMk/>
            <pc:sldMk cId="192098022" sldId="769"/>
            <ac:spMk id="13" creationId="{CD34EAC0-5FC5-6AF1-AD77-FAF3763AEE98}"/>
          </ac:spMkLst>
        </pc:spChg>
        <pc:spChg chg="mod">
          <ac:chgData name="Nataliia Chornii (UA)" userId="4e4b8b3d-5f31-49bb-9f80-8a25c04abfff" providerId="ADAL" clId="{EE97D3FE-9ACA-4467-98E5-532EC45D9D1C}" dt="2024-03-11T14:19:38.735" v="23935"/>
          <ac:spMkLst>
            <pc:docMk/>
            <pc:sldMk cId="192098022" sldId="769"/>
            <ac:spMk id="14" creationId="{2644259F-C142-21E9-372D-23472B1FB75B}"/>
          </ac:spMkLst>
        </pc:spChg>
        <pc:spChg chg="mod">
          <ac:chgData name="Nataliia Chornii (UA)" userId="4e4b8b3d-5f31-49bb-9f80-8a25c04abfff" providerId="ADAL" clId="{EE97D3FE-9ACA-4467-98E5-532EC45D9D1C}" dt="2024-03-11T14:19:38.735" v="23935"/>
          <ac:spMkLst>
            <pc:docMk/>
            <pc:sldMk cId="192098022" sldId="769"/>
            <ac:spMk id="15" creationId="{DE11DED4-ED8A-4133-69D2-AC2BD1B061C7}"/>
          </ac:spMkLst>
        </pc:spChg>
        <pc:spChg chg="mod">
          <ac:chgData name="Nataliia Chornii (UA)" userId="4e4b8b3d-5f31-49bb-9f80-8a25c04abfff" providerId="ADAL" clId="{EE97D3FE-9ACA-4467-98E5-532EC45D9D1C}" dt="2024-03-11T14:19:38.735" v="23935"/>
          <ac:spMkLst>
            <pc:docMk/>
            <pc:sldMk cId="192098022" sldId="769"/>
            <ac:spMk id="16" creationId="{1DC3DD96-351E-888A-0C7D-8570737A5198}"/>
          </ac:spMkLst>
        </pc:spChg>
        <pc:spChg chg="mod">
          <ac:chgData name="Nataliia Chornii (UA)" userId="4e4b8b3d-5f31-49bb-9f80-8a25c04abfff" providerId="ADAL" clId="{EE97D3FE-9ACA-4467-98E5-532EC45D9D1C}" dt="2024-03-11T14:19:38.735" v="23935"/>
          <ac:spMkLst>
            <pc:docMk/>
            <pc:sldMk cId="192098022" sldId="769"/>
            <ac:spMk id="17" creationId="{4551333C-9944-E8C8-0865-50319B643653}"/>
          </ac:spMkLst>
        </pc:spChg>
        <pc:spChg chg="add mod">
          <ac:chgData name="Nataliia Chornii (UA)" userId="4e4b8b3d-5f31-49bb-9f80-8a25c04abfff" providerId="ADAL" clId="{EE97D3FE-9ACA-4467-98E5-532EC45D9D1C}" dt="2024-03-11T14:20:50.792" v="23960"/>
          <ac:spMkLst>
            <pc:docMk/>
            <pc:sldMk cId="192098022" sldId="769"/>
            <ac:spMk id="18" creationId="{31F5B033-E36B-F124-637C-AF0345D3C1E2}"/>
          </ac:spMkLst>
        </pc:spChg>
        <pc:spChg chg="mod">
          <ac:chgData name="Nataliia Chornii (UA)" userId="4e4b8b3d-5f31-49bb-9f80-8a25c04abfff" providerId="ADAL" clId="{EE97D3FE-9ACA-4467-98E5-532EC45D9D1C}" dt="2024-03-11T14:20:50.792" v="23960"/>
          <ac:spMkLst>
            <pc:docMk/>
            <pc:sldMk cId="192098022" sldId="769"/>
            <ac:spMk id="20" creationId="{3786E25B-C261-B1B6-88EC-455150837209}"/>
          </ac:spMkLst>
        </pc:spChg>
        <pc:spChg chg="mod">
          <ac:chgData name="Nataliia Chornii (UA)" userId="4e4b8b3d-5f31-49bb-9f80-8a25c04abfff" providerId="ADAL" clId="{EE97D3FE-9ACA-4467-98E5-532EC45D9D1C}" dt="2024-03-11T14:20:50.792" v="23960"/>
          <ac:spMkLst>
            <pc:docMk/>
            <pc:sldMk cId="192098022" sldId="769"/>
            <ac:spMk id="21" creationId="{C9135DDF-5CA6-49E5-83DF-8DFF77FB5D64}"/>
          </ac:spMkLst>
        </pc:spChg>
        <pc:spChg chg="mod">
          <ac:chgData name="Nataliia Chornii (UA)" userId="4e4b8b3d-5f31-49bb-9f80-8a25c04abfff" providerId="ADAL" clId="{EE97D3FE-9ACA-4467-98E5-532EC45D9D1C}" dt="2024-03-11T14:20:50.792" v="23960"/>
          <ac:spMkLst>
            <pc:docMk/>
            <pc:sldMk cId="192098022" sldId="769"/>
            <ac:spMk id="22" creationId="{67E038E3-418F-D7EE-D2E2-2F1F38A09124}"/>
          </ac:spMkLst>
        </pc:spChg>
        <pc:spChg chg="mod">
          <ac:chgData name="Nataliia Chornii (UA)" userId="4e4b8b3d-5f31-49bb-9f80-8a25c04abfff" providerId="ADAL" clId="{EE97D3FE-9ACA-4467-98E5-532EC45D9D1C}" dt="2024-03-11T14:20:50.792" v="23960"/>
          <ac:spMkLst>
            <pc:docMk/>
            <pc:sldMk cId="192098022" sldId="769"/>
            <ac:spMk id="24" creationId="{E0FD376E-8EE2-B194-B672-68AF0EEFC0B5}"/>
          </ac:spMkLst>
        </pc:spChg>
        <pc:spChg chg="mod ord">
          <ac:chgData name="Nataliia Chornii (UA)" userId="4e4b8b3d-5f31-49bb-9f80-8a25c04abfff" providerId="ADAL" clId="{EE97D3FE-9ACA-4467-98E5-532EC45D9D1C}" dt="2024-03-11T14:15:12.659" v="23646"/>
          <ac:spMkLst>
            <pc:docMk/>
            <pc:sldMk cId="192098022" sldId="769"/>
            <ac:spMk id="25" creationId="{014F40D3-F5E9-404A-8FA7-2C2BFB358B3B}"/>
          </ac:spMkLst>
        </pc:spChg>
        <pc:spChg chg="mod">
          <ac:chgData name="Nataliia Chornii (UA)" userId="4e4b8b3d-5f31-49bb-9f80-8a25c04abfff" providerId="ADAL" clId="{EE97D3FE-9ACA-4467-98E5-532EC45D9D1C}" dt="2024-03-11T14:20:50.792" v="23960"/>
          <ac:spMkLst>
            <pc:docMk/>
            <pc:sldMk cId="192098022" sldId="769"/>
            <ac:spMk id="26" creationId="{5810BD6D-E788-A7D6-3532-3A29D6EC3847}"/>
          </ac:spMkLst>
        </pc:spChg>
        <pc:spChg chg="mod">
          <ac:chgData name="Nataliia Chornii (UA)" userId="4e4b8b3d-5f31-49bb-9f80-8a25c04abfff" providerId="ADAL" clId="{EE97D3FE-9ACA-4467-98E5-532EC45D9D1C}" dt="2024-03-11T14:20:50.792" v="23960"/>
          <ac:spMkLst>
            <pc:docMk/>
            <pc:sldMk cId="192098022" sldId="769"/>
            <ac:spMk id="27" creationId="{3D226539-72A2-11D4-2EA5-43B80F80A9DB}"/>
          </ac:spMkLst>
        </pc:spChg>
        <pc:spChg chg="mod ord">
          <ac:chgData name="Nataliia Chornii (UA)" userId="4e4b8b3d-5f31-49bb-9f80-8a25c04abfff" providerId="ADAL" clId="{EE97D3FE-9ACA-4467-98E5-532EC45D9D1C}" dt="2024-03-11T14:15:12.659" v="23650"/>
          <ac:spMkLst>
            <pc:docMk/>
            <pc:sldMk cId="192098022" sldId="769"/>
            <ac:spMk id="29" creationId="{44B6CEDA-C06E-D816-412F-DE090CE2BE7B}"/>
          </ac:spMkLst>
        </pc:spChg>
        <pc:grpChg chg="add del mod">
          <ac:chgData name="Nataliia Chornii (UA)" userId="4e4b8b3d-5f31-49bb-9f80-8a25c04abfff" providerId="ADAL" clId="{EE97D3FE-9ACA-4467-98E5-532EC45D9D1C}" dt="2024-03-11T14:20:30.515" v="23950"/>
          <ac:grpSpMkLst>
            <pc:docMk/>
            <pc:sldMk cId="192098022" sldId="769"/>
            <ac:grpSpMk id="11" creationId="{E9EC0769-9FDD-F501-F265-203C0A89A781}"/>
          </ac:grpSpMkLst>
        </pc:grpChg>
        <pc:grpChg chg="add del mod">
          <ac:chgData name="Nataliia Chornii (UA)" userId="4e4b8b3d-5f31-49bb-9f80-8a25c04abfff" providerId="ADAL" clId="{EE97D3FE-9ACA-4467-98E5-532EC45D9D1C}" dt="2024-03-11T14:20:52.474" v="23961" actId="478"/>
          <ac:grpSpMkLst>
            <pc:docMk/>
            <pc:sldMk cId="192098022" sldId="769"/>
            <ac:grpSpMk id="19" creationId="{4EA9CBB0-D7DC-FB05-33AE-445615C09813}"/>
          </ac:grpSpMkLst>
        </pc:grpChg>
        <pc:graphicFrameChg chg="mod">
          <ac:chgData name="Nataliia Chornii (UA)" userId="4e4b8b3d-5f31-49bb-9f80-8a25c04abfff" providerId="ADAL" clId="{EE97D3FE-9ACA-4467-98E5-532EC45D9D1C}" dt="2024-03-11T14:15:12.659" v="23660"/>
          <ac:graphicFrameMkLst>
            <pc:docMk/>
            <pc:sldMk cId="192098022" sldId="769"/>
            <ac:graphicFrameMk id="23" creationId="{8DFB9B2E-C1F9-21A3-00BA-9A57ED0111F8}"/>
          </ac:graphicFrameMkLst>
        </pc:graphicFrameChg>
        <pc:picChg chg="add mod ord modCrop">
          <ac:chgData name="Nataliia Chornii (UA)" userId="4e4b8b3d-5f31-49bb-9f80-8a25c04abfff" providerId="ADAL" clId="{EE97D3FE-9ACA-4467-98E5-532EC45D9D1C}" dt="2024-03-11T14:15:12.658" v="23638"/>
          <ac:picMkLst>
            <pc:docMk/>
            <pc:sldMk cId="192098022" sldId="769"/>
            <ac:picMk id="7" creationId="{FF8B7B11-6660-0BCC-2F16-419ADE3449D2}"/>
          </ac:picMkLst>
        </pc:picChg>
        <pc:picChg chg="del mod ord">
          <ac:chgData name="Nataliia Chornii (UA)" userId="4e4b8b3d-5f31-49bb-9f80-8a25c04abfff" providerId="ADAL" clId="{EE97D3FE-9ACA-4467-98E5-532EC45D9D1C}" dt="2024-03-11T14:15:14.018" v="23661" actId="478"/>
          <ac:picMkLst>
            <pc:docMk/>
            <pc:sldMk cId="192098022" sldId="769"/>
            <ac:picMk id="28" creationId="{57146472-1E12-8599-0248-F6AE825AAC25}"/>
          </ac:picMkLst>
        </pc:picChg>
      </pc:sldChg>
      <pc:sldChg chg="addSp delSp modSp mod">
        <pc:chgData name="Nataliia Chornii (UA)" userId="4e4b8b3d-5f31-49bb-9f80-8a25c04abfff" providerId="ADAL" clId="{EE97D3FE-9ACA-4467-98E5-532EC45D9D1C}" dt="2024-03-11T14:22:26.329" v="24029" actId="164"/>
        <pc:sldMkLst>
          <pc:docMk/>
          <pc:sldMk cId="2067837237" sldId="899"/>
        </pc:sldMkLst>
        <pc:spChg chg="add del mod modVis">
          <ac:chgData name="Nataliia Chornii (UA)" userId="4e4b8b3d-5f31-49bb-9f80-8a25c04abfff" providerId="ADAL" clId="{EE97D3FE-9ACA-4467-98E5-532EC45D9D1C}" dt="2024-03-01T08:48:59.094" v="1157"/>
          <ac:spMkLst>
            <pc:docMk/>
            <pc:sldMk cId="2067837237" sldId="899"/>
            <ac:spMk id="2" creationId="{7AD8C006-012D-D74D-EA3A-1A8F371AA3DE}"/>
          </ac:spMkLst>
        </pc:spChg>
        <pc:spChg chg="mod">
          <ac:chgData name="Nataliia Chornii (UA)" userId="4e4b8b3d-5f31-49bb-9f80-8a25c04abfff" providerId="ADAL" clId="{EE97D3FE-9ACA-4467-98E5-532EC45D9D1C}" dt="2024-03-01T09:49:09.599" v="9144" actId="948"/>
          <ac:spMkLst>
            <pc:docMk/>
            <pc:sldMk cId="2067837237" sldId="899"/>
            <ac:spMk id="3" creationId="{02A7C9EB-E60F-E4DD-7BE8-A36BF399BA1F}"/>
          </ac:spMkLst>
        </pc:spChg>
        <pc:spChg chg="del">
          <ac:chgData name="Nataliia Chornii (UA)" userId="4e4b8b3d-5f31-49bb-9f80-8a25c04abfff" providerId="ADAL" clId="{EE97D3FE-9ACA-4467-98E5-532EC45D9D1C}" dt="2024-03-01T09:47:07.678" v="9054" actId="478"/>
          <ac:spMkLst>
            <pc:docMk/>
            <pc:sldMk cId="2067837237" sldId="899"/>
            <ac:spMk id="5" creationId="{0B17BD84-88AC-98C1-0560-846DD233D35D}"/>
          </ac:spMkLst>
        </pc:spChg>
        <pc:spChg chg="del">
          <ac:chgData name="Nataliia Chornii (UA)" userId="4e4b8b3d-5f31-49bb-9f80-8a25c04abfff" providerId="ADAL" clId="{EE97D3FE-9ACA-4467-98E5-532EC45D9D1C}" dt="2024-03-01T09:47:07.678" v="9054" actId="478"/>
          <ac:spMkLst>
            <pc:docMk/>
            <pc:sldMk cId="2067837237" sldId="899"/>
            <ac:spMk id="6" creationId="{85A3FF08-7671-32B6-5C7B-EA4FB751C16A}"/>
          </ac:spMkLst>
        </pc:spChg>
        <pc:spChg chg="add mod">
          <ac:chgData name="Nataliia Chornii (UA)" userId="4e4b8b3d-5f31-49bb-9f80-8a25c04abfff" providerId="ADAL" clId="{EE97D3FE-9ACA-4467-98E5-532EC45D9D1C}" dt="2024-03-11T14:21:28.366" v="23969"/>
          <ac:spMkLst>
            <pc:docMk/>
            <pc:sldMk cId="2067837237" sldId="899"/>
            <ac:spMk id="8" creationId="{C45B4B4D-811D-75BC-1C53-0D260614DCE2}"/>
          </ac:spMkLst>
        </pc:spChg>
        <pc:spChg chg="add del mod modVis">
          <ac:chgData name="Nataliia Chornii (UA)" userId="4e4b8b3d-5f31-49bb-9f80-8a25c04abfff" providerId="ADAL" clId="{EE97D3FE-9ACA-4467-98E5-532EC45D9D1C}" dt="2024-03-01T08:49:33.681" v="2770"/>
          <ac:spMkLst>
            <pc:docMk/>
            <pc:sldMk cId="2067837237" sldId="899"/>
            <ac:spMk id="8" creationId="{E0C57E80-D21D-37FF-E9EA-E8948E38047A}"/>
          </ac:spMkLst>
        </pc:spChg>
        <pc:spChg chg="mod">
          <ac:chgData name="Nataliia Chornii (UA)" userId="4e4b8b3d-5f31-49bb-9f80-8a25c04abfff" providerId="ADAL" clId="{EE97D3FE-9ACA-4467-98E5-532EC45D9D1C}" dt="2024-03-01T09:48:56.020" v="9139" actId="207"/>
          <ac:spMkLst>
            <pc:docMk/>
            <pc:sldMk cId="2067837237" sldId="899"/>
            <ac:spMk id="9" creationId="{4410BDA3-C70D-09A4-DA6C-34323C7C12E7}"/>
          </ac:spMkLst>
        </pc:spChg>
        <pc:spChg chg="mod">
          <ac:chgData name="Nataliia Chornii (UA)" userId="4e4b8b3d-5f31-49bb-9f80-8a25c04abfff" providerId="ADAL" clId="{EE97D3FE-9ACA-4467-98E5-532EC45D9D1C}" dt="2024-03-01T09:48:56.020" v="9139" actId="207"/>
          <ac:spMkLst>
            <pc:docMk/>
            <pc:sldMk cId="2067837237" sldId="899"/>
            <ac:spMk id="10" creationId="{62B42245-DA42-CBD7-0584-79D1BE955F34}"/>
          </ac:spMkLst>
        </pc:spChg>
        <pc:spChg chg="mod">
          <ac:chgData name="Nataliia Chornii (UA)" userId="4e4b8b3d-5f31-49bb-9f80-8a25c04abfff" providerId="ADAL" clId="{EE97D3FE-9ACA-4467-98E5-532EC45D9D1C}" dt="2024-03-01T09:48:56.020" v="9139" actId="207"/>
          <ac:spMkLst>
            <pc:docMk/>
            <pc:sldMk cId="2067837237" sldId="899"/>
            <ac:spMk id="11" creationId="{966F4E94-42AF-8C4C-9F85-A34218079A7B}"/>
          </ac:spMkLst>
        </pc:spChg>
        <pc:spChg chg="add del mod modVis">
          <ac:chgData name="Nataliia Chornii (UA)" userId="4e4b8b3d-5f31-49bb-9f80-8a25c04abfff" providerId="ADAL" clId="{EE97D3FE-9ACA-4467-98E5-532EC45D9D1C}" dt="2024-03-01T08:49:59.756" v="3758"/>
          <ac:spMkLst>
            <pc:docMk/>
            <pc:sldMk cId="2067837237" sldId="899"/>
            <ac:spMk id="12" creationId="{96E4EDC9-8E11-8CED-561F-1CD7DE5CC8D9}"/>
          </ac:spMkLst>
        </pc:spChg>
        <pc:spChg chg="add del mod modVis">
          <ac:chgData name="Nataliia Chornii (UA)" userId="4e4b8b3d-5f31-49bb-9f80-8a25c04abfff" providerId="ADAL" clId="{EE97D3FE-9ACA-4467-98E5-532EC45D9D1C}" dt="2024-03-01T08:51:26.061" v="4746"/>
          <ac:spMkLst>
            <pc:docMk/>
            <pc:sldMk cId="2067837237" sldId="899"/>
            <ac:spMk id="13" creationId="{1424C2B1-598C-0689-50CE-9830B6219951}"/>
          </ac:spMkLst>
        </pc:spChg>
        <pc:spChg chg="mod topLvl">
          <ac:chgData name="Nataliia Chornii (UA)" userId="4e4b8b3d-5f31-49bb-9f80-8a25c04abfff" providerId="ADAL" clId="{EE97D3FE-9ACA-4467-98E5-532EC45D9D1C}" dt="2024-03-11T14:22:26.329" v="24029" actId="164"/>
          <ac:spMkLst>
            <pc:docMk/>
            <pc:sldMk cId="2067837237" sldId="899"/>
            <ac:spMk id="13" creationId="{CE49DFAE-9602-9B51-7F68-1F0676F98EAA}"/>
          </ac:spMkLst>
        </pc:spChg>
        <pc:spChg chg="mod">
          <ac:chgData name="Nataliia Chornii (UA)" userId="4e4b8b3d-5f31-49bb-9f80-8a25c04abfff" providerId="ADAL" clId="{EE97D3FE-9ACA-4467-98E5-532EC45D9D1C}" dt="2024-03-01T09:48:56.020" v="9139" actId="207"/>
          <ac:spMkLst>
            <pc:docMk/>
            <pc:sldMk cId="2067837237" sldId="899"/>
            <ac:spMk id="14" creationId="{C12F4A68-0A98-B4BF-1D5E-5B0917DB284B}"/>
          </ac:spMkLst>
        </pc:spChg>
        <pc:spChg chg="mod">
          <ac:chgData name="Nataliia Chornii (UA)" userId="4e4b8b3d-5f31-49bb-9f80-8a25c04abfff" providerId="ADAL" clId="{EE97D3FE-9ACA-4467-98E5-532EC45D9D1C}" dt="2024-03-01T09:48:56.020" v="9139" actId="207"/>
          <ac:spMkLst>
            <pc:docMk/>
            <pc:sldMk cId="2067837237" sldId="899"/>
            <ac:spMk id="15" creationId="{18CF1D23-C8C0-7311-A610-9559FB968B61}"/>
          </ac:spMkLst>
        </pc:spChg>
        <pc:spChg chg="add del mod modVis">
          <ac:chgData name="Nataliia Chornii (UA)" userId="4e4b8b3d-5f31-49bb-9f80-8a25c04abfff" providerId="ADAL" clId="{EE97D3FE-9ACA-4467-98E5-532EC45D9D1C}" dt="2024-03-01T08:51:56.063" v="5735"/>
          <ac:spMkLst>
            <pc:docMk/>
            <pc:sldMk cId="2067837237" sldId="899"/>
            <ac:spMk id="16" creationId="{1E162942-0ECC-8F60-DC63-6A35F576EA53}"/>
          </ac:spMkLst>
        </pc:spChg>
        <pc:spChg chg="mod topLvl">
          <ac:chgData name="Nataliia Chornii (UA)" userId="4e4b8b3d-5f31-49bb-9f80-8a25c04abfff" providerId="ADAL" clId="{EE97D3FE-9ACA-4467-98E5-532EC45D9D1C}" dt="2024-03-11T14:22:26.329" v="24029" actId="164"/>
          <ac:spMkLst>
            <pc:docMk/>
            <pc:sldMk cId="2067837237" sldId="899"/>
            <ac:spMk id="16" creationId="{BBD61FA1-53B4-FE96-3144-6BA4D509ED90}"/>
          </ac:spMkLst>
        </pc:spChg>
        <pc:spChg chg="mod topLvl">
          <ac:chgData name="Nataliia Chornii (UA)" userId="4e4b8b3d-5f31-49bb-9f80-8a25c04abfff" providerId="ADAL" clId="{EE97D3FE-9ACA-4467-98E5-532EC45D9D1C}" dt="2024-03-11T14:22:26.329" v="24029" actId="164"/>
          <ac:spMkLst>
            <pc:docMk/>
            <pc:sldMk cId="2067837237" sldId="899"/>
            <ac:spMk id="17" creationId="{505A48E8-31D6-CC00-D638-F5453B1770D2}"/>
          </ac:spMkLst>
        </pc:spChg>
        <pc:spChg chg="add del mod modVis">
          <ac:chgData name="Nataliia Chornii (UA)" userId="4e4b8b3d-5f31-49bb-9f80-8a25c04abfff" providerId="ADAL" clId="{EE97D3FE-9ACA-4467-98E5-532EC45D9D1C}" dt="2024-03-01T08:52:18.230" v="6723"/>
          <ac:spMkLst>
            <pc:docMk/>
            <pc:sldMk cId="2067837237" sldId="899"/>
            <ac:spMk id="17" creationId="{9BA127C5-5767-0C6B-6E41-FB70B65E90C5}"/>
          </ac:spMkLst>
        </pc:spChg>
        <pc:spChg chg="add del mod modVis">
          <ac:chgData name="Nataliia Chornii (UA)" userId="4e4b8b3d-5f31-49bb-9f80-8a25c04abfff" providerId="ADAL" clId="{EE97D3FE-9ACA-4467-98E5-532EC45D9D1C}" dt="2024-03-01T09:39:00.723" v="8487"/>
          <ac:spMkLst>
            <pc:docMk/>
            <pc:sldMk cId="2067837237" sldId="899"/>
            <ac:spMk id="18" creationId="{910E2EAB-D7F7-B211-DD4C-5BE2DD43F002}"/>
          </ac:spMkLst>
        </pc:spChg>
        <pc:spChg chg="mod topLvl">
          <ac:chgData name="Nataliia Chornii (UA)" userId="4e4b8b3d-5f31-49bb-9f80-8a25c04abfff" providerId="ADAL" clId="{EE97D3FE-9ACA-4467-98E5-532EC45D9D1C}" dt="2024-03-11T14:22:26.329" v="24029" actId="164"/>
          <ac:spMkLst>
            <pc:docMk/>
            <pc:sldMk cId="2067837237" sldId="899"/>
            <ac:spMk id="18" creationId="{96D847B4-9689-1456-ACF2-BC9B473BDA59}"/>
          </ac:spMkLst>
        </pc:spChg>
        <pc:spChg chg="add mod">
          <ac:chgData name="Nataliia Chornii (UA)" userId="4e4b8b3d-5f31-49bb-9f80-8a25c04abfff" providerId="ADAL" clId="{EE97D3FE-9ACA-4467-98E5-532EC45D9D1C}" dt="2024-03-01T09:47:18.226" v="9057" actId="1076"/>
          <ac:spMkLst>
            <pc:docMk/>
            <pc:sldMk cId="2067837237" sldId="899"/>
            <ac:spMk id="19" creationId="{71843FC2-0134-C5A1-3413-D29A3E972CB9}"/>
          </ac:spMkLst>
        </pc:spChg>
        <pc:spChg chg="add mod">
          <ac:chgData name="Nataliia Chornii (UA)" userId="4e4b8b3d-5f31-49bb-9f80-8a25c04abfff" providerId="ADAL" clId="{EE97D3FE-9ACA-4467-98E5-532EC45D9D1C}" dt="2024-03-01T09:48:04.414" v="9134" actId="552"/>
          <ac:spMkLst>
            <pc:docMk/>
            <pc:sldMk cId="2067837237" sldId="899"/>
            <ac:spMk id="20" creationId="{5FE60873-156A-58E0-91C4-D2678DCF6C33}"/>
          </ac:spMkLst>
        </pc:spChg>
        <pc:spChg chg="mod topLvl">
          <ac:chgData name="Nataliia Chornii (UA)" userId="4e4b8b3d-5f31-49bb-9f80-8a25c04abfff" providerId="ADAL" clId="{EE97D3FE-9ACA-4467-98E5-532EC45D9D1C}" dt="2024-03-11T14:22:26.329" v="24029" actId="164"/>
          <ac:spMkLst>
            <pc:docMk/>
            <pc:sldMk cId="2067837237" sldId="899"/>
            <ac:spMk id="21" creationId="{3CDBF83B-5746-D5D4-544E-C151038D4DE9}"/>
          </ac:spMkLst>
        </pc:spChg>
        <pc:spChg chg="del">
          <ac:chgData name="Nataliia Chornii (UA)" userId="4e4b8b3d-5f31-49bb-9f80-8a25c04abfff" providerId="ADAL" clId="{EE97D3FE-9ACA-4467-98E5-532EC45D9D1C}" dt="2024-03-01T09:47:09.790" v="9055" actId="478"/>
          <ac:spMkLst>
            <pc:docMk/>
            <pc:sldMk cId="2067837237" sldId="899"/>
            <ac:spMk id="21" creationId="{7AE0AAE5-4EC9-DD53-56C2-33377686F8EF}"/>
          </ac:spMkLst>
        </pc:spChg>
        <pc:spChg chg="mod topLvl">
          <ac:chgData name="Nataliia Chornii (UA)" userId="4e4b8b3d-5f31-49bb-9f80-8a25c04abfff" providerId="ADAL" clId="{EE97D3FE-9ACA-4467-98E5-532EC45D9D1C}" dt="2024-03-11T14:22:26.329" v="24029" actId="164"/>
          <ac:spMkLst>
            <pc:docMk/>
            <pc:sldMk cId="2067837237" sldId="899"/>
            <ac:spMk id="22" creationId="{EA7DD34B-277F-8DF5-1D1D-40774DE42626}"/>
          </ac:spMkLst>
        </pc:spChg>
        <pc:spChg chg="del">
          <ac:chgData name="Nataliia Chornii (UA)" userId="4e4b8b3d-5f31-49bb-9f80-8a25c04abfff" providerId="ADAL" clId="{EE97D3FE-9ACA-4467-98E5-532EC45D9D1C}" dt="2024-03-01T09:47:09.790" v="9055" actId="478"/>
          <ac:spMkLst>
            <pc:docMk/>
            <pc:sldMk cId="2067837237" sldId="899"/>
            <ac:spMk id="22" creationId="{EC93622C-265E-D387-2605-AE4A4548EFAD}"/>
          </ac:spMkLst>
        </pc:spChg>
        <pc:spChg chg="del">
          <ac:chgData name="Nataliia Chornii (UA)" userId="4e4b8b3d-5f31-49bb-9f80-8a25c04abfff" providerId="ADAL" clId="{EE97D3FE-9ACA-4467-98E5-532EC45D9D1C}" dt="2024-03-01T09:47:09.790" v="9055" actId="478"/>
          <ac:spMkLst>
            <pc:docMk/>
            <pc:sldMk cId="2067837237" sldId="899"/>
            <ac:spMk id="23" creationId="{1B89C6A7-D4E1-CA3E-6BF6-16634CCB8552}"/>
          </ac:spMkLst>
        </pc:spChg>
        <pc:spChg chg="del">
          <ac:chgData name="Nataliia Chornii (UA)" userId="4e4b8b3d-5f31-49bb-9f80-8a25c04abfff" providerId="ADAL" clId="{EE97D3FE-9ACA-4467-98E5-532EC45D9D1C}" dt="2024-03-01T09:47:09.790" v="9055" actId="478"/>
          <ac:spMkLst>
            <pc:docMk/>
            <pc:sldMk cId="2067837237" sldId="899"/>
            <ac:spMk id="24" creationId="{5FEC99C6-C046-6B8B-B626-B348A583E386}"/>
          </ac:spMkLst>
        </pc:spChg>
        <pc:spChg chg="del">
          <ac:chgData name="Nataliia Chornii (UA)" userId="4e4b8b3d-5f31-49bb-9f80-8a25c04abfff" providerId="ADAL" clId="{EE97D3FE-9ACA-4467-98E5-532EC45D9D1C}" dt="2024-03-01T09:47:09.790" v="9055" actId="478"/>
          <ac:spMkLst>
            <pc:docMk/>
            <pc:sldMk cId="2067837237" sldId="899"/>
            <ac:spMk id="25" creationId="{E3A1C324-4553-CB6A-8B81-8B007C858F90}"/>
          </ac:spMkLst>
        </pc:spChg>
        <pc:spChg chg="add mod">
          <ac:chgData name="Nataliia Chornii (UA)" userId="4e4b8b3d-5f31-49bb-9f80-8a25c04abfff" providerId="ADAL" clId="{EE97D3FE-9ACA-4467-98E5-532EC45D9D1C}" dt="2024-03-01T09:47:18.226" v="9057" actId="1076"/>
          <ac:spMkLst>
            <pc:docMk/>
            <pc:sldMk cId="2067837237" sldId="899"/>
            <ac:spMk id="26" creationId="{D02ECC2D-3609-D901-FD99-81FB0F16D429}"/>
          </ac:spMkLst>
        </pc:spChg>
        <pc:spChg chg="del">
          <ac:chgData name="Nataliia Chornii (UA)" userId="4e4b8b3d-5f31-49bb-9f80-8a25c04abfff" providerId="ADAL" clId="{EE97D3FE-9ACA-4467-98E5-532EC45D9D1C}" dt="2024-03-01T09:47:09.790" v="9055" actId="478"/>
          <ac:spMkLst>
            <pc:docMk/>
            <pc:sldMk cId="2067837237" sldId="899"/>
            <ac:spMk id="27" creationId="{8ED5A468-3446-C52F-684C-4DAFAC567CBD}"/>
          </ac:spMkLst>
        </pc:spChg>
        <pc:spChg chg="del">
          <ac:chgData name="Nataliia Chornii (UA)" userId="4e4b8b3d-5f31-49bb-9f80-8a25c04abfff" providerId="ADAL" clId="{EE97D3FE-9ACA-4467-98E5-532EC45D9D1C}" dt="2024-03-01T09:47:09.790" v="9055" actId="478"/>
          <ac:spMkLst>
            <pc:docMk/>
            <pc:sldMk cId="2067837237" sldId="899"/>
            <ac:spMk id="28" creationId="{4D83F920-03F2-22B6-3A4C-F3510C600538}"/>
          </ac:spMkLst>
        </pc:spChg>
        <pc:spChg chg="del">
          <ac:chgData name="Nataliia Chornii (UA)" userId="4e4b8b3d-5f31-49bb-9f80-8a25c04abfff" providerId="ADAL" clId="{EE97D3FE-9ACA-4467-98E5-532EC45D9D1C}" dt="2024-03-01T09:47:09.790" v="9055" actId="478"/>
          <ac:spMkLst>
            <pc:docMk/>
            <pc:sldMk cId="2067837237" sldId="899"/>
            <ac:spMk id="29" creationId="{A36EBB3A-5319-594E-ADF6-54CF90574679}"/>
          </ac:spMkLst>
        </pc:spChg>
        <pc:spChg chg="del">
          <ac:chgData name="Nataliia Chornii (UA)" userId="4e4b8b3d-5f31-49bb-9f80-8a25c04abfff" providerId="ADAL" clId="{EE97D3FE-9ACA-4467-98E5-532EC45D9D1C}" dt="2024-03-01T09:47:09.790" v="9055" actId="478"/>
          <ac:spMkLst>
            <pc:docMk/>
            <pc:sldMk cId="2067837237" sldId="899"/>
            <ac:spMk id="30" creationId="{0E5402E0-269A-92B5-BC8D-30D2207F23A4}"/>
          </ac:spMkLst>
        </pc:spChg>
        <pc:spChg chg="del">
          <ac:chgData name="Nataliia Chornii (UA)" userId="4e4b8b3d-5f31-49bb-9f80-8a25c04abfff" providerId="ADAL" clId="{EE97D3FE-9ACA-4467-98E5-532EC45D9D1C}" dt="2024-03-01T09:47:09.790" v="9055" actId="478"/>
          <ac:spMkLst>
            <pc:docMk/>
            <pc:sldMk cId="2067837237" sldId="899"/>
            <ac:spMk id="31" creationId="{873D60D4-E5D9-76E3-AEF9-264F4B971AF2}"/>
          </ac:spMkLst>
        </pc:spChg>
        <pc:spChg chg="del">
          <ac:chgData name="Nataliia Chornii (UA)" userId="4e4b8b3d-5f31-49bb-9f80-8a25c04abfff" providerId="ADAL" clId="{EE97D3FE-9ACA-4467-98E5-532EC45D9D1C}" dt="2024-03-01T09:47:09.790" v="9055" actId="478"/>
          <ac:spMkLst>
            <pc:docMk/>
            <pc:sldMk cId="2067837237" sldId="899"/>
            <ac:spMk id="32" creationId="{828F63E3-7455-B74D-F267-F3ABBA37707E}"/>
          </ac:spMkLst>
        </pc:spChg>
        <pc:spChg chg="del">
          <ac:chgData name="Nataliia Chornii (UA)" userId="4e4b8b3d-5f31-49bb-9f80-8a25c04abfff" providerId="ADAL" clId="{EE97D3FE-9ACA-4467-98E5-532EC45D9D1C}" dt="2024-03-01T09:47:09.790" v="9055" actId="478"/>
          <ac:spMkLst>
            <pc:docMk/>
            <pc:sldMk cId="2067837237" sldId="899"/>
            <ac:spMk id="33" creationId="{5F327F10-6150-0B2C-F4B7-AC6868A99C72}"/>
          </ac:spMkLst>
        </pc:spChg>
        <pc:spChg chg="del">
          <ac:chgData name="Nataliia Chornii (UA)" userId="4e4b8b3d-5f31-49bb-9f80-8a25c04abfff" providerId="ADAL" clId="{EE97D3FE-9ACA-4467-98E5-532EC45D9D1C}" dt="2024-03-01T09:47:09.790" v="9055" actId="478"/>
          <ac:spMkLst>
            <pc:docMk/>
            <pc:sldMk cId="2067837237" sldId="899"/>
            <ac:spMk id="34" creationId="{EA15E7A7-0EEE-9431-1144-1E3F177D6BC3}"/>
          </ac:spMkLst>
        </pc:spChg>
        <pc:spChg chg="del">
          <ac:chgData name="Nataliia Chornii (UA)" userId="4e4b8b3d-5f31-49bb-9f80-8a25c04abfff" providerId="ADAL" clId="{EE97D3FE-9ACA-4467-98E5-532EC45D9D1C}" dt="2024-03-01T09:47:09.790" v="9055" actId="478"/>
          <ac:spMkLst>
            <pc:docMk/>
            <pc:sldMk cId="2067837237" sldId="899"/>
            <ac:spMk id="35" creationId="{E26A329B-76CE-04FA-D6CD-A9A7093BE66A}"/>
          </ac:spMkLst>
        </pc:spChg>
        <pc:spChg chg="add mod">
          <ac:chgData name="Nataliia Chornii (UA)" userId="4e4b8b3d-5f31-49bb-9f80-8a25c04abfff" providerId="ADAL" clId="{EE97D3FE-9ACA-4467-98E5-532EC45D9D1C}" dt="2024-03-01T09:47:18.226" v="9057" actId="1076"/>
          <ac:spMkLst>
            <pc:docMk/>
            <pc:sldMk cId="2067837237" sldId="899"/>
            <ac:spMk id="36" creationId="{1888B678-3547-6CC3-ADA0-12DDC28292A0}"/>
          </ac:spMkLst>
        </pc:spChg>
        <pc:spChg chg="add mod">
          <ac:chgData name="Nataliia Chornii (UA)" userId="4e4b8b3d-5f31-49bb-9f80-8a25c04abfff" providerId="ADAL" clId="{EE97D3FE-9ACA-4467-98E5-532EC45D9D1C}" dt="2024-03-01T09:47:26.948" v="9063" actId="20577"/>
          <ac:spMkLst>
            <pc:docMk/>
            <pc:sldMk cId="2067837237" sldId="899"/>
            <ac:spMk id="37" creationId="{B6DDB0A2-47C9-76F8-7A2C-69EB8DD17565}"/>
          </ac:spMkLst>
        </pc:spChg>
        <pc:spChg chg="add mod">
          <ac:chgData name="Nataliia Chornii (UA)" userId="4e4b8b3d-5f31-49bb-9f80-8a25c04abfff" providerId="ADAL" clId="{EE97D3FE-9ACA-4467-98E5-532EC45D9D1C}" dt="2024-03-01T09:47:18.226" v="9057" actId="1076"/>
          <ac:spMkLst>
            <pc:docMk/>
            <pc:sldMk cId="2067837237" sldId="899"/>
            <ac:spMk id="38" creationId="{97202C5A-6B65-75B4-361A-B6E81DBA1028}"/>
          </ac:spMkLst>
        </pc:spChg>
        <pc:spChg chg="add mod">
          <ac:chgData name="Nataliia Chornii (UA)" userId="4e4b8b3d-5f31-49bb-9f80-8a25c04abfff" providerId="ADAL" clId="{EE97D3FE-9ACA-4467-98E5-532EC45D9D1C}" dt="2024-03-01T09:47:18.226" v="9057" actId="1076"/>
          <ac:spMkLst>
            <pc:docMk/>
            <pc:sldMk cId="2067837237" sldId="899"/>
            <ac:spMk id="39" creationId="{F5BCF2F7-5654-7170-9862-D0527312BE10}"/>
          </ac:spMkLst>
        </pc:spChg>
        <pc:spChg chg="add mod">
          <ac:chgData name="Nataliia Chornii (UA)" userId="4e4b8b3d-5f31-49bb-9f80-8a25c04abfff" providerId="ADAL" clId="{EE97D3FE-9ACA-4467-98E5-532EC45D9D1C}" dt="2024-03-01T09:47:28.488" v="9066" actId="20577"/>
          <ac:spMkLst>
            <pc:docMk/>
            <pc:sldMk cId="2067837237" sldId="899"/>
            <ac:spMk id="40" creationId="{29BA4A71-B7C9-A424-C282-D4ED9B1216C9}"/>
          </ac:spMkLst>
        </pc:spChg>
        <pc:spChg chg="add mod">
          <ac:chgData name="Nataliia Chornii (UA)" userId="4e4b8b3d-5f31-49bb-9f80-8a25c04abfff" providerId="ADAL" clId="{EE97D3FE-9ACA-4467-98E5-532EC45D9D1C}" dt="2024-03-01T09:47:18.226" v="9057" actId="1076"/>
          <ac:spMkLst>
            <pc:docMk/>
            <pc:sldMk cId="2067837237" sldId="899"/>
            <ac:spMk id="41" creationId="{0FF1845D-4220-25ED-DA95-9310DA52A0A7}"/>
          </ac:spMkLst>
        </pc:spChg>
        <pc:spChg chg="add mod">
          <ac:chgData name="Nataliia Chornii (UA)" userId="4e4b8b3d-5f31-49bb-9f80-8a25c04abfff" providerId="ADAL" clId="{EE97D3FE-9ACA-4467-98E5-532EC45D9D1C}" dt="2024-03-01T09:47:18.226" v="9057" actId="1076"/>
          <ac:spMkLst>
            <pc:docMk/>
            <pc:sldMk cId="2067837237" sldId="899"/>
            <ac:spMk id="42" creationId="{55FA582E-FF70-3B73-B78C-A3C26481B26E}"/>
          </ac:spMkLst>
        </pc:spChg>
        <pc:spChg chg="add mod">
          <ac:chgData name="Nataliia Chornii (UA)" userId="4e4b8b3d-5f31-49bb-9f80-8a25c04abfff" providerId="ADAL" clId="{EE97D3FE-9ACA-4467-98E5-532EC45D9D1C}" dt="2024-03-01T09:47:29.802" v="9069" actId="20577"/>
          <ac:spMkLst>
            <pc:docMk/>
            <pc:sldMk cId="2067837237" sldId="899"/>
            <ac:spMk id="43" creationId="{A4C86A5D-5866-D51D-FE31-1FACF697AC6E}"/>
          </ac:spMkLst>
        </pc:spChg>
        <pc:spChg chg="add mod">
          <ac:chgData name="Nataliia Chornii (UA)" userId="4e4b8b3d-5f31-49bb-9f80-8a25c04abfff" providerId="ADAL" clId="{EE97D3FE-9ACA-4467-98E5-532EC45D9D1C}" dt="2024-03-01T09:47:18.226" v="9057" actId="1076"/>
          <ac:spMkLst>
            <pc:docMk/>
            <pc:sldMk cId="2067837237" sldId="899"/>
            <ac:spMk id="44" creationId="{71332463-0F59-696D-65D0-086539192E2F}"/>
          </ac:spMkLst>
        </pc:spChg>
        <pc:spChg chg="add mod">
          <ac:chgData name="Nataliia Chornii (UA)" userId="4e4b8b3d-5f31-49bb-9f80-8a25c04abfff" providerId="ADAL" clId="{EE97D3FE-9ACA-4467-98E5-532EC45D9D1C}" dt="2024-03-01T09:47:18.226" v="9057" actId="1076"/>
          <ac:spMkLst>
            <pc:docMk/>
            <pc:sldMk cId="2067837237" sldId="899"/>
            <ac:spMk id="45" creationId="{A09F2D4C-59C0-4533-2F78-95B3165B33BF}"/>
          </ac:spMkLst>
        </pc:spChg>
        <pc:spChg chg="add mod">
          <ac:chgData name="Nataliia Chornii (UA)" userId="4e4b8b3d-5f31-49bb-9f80-8a25c04abfff" providerId="ADAL" clId="{EE97D3FE-9ACA-4467-98E5-532EC45D9D1C}" dt="2024-03-01T09:48:06.769" v="9135" actId="553"/>
          <ac:spMkLst>
            <pc:docMk/>
            <pc:sldMk cId="2067837237" sldId="899"/>
            <ac:spMk id="46" creationId="{D68576F3-035C-863F-7882-50755D2DB247}"/>
          </ac:spMkLst>
        </pc:spChg>
        <pc:spChg chg="add mod">
          <ac:chgData name="Nataliia Chornii (UA)" userId="4e4b8b3d-5f31-49bb-9f80-8a25c04abfff" providerId="ADAL" clId="{EE97D3FE-9ACA-4467-98E5-532EC45D9D1C}" dt="2024-03-01T09:47:18.226" v="9057" actId="1076"/>
          <ac:spMkLst>
            <pc:docMk/>
            <pc:sldMk cId="2067837237" sldId="899"/>
            <ac:spMk id="47" creationId="{29B25CBF-74E0-FC8C-7D77-DF0199AB19BA}"/>
          </ac:spMkLst>
        </pc:spChg>
        <pc:spChg chg="add mod">
          <ac:chgData name="Nataliia Chornii (UA)" userId="4e4b8b3d-5f31-49bb-9f80-8a25c04abfff" providerId="ADAL" clId="{EE97D3FE-9ACA-4467-98E5-532EC45D9D1C}" dt="2024-03-01T09:47:18.226" v="9057" actId="1076"/>
          <ac:spMkLst>
            <pc:docMk/>
            <pc:sldMk cId="2067837237" sldId="899"/>
            <ac:spMk id="48" creationId="{888917C4-07F0-CFA2-C0F7-9FA29AF00CB6}"/>
          </ac:spMkLst>
        </pc:spChg>
        <pc:spChg chg="add mod">
          <ac:chgData name="Nataliia Chornii (UA)" userId="4e4b8b3d-5f31-49bb-9f80-8a25c04abfff" providerId="ADAL" clId="{EE97D3FE-9ACA-4467-98E5-532EC45D9D1C}" dt="2024-03-01T09:47:18.226" v="9057" actId="1076"/>
          <ac:spMkLst>
            <pc:docMk/>
            <pc:sldMk cId="2067837237" sldId="899"/>
            <ac:spMk id="49" creationId="{D89C0A52-02D3-7AC3-F0C9-FF063EF637C1}"/>
          </ac:spMkLst>
        </pc:spChg>
        <pc:spChg chg="add mod">
          <ac:chgData name="Nataliia Chornii (UA)" userId="4e4b8b3d-5f31-49bb-9f80-8a25c04abfff" providerId="ADAL" clId="{EE97D3FE-9ACA-4467-98E5-532EC45D9D1C}" dt="2024-03-01T09:47:18.226" v="9057" actId="1076"/>
          <ac:spMkLst>
            <pc:docMk/>
            <pc:sldMk cId="2067837237" sldId="899"/>
            <ac:spMk id="50" creationId="{9AD9BCDB-1E9E-788D-9A3F-66335EA1644A}"/>
          </ac:spMkLst>
        </pc:spChg>
        <pc:spChg chg="add mod">
          <ac:chgData name="Nataliia Chornii (UA)" userId="4e4b8b3d-5f31-49bb-9f80-8a25c04abfff" providerId="ADAL" clId="{EE97D3FE-9ACA-4467-98E5-532EC45D9D1C}" dt="2024-03-01T09:47:18.226" v="9057" actId="1076"/>
          <ac:spMkLst>
            <pc:docMk/>
            <pc:sldMk cId="2067837237" sldId="899"/>
            <ac:spMk id="51" creationId="{ECC22457-F135-8C98-A349-CC508DDA20F2}"/>
          </ac:spMkLst>
        </pc:spChg>
        <pc:spChg chg="add mod">
          <ac:chgData name="Nataliia Chornii (UA)" userId="4e4b8b3d-5f31-49bb-9f80-8a25c04abfff" providerId="ADAL" clId="{EE97D3FE-9ACA-4467-98E5-532EC45D9D1C}" dt="2024-03-01T09:49:58.439" v="9164" actId="12789"/>
          <ac:spMkLst>
            <pc:docMk/>
            <pc:sldMk cId="2067837237" sldId="899"/>
            <ac:spMk id="52" creationId="{05743857-0CDF-A43A-5EA0-85F52B06DC59}"/>
          </ac:spMkLst>
        </pc:spChg>
        <pc:spChg chg="add mod">
          <ac:chgData name="Nataliia Chornii (UA)" userId="4e4b8b3d-5f31-49bb-9f80-8a25c04abfff" providerId="ADAL" clId="{EE97D3FE-9ACA-4467-98E5-532EC45D9D1C}" dt="2024-03-01T09:47:18.226" v="9057" actId="1076"/>
          <ac:spMkLst>
            <pc:docMk/>
            <pc:sldMk cId="2067837237" sldId="899"/>
            <ac:spMk id="53" creationId="{5E0B80E0-15A4-44DA-D0CB-1EFD5B42B5C8}"/>
          </ac:spMkLst>
        </pc:spChg>
        <pc:spChg chg="add mod">
          <ac:chgData name="Nataliia Chornii (UA)" userId="4e4b8b3d-5f31-49bb-9f80-8a25c04abfff" providerId="ADAL" clId="{EE97D3FE-9ACA-4467-98E5-532EC45D9D1C}" dt="2024-03-01T09:47:18.226" v="9057" actId="1076"/>
          <ac:spMkLst>
            <pc:docMk/>
            <pc:sldMk cId="2067837237" sldId="899"/>
            <ac:spMk id="54" creationId="{C75DD2F1-5D17-470B-3ED8-5421FE96E2B3}"/>
          </ac:spMkLst>
        </pc:spChg>
        <pc:spChg chg="add mod">
          <ac:chgData name="Nataliia Chornii (UA)" userId="4e4b8b3d-5f31-49bb-9f80-8a25c04abfff" providerId="ADAL" clId="{EE97D3FE-9ACA-4467-98E5-532EC45D9D1C}" dt="2024-03-01T09:47:18.226" v="9057" actId="1076"/>
          <ac:spMkLst>
            <pc:docMk/>
            <pc:sldMk cId="2067837237" sldId="899"/>
            <ac:spMk id="55" creationId="{6C2B476F-6CF6-01F8-AA2A-7A6F775F0248}"/>
          </ac:spMkLst>
        </pc:spChg>
        <pc:spChg chg="add mod">
          <ac:chgData name="Nataliia Chornii (UA)" userId="4e4b8b3d-5f31-49bb-9f80-8a25c04abfff" providerId="ADAL" clId="{EE97D3FE-9ACA-4467-98E5-532EC45D9D1C}" dt="2024-03-01T09:50:05.146" v="9170" actId="12788"/>
          <ac:spMkLst>
            <pc:docMk/>
            <pc:sldMk cId="2067837237" sldId="899"/>
            <ac:spMk id="56" creationId="{968930DB-9B23-525A-E054-12977143D86D}"/>
          </ac:spMkLst>
        </pc:spChg>
        <pc:spChg chg="del mod topLvl">
          <ac:chgData name="Nataliia Chornii (UA)" userId="4e4b8b3d-5f31-49bb-9f80-8a25c04abfff" providerId="ADAL" clId="{EE97D3FE-9ACA-4467-98E5-532EC45D9D1C}" dt="2024-03-01T09:49:07.277" v="9143" actId="478"/>
          <ac:spMkLst>
            <pc:docMk/>
            <pc:sldMk cId="2067837237" sldId="899"/>
            <ac:spMk id="59" creationId="{D3C7FAF1-E4E2-86B4-38AE-B2BAA96EF374}"/>
          </ac:spMkLst>
        </pc:spChg>
        <pc:spChg chg="del mod topLvl">
          <ac:chgData name="Nataliia Chornii (UA)" userId="4e4b8b3d-5f31-49bb-9f80-8a25c04abfff" providerId="ADAL" clId="{EE97D3FE-9ACA-4467-98E5-532EC45D9D1C}" dt="2024-03-01T09:49:07.277" v="9143" actId="478"/>
          <ac:spMkLst>
            <pc:docMk/>
            <pc:sldMk cId="2067837237" sldId="899"/>
            <ac:spMk id="60" creationId="{5A62B2EC-CB8F-3417-0AE8-849AEC77153B}"/>
          </ac:spMkLst>
        </pc:spChg>
        <pc:spChg chg="del mod topLvl">
          <ac:chgData name="Nataliia Chornii (UA)" userId="4e4b8b3d-5f31-49bb-9f80-8a25c04abfff" providerId="ADAL" clId="{EE97D3FE-9ACA-4467-98E5-532EC45D9D1C}" dt="2024-03-01T09:49:07.277" v="9143" actId="478"/>
          <ac:spMkLst>
            <pc:docMk/>
            <pc:sldMk cId="2067837237" sldId="899"/>
            <ac:spMk id="61" creationId="{16F82557-9389-F1F1-2304-8006322A6FDE}"/>
          </ac:spMkLst>
        </pc:spChg>
        <pc:spChg chg="del mod topLvl">
          <ac:chgData name="Nataliia Chornii (UA)" userId="4e4b8b3d-5f31-49bb-9f80-8a25c04abfff" providerId="ADAL" clId="{EE97D3FE-9ACA-4467-98E5-532EC45D9D1C}" dt="2024-03-01T09:49:07.277" v="9143" actId="478"/>
          <ac:spMkLst>
            <pc:docMk/>
            <pc:sldMk cId="2067837237" sldId="899"/>
            <ac:spMk id="62" creationId="{0B920AB4-021E-7BB8-39C6-B8EC0E9B6BC9}"/>
          </ac:spMkLst>
        </pc:spChg>
        <pc:spChg chg="del mod topLvl">
          <ac:chgData name="Nataliia Chornii (UA)" userId="4e4b8b3d-5f31-49bb-9f80-8a25c04abfff" providerId="ADAL" clId="{EE97D3FE-9ACA-4467-98E5-532EC45D9D1C}" dt="2024-03-01T09:49:07.277" v="9143" actId="478"/>
          <ac:spMkLst>
            <pc:docMk/>
            <pc:sldMk cId="2067837237" sldId="899"/>
            <ac:spMk id="63" creationId="{4A183527-5DCB-0674-AB73-46073BE91EF7}"/>
          </ac:spMkLst>
        </pc:spChg>
        <pc:spChg chg="del mod topLvl">
          <ac:chgData name="Nataliia Chornii (UA)" userId="4e4b8b3d-5f31-49bb-9f80-8a25c04abfff" providerId="ADAL" clId="{EE97D3FE-9ACA-4467-98E5-532EC45D9D1C}" dt="2024-03-01T09:49:07.277" v="9143" actId="478"/>
          <ac:spMkLst>
            <pc:docMk/>
            <pc:sldMk cId="2067837237" sldId="899"/>
            <ac:spMk id="64" creationId="{CAD622F6-C3D0-2FF2-09D9-D5118928C762}"/>
          </ac:spMkLst>
        </pc:spChg>
        <pc:spChg chg="add mod">
          <ac:chgData name="Nataliia Chornii (UA)" userId="4e4b8b3d-5f31-49bb-9f80-8a25c04abfff" providerId="ADAL" clId="{EE97D3FE-9ACA-4467-98E5-532EC45D9D1C}" dt="2024-03-01T09:49:58.439" v="9164" actId="12789"/>
          <ac:spMkLst>
            <pc:docMk/>
            <pc:sldMk cId="2067837237" sldId="899"/>
            <ac:spMk id="65" creationId="{DC677933-1B8A-C025-D261-38B3BC7D1CAB}"/>
          </ac:spMkLst>
        </pc:spChg>
        <pc:spChg chg="add mod">
          <ac:chgData name="Nataliia Chornii (UA)" userId="4e4b8b3d-5f31-49bb-9f80-8a25c04abfff" providerId="ADAL" clId="{EE97D3FE-9ACA-4467-98E5-532EC45D9D1C}" dt="2024-03-01T09:50:07.936" v="9171" actId="408"/>
          <ac:spMkLst>
            <pc:docMk/>
            <pc:sldMk cId="2067837237" sldId="899"/>
            <ac:spMk id="66" creationId="{845CCFB5-5C4C-F589-F3D4-D0E788F2288D}"/>
          </ac:spMkLst>
        </pc:spChg>
        <pc:spChg chg="add mod">
          <ac:chgData name="Nataliia Chornii (UA)" userId="4e4b8b3d-5f31-49bb-9f80-8a25c04abfff" providerId="ADAL" clId="{EE97D3FE-9ACA-4467-98E5-532EC45D9D1C}" dt="2024-03-01T09:50:07.936" v="9171" actId="408"/>
          <ac:spMkLst>
            <pc:docMk/>
            <pc:sldMk cId="2067837237" sldId="899"/>
            <ac:spMk id="67" creationId="{A50A144C-4C97-0872-3050-6D5F103E3262}"/>
          </ac:spMkLst>
        </pc:spChg>
        <pc:spChg chg="add mod">
          <ac:chgData name="Nataliia Chornii (UA)" userId="4e4b8b3d-5f31-49bb-9f80-8a25c04abfff" providerId="ADAL" clId="{EE97D3FE-9ACA-4467-98E5-532EC45D9D1C}" dt="2024-03-01T09:50:07.936" v="9171" actId="408"/>
          <ac:spMkLst>
            <pc:docMk/>
            <pc:sldMk cId="2067837237" sldId="899"/>
            <ac:spMk id="68" creationId="{34222193-1394-3356-2D2C-EB535CD93471}"/>
          </ac:spMkLst>
        </pc:spChg>
        <pc:spChg chg="add mod">
          <ac:chgData name="Nataliia Chornii (UA)" userId="4e4b8b3d-5f31-49bb-9f80-8a25c04abfff" providerId="ADAL" clId="{EE97D3FE-9ACA-4467-98E5-532EC45D9D1C}" dt="2024-03-01T09:50:05.146" v="9170" actId="12788"/>
          <ac:spMkLst>
            <pc:docMk/>
            <pc:sldMk cId="2067837237" sldId="899"/>
            <ac:spMk id="69" creationId="{8411A793-66D5-DBCC-A794-EB381877B75D}"/>
          </ac:spMkLst>
        </pc:spChg>
        <pc:grpChg chg="add del mod">
          <ac:chgData name="Nataliia Chornii (UA)" userId="4e4b8b3d-5f31-49bb-9f80-8a25c04abfff" providerId="ADAL" clId="{EE97D3FE-9ACA-4467-98E5-532EC45D9D1C}" dt="2024-03-11T14:21:39.997" v="23971" actId="165"/>
          <ac:grpSpMkLst>
            <pc:docMk/>
            <pc:sldMk cId="2067837237" sldId="899"/>
            <ac:grpSpMk id="12" creationId="{599F4E59-2B4D-12F4-6EC7-1D59E06E1DAB}"/>
          </ac:grpSpMkLst>
        </pc:grpChg>
        <pc:grpChg chg="add mod">
          <ac:chgData name="Nataliia Chornii (UA)" userId="4e4b8b3d-5f31-49bb-9f80-8a25c04abfff" providerId="ADAL" clId="{EE97D3FE-9ACA-4467-98E5-532EC45D9D1C}" dt="2024-03-11T14:22:26.329" v="24029" actId="164"/>
          <ac:grpSpMkLst>
            <pc:docMk/>
            <pc:sldMk cId="2067837237" sldId="899"/>
            <ac:grpSpMk id="23" creationId="{42EFEEDE-6CBD-2377-66ED-B2064FDA7EAB}"/>
          </ac:grpSpMkLst>
        </pc:grpChg>
        <pc:grpChg chg="add del mod">
          <ac:chgData name="Nataliia Chornii (UA)" userId="4e4b8b3d-5f31-49bb-9f80-8a25c04abfff" providerId="ADAL" clId="{EE97D3FE-9ACA-4467-98E5-532EC45D9D1C}" dt="2024-03-01T09:49:05.096" v="9142" actId="165"/>
          <ac:grpSpMkLst>
            <pc:docMk/>
            <pc:sldMk cId="2067837237" sldId="899"/>
            <ac:grpSpMk id="57" creationId="{2A296883-BFE4-3721-112F-2253B0AB6BC4}"/>
          </ac:grpSpMkLst>
        </pc:grpChg>
        <pc:graphicFrameChg chg="add mod ord modVis replST">
          <ac:chgData name="Nataliia Chornii (UA)" userId="4e4b8b3d-5f31-49bb-9f80-8a25c04abfff" providerId="ADAL" clId="{EE97D3FE-9ACA-4467-98E5-532EC45D9D1C}" dt="2024-03-01T09:49:09.599" v="9152"/>
          <ac:graphicFrameMkLst>
            <pc:docMk/>
            <pc:sldMk cId="2067837237" sldId="899"/>
            <ac:graphicFrameMk id="7" creationId="{4055D6C6-0BE1-4332-EFB4-363940C0A63C}"/>
          </ac:graphicFrameMkLst>
        </pc:graphicFrameChg>
        <pc:cxnChg chg="mod topLvl">
          <ac:chgData name="Nataliia Chornii (UA)" userId="4e4b8b3d-5f31-49bb-9f80-8a25c04abfff" providerId="ADAL" clId="{EE97D3FE-9ACA-4467-98E5-532EC45D9D1C}" dt="2024-03-01T09:49:17.695" v="9154" actId="1076"/>
          <ac:cxnSpMkLst>
            <pc:docMk/>
            <pc:sldMk cId="2067837237" sldId="899"/>
            <ac:cxnSpMk id="58" creationId="{40D223D7-59FB-34E8-848D-B3340127E7BE}"/>
          </ac:cxnSpMkLst>
        </pc:cxnChg>
      </pc:sldChg>
      <pc:sldChg chg="addSp delSp modSp mod">
        <pc:chgData name="Nataliia Chornii (UA)" userId="4e4b8b3d-5f31-49bb-9f80-8a25c04abfff" providerId="ADAL" clId="{EE97D3FE-9ACA-4467-98E5-532EC45D9D1C}" dt="2024-03-11T14:22:35.765" v="24030"/>
        <pc:sldMkLst>
          <pc:docMk/>
          <pc:sldMk cId="1735191326" sldId="900"/>
        </pc:sldMkLst>
        <pc:spChg chg="mod ord">
          <ac:chgData name="Nataliia Chornii (UA)" userId="4e4b8b3d-5f31-49bb-9f80-8a25c04abfff" providerId="ADAL" clId="{EE97D3FE-9ACA-4467-98E5-532EC45D9D1C}" dt="2024-03-01T09:46:26.352" v="8996"/>
          <ac:spMkLst>
            <pc:docMk/>
            <pc:sldMk cId="1735191326" sldId="900"/>
            <ac:spMk id="2" creationId="{C697EF02-3183-316C-47B1-AAA43503E885}"/>
          </ac:spMkLst>
        </pc:spChg>
        <pc:spChg chg="mod ord">
          <ac:chgData name="Nataliia Chornii (UA)" userId="4e4b8b3d-5f31-49bb-9f80-8a25c04abfff" providerId="ADAL" clId="{EE97D3FE-9ACA-4467-98E5-532EC45D9D1C}" dt="2024-03-01T09:46:26.352" v="8990"/>
          <ac:spMkLst>
            <pc:docMk/>
            <pc:sldMk cId="1735191326" sldId="900"/>
            <ac:spMk id="3" creationId="{02A7C9EB-E60F-E4DD-7BE8-A36BF399BA1F}"/>
          </ac:spMkLst>
        </pc:spChg>
        <pc:spChg chg="mod ord">
          <ac:chgData name="Nataliia Chornii (UA)" userId="4e4b8b3d-5f31-49bb-9f80-8a25c04abfff" providerId="ADAL" clId="{EE97D3FE-9ACA-4467-98E5-532EC45D9D1C}" dt="2024-03-01T09:46:26.352" v="8992"/>
          <ac:spMkLst>
            <pc:docMk/>
            <pc:sldMk cId="1735191326" sldId="900"/>
            <ac:spMk id="4" creationId="{D7358D30-8A69-1769-6574-925287413D76}"/>
          </ac:spMkLst>
        </pc:spChg>
        <pc:spChg chg="del">
          <ac:chgData name="Nataliia Chornii (UA)" userId="4e4b8b3d-5f31-49bb-9f80-8a25c04abfff" providerId="ADAL" clId="{EE97D3FE-9ACA-4467-98E5-532EC45D9D1C}" dt="2024-03-01T09:39:16.235" v="8493" actId="478"/>
          <ac:spMkLst>
            <pc:docMk/>
            <pc:sldMk cId="1735191326" sldId="900"/>
            <ac:spMk id="5" creationId="{0B17BD84-88AC-98C1-0560-846DD233D35D}"/>
          </ac:spMkLst>
        </pc:spChg>
        <pc:spChg chg="add mod">
          <ac:chgData name="Nataliia Chornii (UA)" userId="4e4b8b3d-5f31-49bb-9f80-8a25c04abfff" providerId="ADAL" clId="{EE97D3FE-9ACA-4467-98E5-532EC45D9D1C}" dt="2024-03-11T14:22:35.765" v="24030"/>
          <ac:spMkLst>
            <pc:docMk/>
            <pc:sldMk cId="1735191326" sldId="900"/>
            <ac:spMk id="5" creationId="{775EC90E-5DCE-2B24-A5AB-0F9245BDD3E7}"/>
          </ac:spMkLst>
        </pc:spChg>
        <pc:spChg chg="del">
          <ac:chgData name="Nataliia Chornii (UA)" userId="4e4b8b3d-5f31-49bb-9f80-8a25c04abfff" providerId="ADAL" clId="{EE97D3FE-9ACA-4467-98E5-532EC45D9D1C}" dt="2024-03-01T09:39:16.235" v="8493" actId="478"/>
          <ac:spMkLst>
            <pc:docMk/>
            <pc:sldMk cId="1735191326" sldId="900"/>
            <ac:spMk id="6" creationId="{85A3FF08-7671-32B6-5C7B-EA4FB751C16A}"/>
          </ac:spMkLst>
        </pc:spChg>
        <pc:spChg chg="add del mod modVis">
          <ac:chgData name="Nataliia Chornii (UA)" userId="4e4b8b3d-5f31-49bb-9f80-8a25c04abfff" providerId="ADAL" clId="{EE97D3FE-9ACA-4467-98E5-532EC45D9D1C}" dt="2024-03-01T08:48:59.046" v="1140"/>
          <ac:spMkLst>
            <pc:docMk/>
            <pc:sldMk cId="1735191326" sldId="900"/>
            <ac:spMk id="7" creationId="{5C461453-637A-57A7-A162-2A2A4549E3EE}"/>
          </ac:spMkLst>
        </pc:spChg>
        <pc:spChg chg="mod">
          <ac:chgData name="Nataliia Chornii (UA)" userId="4e4b8b3d-5f31-49bb-9f80-8a25c04abfff" providerId="ADAL" clId="{EE97D3FE-9ACA-4467-98E5-532EC45D9D1C}" dt="2024-03-11T14:22:35.765" v="24030"/>
          <ac:spMkLst>
            <pc:docMk/>
            <pc:sldMk cId="1735191326" sldId="900"/>
            <ac:spMk id="7" creationId="{FD2B3D1E-AD95-A74D-FB6E-3BEB3BE67A20}"/>
          </ac:spMkLst>
        </pc:spChg>
        <pc:spChg chg="mod">
          <ac:chgData name="Nataliia Chornii (UA)" userId="4e4b8b3d-5f31-49bb-9f80-8a25c04abfff" providerId="ADAL" clId="{EE97D3FE-9ACA-4467-98E5-532EC45D9D1C}" dt="2024-03-11T14:22:35.765" v="24030"/>
          <ac:spMkLst>
            <pc:docMk/>
            <pc:sldMk cId="1735191326" sldId="900"/>
            <ac:spMk id="8" creationId="{0D78293A-C74F-1335-8212-2305127ACD61}"/>
          </ac:spMkLst>
        </pc:spChg>
        <pc:spChg chg="del">
          <ac:chgData name="Nataliia Chornii (UA)" userId="4e4b8b3d-5f31-49bb-9f80-8a25c04abfff" providerId="ADAL" clId="{EE97D3FE-9ACA-4467-98E5-532EC45D9D1C}" dt="2024-03-01T09:39:06.670" v="8490" actId="478"/>
          <ac:spMkLst>
            <pc:docMk/>
            <pc:sldMk cId="1735191326" sldId="900"/>
            <ac:spMk id="8" creationId="{6780DFA8-A076-77AE-8C21-E7D9C3E8632C}"/>
          </ac:spMkLst>
        </pc:spChg>
        <pc:spChg chg="add del mod modVis">
          <ac:chgData name="Nataliia Chornii (UA)" userId="4e4b8b3d-5f31-49bb-9f80-8a25c04abfff" providerId="ADAL" clId="{EE97D3FE-9ACA-4467-98E5-532EC45D9D1C}" dt="2024-03-01T08:49:33.677" v="2766"/>
          <ac:spMkLst>
            <pc:docMk/>
            <pc:sldMk cId="1735191326" sldId="900"/>
            <ac:spMk id="10" creationId="{978757F9-C2A3-1ADD-71D9-19DAA37F6789}"/>
          </ac:spMkLst>
        </pc:spChg>
        <pc:spChg chg="mod">
          <ac:chgData name="Nataliia Chornii (UA)" userId="4e4b8b3d-5f31-49bb-9f80-8a25c04abfff" providerId="ADAL" clId="{EE97D3FE-9ACA-4467-98E5-532EC45D9D1C}" dt="2024-03-11T14:22:35.765" v="24030"/>
          <ac:spMkLst>
            <pc:docMk/>
            <pc:sldMk cId="1735191326" sldId="900"/>
            <ac:spMk id="10" creationId="{D2FB12B5-A789-9937-D320-F306F221F4BF}"/>
          </ac:spMkLst>
        </pc:spChg>
        <pc:spChg chg="mod">
          <ac:chgData name="Nataliia Chornii (UA)" userId="4e4b8b3d-5f31-49bb-9f80-8a25c04abfff" providerId="ADAL" clId="{EE97D3FE-9ACA-4467-98E5-532EC45D9D1C}" dt="2024-03-11T14:22:35.765" v="24030"/>
          <ac:spMkLst>
            <pc:docMk/>
            <pc:sldMk cId="1735191326" sldId="900"/>
            <ac:spMk id="11" creationId="{00EA6F79-EF7C-9A4F-4131-6CCE0536F341}"/>
          </ac:spMkLst>
        </pc:spChg>
        <pc:spChg chg="add del mod modVis">
          <ac:chgData name="Nataliia Chornii (UA)" userId="4e4b8b3d-5f31-49bb-9f80-8a25c04abfff" providerId="ADAL" clId="{EE97D3FE-9ACA-4467-98E5-532EC45D9D1C}" dt="2024-03-01T08:49:59.741" v="3754"/>
          <ac:spMkLst>
            <pc:docMk/>
            <pc:sldMk cId="1735191326" sldId="900"/>
            <ac:spMk id="11" creationId="{27478A5C-DB92-CD34-E904-EDF6ED59F01F}"/>
          </ac:spMkLst>
        </pc:spChg>
        <pc:spChg chg="mod">
          <ac:chgData name="Nataliia Chornii (UA)" userId="4e4b8b3d-5f31-49bb-9f80-8a25c04abfff" providerId="ADAL" clId="{EE97D3FE-9ACA-4467-98E5-532EC45D9D1C}" dt="2024-03-11T14:22:35.765" v="24030"/>
          <ac:spMkLst>
            <pc:docMk/>
            <pc:sldMk cId="1735191326" sldId="900"/>
            <ac:spMk id="12" creationId="{A51AE326-133D-5E97-22A0-4425C676544E}"/>
          </ac:spMkLst>
        </pc:spChg>
        <pc:spChg chg="add del mod modVis">
          <ac:chgData name="Nataliia Chornii (UA)" userId="4e4b8b3d-5f31-49bb-9f80-8a25c04abfff" providerId="ADAL" clId="{EE97D3FE-9ACA-4467-98E5-532EC45D9D1C}" dt="2024-03-01T08:51:26.043" v="4742"/>
          <ac:spMkLst>
            <pc:docMk/>
            <pc:sldMk cId="1735191326" sldId="900"/>
            <ac:spMk id="12" creationId="{E01C8159-B252-B5FB-909A-A52F671AD1BA}"/>
          </ac:spMkLst>
        </pc:spChg>
        <pc:spChg chg="add del mod modVis">
          <ac:chgData name="Nataliia Chornii (UA)" userId="4e4b8b3d-5f31-49bb-9f80-8a25c04abfff" providerId="ADAL" clId="{EE97D3FE-9ACA-4467-98E5-532EC45D9D1C}" dt="2024-03-01T08:51:56.063" v="5731"/>
          <ac:spMkLst>
            <pc:docMk/>
            <pc:sldMk cId="1735191326" sldId="900"/>
            <ac:spMk id="13" creationId="{C77C3830-D694-0143-B15E-579B5CDC58D2}"/>
          </ac:spMkLst>
        </pc:spChg>
        <pc:spChg chg="mod">
          <ac:chgData name="Nataliia Chornii (UA)" userId="4e4b8b3d-5f31-49bb-9f80-8a25c04abfff" providerId="ADAL" clId="{EE97D3FE-9ACA-4467-98E5-532EC45D9D1C}" dt="2024-03-11T14:22:35.765" v="24030"/>
          <ac:spMkLst>
            <pc:docMk/>
            <pc:sldMk cId="1735191326" sldId="900"/>
            <ac:spMk id="13" creationId="{EF408812-6A8C-BBBB-2400-49E5D3E443FB}"/>
          </ac:spMkLst>
        </pc:spChg>
        <pc:spChg chg="add del mod modVis">
          <ac:chgData name="Nataliia Chornii (UA)" userId="4e4b8b3d-5f31-49bb-9f80-8a25c04abfff" providerId="ADAL" clId="{EE97D3FE-9ACA-4467-98E5-532EC45D9D1C}" dt="2024-03-01T08:52:18.218" v="6719"/>
          <ac:spMkLst>
            <pc:docMk/>
            <pc:sldMk cId="1735191326" sldId="900"/>
            <ac:spMk id="14" creationId="{DEF1CCE7-F7FC-6B58-D199-CF9F1DEFE188}"/>
          </ac:spMkLst>
        </pc:spChg>
        <pc:spChg chg="add del mod modVis">
          <ac:chgData name="Nataliia Chornii (UA)" userId="4e4b8b3d-5f31-49bb-9f80-8a25c04abfff" providerId="ADAL" clId="{EE97D3FE-9ACA-4467-98E5-532EC45D9D1C}" dt="2024-03-01T09:37:25.895" v="8460"/>
          <ac:spMkLst>
            <pc:docMk/>
            <pc:sldMk cId="1735191326" sldId="900"/>
            <ac:spMk id="15" creationId="{2591292E-D8C8-6E13-7A49-16D0B494AD15}"/>
          </ac:spMkLst>
        </pc:spChg>
        <pc:spChg chg="add mod ord">
          <ac:chgData name="Nataliia Chornii (UA)" userId="4e4b8b3d-5f31-49bb-9f80-8a25c04abfff" providerId="ADAL" clId="{EE97D3FE-9ACA-4467-98E5-532EC45D9D1C}" dt="2024-03-01T09:46:26.352" v="8998"/>
          <ac:spMkLst>
            <pc:docMk/>
            <pc:sldMk cId="1735191326" sldId="900"/>
            <ac:spMk id="16" creationId="{BA798A18-B6C9-5AD5-0309-542D9063F7F3}"/>
          </ac:spMkLst>
        </pc:spChg>
        <pc:spChg chg="add mod ord">
          <ac:chgData name="Nataliia Chornii (UA)" userId="4e4b8b3d-5f31-49bb-9f80-8a25c04abfff" providerId="ADAL" clId="{EE97D3FE-9ACA-4467-98E5-532EC45D9D1C}" dt="2024-03-01T09:46:26.352" v="9000"/>
          <ac:spMkLst>
            <pc:docMk/>
            <pc:sldMk cId="1735191326" sldId="900"/>
            <ac:spMk id="17" creationId="{8151CA2C-8981-B68D-64B7-28A4A90DA327}"/>
          </ac:spMkLst>
        </pc:spChg>
        <pc:spChg chg="mod">
          <ac:chgData name="Nataliia Chornii (UA)" userId="4e4b8b3d-5f31-49bb-9f80-8a25c04abfff" providerId="ADAL" clId="{EE97D3FE-9ACA-4467-98E5-532EC45D9D1C}" dt="2024-03-01T09:40:23.586" v="8497"/>
          <ac:spMkLst>
            <pc:docMk/>
            <pc:sldMk cId="1735191326" sldId="900"/>
            <ac:spMk id="19" creationId="{E2DA1586-CCB8-A79F-6F44-B1FF87521F83}"/>
          </ac:spMkLst>
        </pc:spChg>
        <pc:spChg chg="mod">
          <ac:chgData name="Nataliia Chornii (UA)" userId="4e4b8b3d-5f31-49bb-9f80-8a25c04abfff" providerId="ADAL" clId="{EE97D3FE-9ACA-4467-98E5-532EC45D9D1C}" dt="2024-03-01T09:40:23.586" v="8497"/>
          <ac:spMkLst>
            <pc:docMk/>
            <pc:sldMk cId="1735191326" sldId="900"/>
            <ac:spMk id="20" creationId="{9474AE06-C533-880F-F864-C516A6DD22FA}"/>
          </ac:spMkLst>
        </pc:spChg>
        <pc:spChg chg="del mod">
          <ac:chgData name="Nataliia Chornii (UA)" userId="4e4b8b3d-5f31-49bb-9f80-8a25c04abfff" providerId="ADAL" clId="{EE97D3FE-9ACA-4467-98E5-532EC45D9D1C}" dt="2024-03-01T09:43:39.768" v="8724" actId="478"/>
          <ac:spMkLst>
            <pc:docMk/>
            <pc:sldMk cId="1735191326" sldId="900"/>
            <ac:spMk id="21" creationId="{7AE0AAE5-4EC9-DD53-56C2-33377686F8EF}"/>
          </ac:spMkLst>
        </pc:spChg>
        <pc:spChg chg="del mod">
          <ac:chgData name="Nataliia Chornii (UA)" userId="4e4b8b3d-5f31-49bb-9f80-8a25c04abfff" providerId="ADAL" clId="{EE97D3FE-9ACA-4467-98E5-532EC45D9D1C}" dt="2024-03-01T09:43:39.768" v="8724" actId="478"/>
          <ac:spMkLst>
            <pc:docMk/>
            <pc:sldMk cId="1735191326" sldId="900"/>
            <ac:spMk id="22" creationId="{EC93622C-265E-D387-2605-AE4A4548EFAD}"/>
          </ac:spMkLst>
        </pc:spChg>
        <pc:spChg chg="del mod">
          <ac:chgData name="Nataliia Chornii (UA)" userId="4e4b8b3d-5f31-49bb-9f80-8a25c04abfff" providerId="ADAL" clId="{EE97D3FE-9ACA-4467-98E5-532EC45D9D1C}" dt="2024-03-01T09:43:39.768" v="8724" actId="478"/>
          <ac:spMkLst>
            <pc:docMk/>
            <pc:sldMk cId="1735191326" sldId="900"/>
            <ac:spMk id="23" creationId="{1B89C6A7-D4E1-CA3E-6BF6-16634CCB8552}"/>
          </ac:spMkLst>
        </pc:spChg>
        <pc:spChg chg="del mod">
          <ac:chgData name="Nataliia Chornii (UA)" userId="4e4b8b3d-5f31-49bb-9f80-8a25c04abfff" providerId="ADAL" clId="{EE97D3FE-9ACA-4467-98E5-532EC45D9D1C}" dt="2024-03-01T09:43:39.768" v="8724" actId="478"/>
          <ac:spMkLst>
            <pc:docMk/>
            <pc:sldMk cId="1735191326" sldId="900"/>
            <ac:spMk id="24" creationId="{5FEC99C6-C046-6B8B-B626-B348A583E386}"/>
          </ac:spMkLst>
        </pc:spChg>
        <pc:spChg chg="del mod">
          <ac:chgData name="Nataliia Chornii (UA)" userId="4e4b8b3d-5f31-49bb-9f80-8a25c04abfff" providerId="ADAL" clId="{EE97D3FE-9ACA-4467-98E5-532EC45D9D1C}" dt="2024-03-01T09:43:35.291" v="8722" actId="478"/>
          <ac:spMkLst>
            <pc:docMk/>
            <pc:sldMk cId="1735191326" sldId="900"/>
            <ac:spMk id="25" creationId="{E3A1C324-4553-CB6A-8B81-8B007C858F90}"/>
          </ac:spMkLst>
        </pc:spChg>
        <pc:spChg chg="add mod ord">
          <ac:chgData name="Nataliia Chornii (UA)" userId="4e4b8b3d-5f31-49bb-9f80-8a25c04abfff" providerId="ADAL" clId="{EE97D3FE-9ACA-4467-98E5-532EC45D9D1C}" dt="2024-03-01T09:46:26.352" v="9002"/>
          <ac:spMkLst>
            <pc:docMk/>
            <pc:sldMk cId="1735191326" sldId="900"/>
            <ac:spMk id="26" creationId="{65EC1BE1-13D8-345C-448E-BFA1A08ADD25}"/>
          </ac:spMkLst>
        </pc:spChg>
        <pc:spChg chg="del mod">
          <ac:chgData name="Nataliia Chornii (UA)" userId="4e4b8b3d-5f31-49bb-9f80-8a25c04abfff" providerId="ADAL" clId="{EE97D3FE-9ACA-4467-98E5-532EC45D9D1C}" dt="2024-03-01T09:43:39.768" v="8724" actId="478"/>
          <ac:spMkLst>
            <pc:docMk/>
            <pc:sldMk cId="1735191326" sldId="900"/>
            <ac:spMk id="27" creationId="{8ED5A468-3446-C52F-684C-4DAFAC567CBD}"/>
          </ac:spMkLst>
        </pc:spChg>
        <pc:spChg chg="del mod">
          <ac:chgData name="Nataliia Chornii (UA)" userId="4e4b8b3d-5f31-49bb-9f80-8a25c04abfff" providerId="ADAL" clId="{EE97D3FE-9ACA-4467-98E5-532EC45D9D1C}" dt="2024-03-01T09:43:39.768" v="8724" actId="478"/>
          <ac:spMkLst>
            <pc:docMk/>
            <pc:sldMk cId="1735191326" sldId="900"/>
            <ac:spMk id="28" creationId="{4D83F920-03F2-22B6-3A4C-F3510C600538}"/>
          </ac:spMkLst>
        </pc:spChg>
        <pc:spChg chg="del mod">
          <ac:chgData name="Nataliia Chornii (UA)" userId="4e4b8b3d-5f31-49bb-9f80-8a25c04abfff" providerId="ADAL" clId="{EE97D3FE-9ACA-4467-98E5-532EC45D9D1C}" dt="2024-03-01T09:43:39.768" v="8724" actId="478"/>
          <ac:spMkLst>
            <pc:docMk/>
            <pc:sldMk cId="1735191326" sldId="900"/>
            <ac:spMk id="29" creationId="{A36EBB3A-5319-594E-ADF6-54CF90574679}"/>
          </ac:spMkLst>
        </pc:spChg>
        <pc:spChg chg="mod ord">
          <ac:chgData name="Nataliia Chornii (UA)" userId="4e4b8b3d-5f31-49bb-9f80-8a25c04abfff" providerId="ADAL" clId="{EE97D3FE-9ACA-4467-98E5-532EC45D9D1C}" dt="2024-03-01T09:46:26.352" v="8994"/>
          <ac:spMkLst>
            <pc:docMk/>
            <pc:sldMk cId="1735191326" sldId="900"/>
            <ac:spMk id="30" creationId="{0E5402E0-269A-92B5-BC8D-30D2207F23A4}"/>
          </ac:spMkLst>
        </pc:spChg>
        <pc:spChg chg="del mod">
          <ac:chgData name="Nataliia Chornii (UA)" userId="4e4b8b3d-5f31-49bb-9f80-8a25c04abfff" providerId="ADAL" clId="{EE97D3FE-9ACA-4467-98E5-532EC45D9D1C}" dt="2024-03-01T09:42:28.061" v="8699" actId="478"/>
          <ac:spMkLst>
            <pc:docMk/>
            <pc:sldMk cId="1735191326" sldId="900"/>
            <ac:spMk id="31" creationId="{873D60D4-E5D9-76E3-AEF9-264F4B971AF2}"/>
          </ac:spMkLst>
        </pc:spChg>
        <pc:spChg chg="del mod">
          <ac:chgData name="Nataliia Chornii (UA)" userId="4e4b8b3d-5f31-49bb-9f80-8a25c04abfff" providerId="ADAL" clId="{EE97D3FE-9ACA-4467-98E5-532EC45D9D1C}" dt="2024-03-01T09:42:28.061" v="8699" actId="478"/>
          <ac:spMkLst>
            <pc:docMk/>
            <pc:sldMk cId="1735191326" sldId="900"/>
            <ac:spMk id="32" creationId="{828F63E3-7455-B74D-F267-F3ABBA37707E}"/>
          </ac:spMkLst>
        </pc:spChg>
        <pc:spChg chg="del mod">
          <ac:chgData name="Nataliia Chornii (UA)" userId="4e4b8b3d-5f31-49bb-9f80-8a25c04abfff" providerId="ADAL" clId="{EE97D3FE-9ACA-4467-98E5-532EC45D9D1C}" dt="2024-03-01T09:42:28.061" v="8699" actId="478"/>
          <ac:spMkLst>
            <pc:docMk/>
            <pc:sldMk cId="1735191326" sldId="900"/>
            <ac:spMk id="33" creationId="{5F327F10-6150-0B2C-F4B7-AC6868A99C72}"/>
          </ac:spMkLst>
        </pc:spChg>
        <pc:spChg chg="del mod">
          <ac:chgData name="Nataliia Chornii (UA)" userId="4e4b8b3d-5f31-49bb-9f80-8a25c04abfff" providerId="ADAL" clId="{EE97D3FE-9ACA-4467-98E5-532EC45D9D1C}" dt="2024-03-01T09:42:28.061" v="8699" actId="478"/>
          <ac:spMkLst>
            <pc:docMk/>
            <pc:sldMk cId="1735191326" sldId="900"/>
            <ac:spMk id="34" creationId="{EA15E7A7-0EEE-9431-1144-1E3F177D6BC3}"/>
          </ac:spMkLst>
        </pc:spChg>
        <pc:spChg chg="del">
          <ac:chgData name="Nataliia Chornii (UA)" userId="4e4b8b3d-5f31-49bb-9f80-8a25c04abfff" providerId="ADAL" clId="{EE97D3FE-9ACA-4467-98E5-532EC45D9D1C}" dt="2024-03-01T09:43:37.889" v="8723" actId="478"/>
          <ac:spMkLst>
            <pc:docMk/>
            <pc:sldMk cId="1735191326" sldId="900"/>
            <ac:spMk id="35" creationId="{E26A329B-76CE-04FA-D6CD-A9A7093BE66A}"/>
          </ac:spMkLst>
        </pc:spChg>
        <pc:spChg chg="add del mod modVis">
          <ac:chgData name="Nataliia Chornii (UA)" userId="4e4b8b3d-5f31-49bb-9f80-8a25c04abfff" providerId="ADAL" clId="{EE97D3FE-9ACA-4467-98E5-532EC45D9D1C}" dt="2024-03-01T09:41:41.294" v="8634"/>
          <ac:spMkLst>
            <pc:docMk/>
            <pc:sldMk cId="1735191326" sldId="900"/>
            <ac:spMk id="36" creationId="{19649213-F3BD-BEE4-0924-01FE605DB8E5}"/>
          </ac:spMkLst>
        </pc:spChg>
        <pc:spChg chg="add del mod modVis">
          <ac:chgData name="Nataliia Chornii (UA)" userId="4e4b8b3d-5f31-49bb-9f80-8a25c04abfff" providerId="ADAL" clId="{EE97D3FE-9ACA-4467-98E5-532EC45D9D1C}" dt="2024-03-01T09:41:43.110" v="8672"/>
          <ac:spMkLst>
            <pc:docMk/>
            <pc:sldMk cId="1735191326" sldId="900"/>
            <ac:spMk id="37" creationId="{89FFEF4B-A020-3652-FBF4-AECD16F743CA}"/>
          </ac:spMkLst>
        </pc:spChg>
        <pc:spChg chg="add mod ord topLvl">
          <ac:chgData name="Nataliia Chornii (UA)" userId="4e4b8b3d-5f31-49bb-9f80-8a25c04abfff" providerId="ADAL" clId="{EE97D3FE-9ACA-4467-98E5-532EC45D9D1C}" dt="2024-03-01T09:46:26.352" v="9004"/>
          <ac:spMkLst>
            <pc:docMk/>
            <pc:sldMk cId="1735191326" sldId="900"/>
            <ac:spMk id="38" creationId="{B3BF45B1-878A-6384-B57A-0E2DDAE87F72}"/>
          </ac:spMkLst>
        </pc:spChg>
        <pc:spChg chg="add mod ord topLvl">
          <ac:chgData name="Nataliia Chornii (UA)" userId="4e4b8b3d-5f31-49bb-9f80-8a25c04abfff" providerId="ADAL" clId="{EE97D3FE-9ACA-4467-98E5-532EC45D9D1C}" dt="2024-03-01T09:46:26.352" v="9006"/>
          <ac:spMkLst>
            <pc:docMk/>
            <pc:sldMk cId="1735191326" sldId="900"/>
            <ac:spMk id="39" creationId="{6FBC0546-09C1-004A-40CC-EF2125A3E636}"/>
          </ac:spMkLst>
        </pc:spChg>
        <pc:spChg chg="add mod ord topLvl">
          <ac:chgData name="Nataliia Chornii (UA)" userId="4e4b8b3d-5f31-49bb-9f80-8a25c04abfff" providerId="ADAL" clId="{EE97D3FE-9ACA-4467-98E5-532EC45D9D1C}" dt="2024-03-01T09:46:26.352" v="9008"/>
          <ac:spMkLst>
            <pc:docMk/>
            <pc:sldMk cId="1735191326" sldId="900"/>
            <ac:spMk id="40" creationId="{57B73D69-1346-AB3E-2B83-74CE4618BD54}"/>
          </ac:spMkLst>
        </pc:spChg>
        <pc:spChg chg="mod ord topLvl">
          <ac:chgData name="Nataliia Chornii (UA)" userId="4e4b8b3d-5f31-49bb-9f80-8a25c04abfff" providerId="ADAL" clId="{EE97D3FE-9ACA-4467-98E5-532EC45D9D1C}" dt="2024-03-01T09:46:26.368" v="9010"/>
          <ac:spMkLst>
            <pc:docMk/>
            <pc:sldMk cId="1735191326" sldId="900"/>
            <ac:spMk id="43" creationId="{B7165ACE-6816-8C1A-0E1A-FCA6963F41F4}"/>
          </ac:spMkLst>
        </pc:spChg>
        <pc:spChg chg="mod ord topLvl">
          <ac:chgData name="Nataliia Chornii (UA)" userId="4e4b8b3d-5f31-49bb-9f80-8a25c04abfff" providerId="ADAL" clId="{EE97D3FE-9ACA-4467-98E5-532EC45D9D1C}" dt="2024-03-01T09:46:26.368" v="9012"/>
          <ac:spMkLst>
            <pc:docMk/>
            <pc:sldMk cId="1735191326" sldId="900"/>
            <ac:spMk id="44" creationId="{7B06B257-212B-0CF9-9F65-466A796A3B21}"/>
          </ac:spMkLst>
        </pc:spChg>
        <pc:spChg chg="mod ord topLvl">
          <ac:chgData name="Nataliia Chornii (UA)" userId="4e4b8b3d-5f31-49bb-9f80-8a25c04abfff" providerId="ADAL" clId="{EE97D3FE-9ACA-4467-98E5-532EC45D9D1C}" dt="2024-03-01T09:46:26.368" v="9014"/>
          <ac:spMkLst>
            <pc:docMk/>
            <pc:sldMk cId="1735191326" sldId="900"/>
            <ac:spMk id="45" creationId="{D55CC03F-D983-B21C-EA37-379DE9F97A03}"/>
          </ac:spMkLst>
        </pc:spChg>
        <pc:spChg chg="mod ord topLvl">
          <ac:chgData name="Nataliia Chornii (UA)" userId="4e4b8b3d-5f31-49bb-9f80-8a25c04abfff" providerId="ADAL" clId="{EE97D3FE-9ACA-4467-98E5-532EC45D9D1C}" dt="2024-03-01T09:46:26.368" v="9016"/>
          <ac:spMkLst>
            <pc:docMk/>
            <pc:sldMk cId="1735191326" sldId="900"/>
            <ac:spMk id="47" creationId="{2DD24A6F-2555-7D50-6B9E-19589A959683}"/>
          </ac:spMkLst>
        </pc:spChg>
        <pc:spChg chg="mod ord topLvl">
          <ac:chgData name="Nataliia Chornii (UA)" userId="4e4b8b3d-5f31-49bb-9f80-8a25c04abfff" providerId="ADAL" clId="{EE97D3FE-9ACA-4467-98E5-532EC45D9D1C}" dt="2024-03-01T09:46:26.368" v="9018"/>
          <ac:spMkLst>
            <pc:docMk/>
            <pc:sldMk cId="1735191326" sldId="900"/>
            <ac:spMk id="48" creationId="{CAAFFC2F-2EFD-CD7C-DEEE-DBA02C9CB423}"/>
          </ac:spMkLst>
        </pc:spChg>
        <pc:spChg chg="mod ord topLvl">
          <ac:chgData name="Nataliia Chornii (UA)" userId="4e4b8b3d-5f31-49bb-9f80-8a25c04abfff" providerId="ADAL" clId="{EE97D3FE-9ACA-4467-98E5-532EC45D9D1C}" dt="2024-03-01T09:46:26.368" v="9020"/>
          <ac:spMkLst>
            <pc:docMk/>
            <pc:sldMk cId="1735191326" sldId="900"/>
            <ac:spMk id="49" creationId="{53548C78-2935-71B8-851B-769FCB896034}"/>
          </ac:spMkLst>
        </pc:spChg>
        <pc:spChg chg="mod">
          <ac:chgData name="Nataliia Chornii (UA)" userId="4e4b8b3d-5f31-49bb-9f80-8a25c04abfff" providerId="ADAL" clId="{EE97D3FE-9ACA-4467-98E5-532EC45D9D1C}" dt="2024-03-01T09:42:10.296" v="8688" actId="571"/>
          <ac:spMkLst>
            <pc:docMk/>
            <pc:sldMk cId="1735191326" sldId="900"/>
            <ac:spMk id="51" creationId="{031C9E39-EFEB-1D9B-C790-AD12E36F2AAA}"/>
          </ac:spMkLst>
        </pc:spChg>
        <pc:spChg chg="mod">
          <ac:chgData name="Nataliia Chornii (UA)" userId="4e4b8b3d-5f31-49bb-9f80-8a25c04abfff" providerId="ADAL" clId="{EE97D3FE-9ACA-4467-98E5-532EC45D9D1C}" dt="2024-03-01T09:42:10.296" v="8688" actId="571"/>
          <ac:spMkLst>
            <pc:docMk/>
            <pc:sldMk cId="1735191326" sldId="900"/>
            <ac:spMk id="52" creationId="{2BD843A2-DD40-3CBD-0AB1-A4CF28788AEE}"/>
          </ac:spMkLst>
        </pc:spChg>
        <pc:spChg chg="mod">
          <ac:chgData name="Nataliia Chornii (UA)" userId="4e4b8b3d-5f31-49bb-9f80-8a25c04abfff" providerId="ADAL" clId="{EE97D3FE-9ACA-4467-98E5-532EC45D9D1C}" dt="2024-03-01T09:42:10.296" v="8688" actId="571"/>
          <ac:spMkLst>
            <pc:docMk/>
            <pc:sldMk cId="1735191326" sldId="900"/>
            <ac:spMk id="53" creationId="{C8C5B69A-3C11-93CC-5DAA-BD028FCFFAE4}"/>
          </ac:spMkLst>
        </pc:spChg>
        <pc:spChg chg="mod ord topLvl">
          <ac:chgData name="Nataliia Chornii (UA)" userId="4e4b8b3d-5f31-49bb-9f80-8a25c04abfff" providerId="ADAL" clId="{EE97D3FE-9ACA-4467-98E5-532EC45D9D1C}" dt="2024-03-01T09:46:26.368" v="9022"/>
          <ac:spMkLst>
            <pc:docMk/>
            <pc:sldMk cId="1735191326" sldId="900"/>
            <ac:spMk id="55" creationId="{D19AF0DB-E5A6-2252-087C-6AA7A679E44D}"/>
          </ac:spMkLst>
        </pc:spChg>
        <pc:spChg chg="mod ord topLvl">
          <ac:chgData name="Nataliia Chornii (UA)" userId="4e4b8b3d-5f31-49bb-9f80-8a25c04abfff" providerId="ADAL" clId="{EE97D3FE-9ACA-4467-98E5-532EC45D9D1C}" dt="2024-03-01T09:46:26.368" v="9024"/>
          <ac:spMkLst>
            <pc:docMk/>
            <pc:sldMk cId="1735191326" sldId="900"/>
            <ac:spMk id="56" creationId="{3A969FC1-A5DF-7F7A-364B-B4B37D4AA186}"/>
          </ac:spMkLst>
        </pc:spChg>
        <pc:spChg chg="mod ord topLvl">
          <ac:chgData name="Nataliia Chornii (UA)" userId="4e4b8b3d-5f31-49bb-9f80-8a25c04abfff" providerId="ADAL" clId="{EE97D3FE-9ACA-4467-98E5-532EC45D9D1C}" dt="2024-03-01T09:46:26.368" v="9026"/>
          <ac:spMkLst>
            <pc:docMk/>
            <pc:sldMk cId="1735191326" sldId="900"/>
            <ac:spMk id="57" creationId="{6E357888-D229-2881-630B-92EDB810D202}"/>
          </ac:spMkLst>
        </pc:spChg>
        <pc:spChg chg="add mod ord">
          <ac:chgData name="Nataliia Chornii (UA)" userId="4e4b8b3d-5f31-49bb-9f80-8a25c04abfff" providerId="ADAL" clId="{EE97D3FE-9ACA-4467-98E5-532EC45D9D1C}" dt="2024-03-01T09:46:26.368" v="9028"/>
          <ac:spMkLst>
            <pc:docMk/>
            <pc:sldMk cId="1735191326" sldId="900"/>
            <ac:spMk id="58" creationId="{73A5DA40-EC68-C1DD-E470-027AE8CCAA6A}"/>
          </ac:spMkLst>
        </pc:spChg>
        <pc:spChg chg="add mod ord">
          <ac:chgData name="Nataliia Chornii (UA)" userId="4e4b8b3d-5f31-49bb-9f80-8a25c04abfff" providerId="ADAL" clId="{EE97D3FE-9ACA-4467-98E5-532EC45D9D1C}" dt="2024-03-01T09:46:26.368" v="9030"/>
          <ac:spMkLst>
            <pc:docMk/>
            <pc:sldMk cId="1735191326" sldId="900"/>
            <ac:spMk id="59" creationId="{69BA0589-D566-AAB4-31E4-35DD4F0EA8AD}"/>
          </ac:spMkLst>
        </pc:spChg>
        <pc:spChg chg="add mod ord">
          <ac:chgData name="Nataliia Chornii (UA)" userId="4e4b8b3d-5f31-49bb-9f80-8a25c04abfff" providerId="ADAL" clId="{EE97D3FE-9ACA-4467-98E5-532EC45D9D1C}" dt="2024-03-01T09:46:26.368" v="9032"/>
          <ac:spMkLst>
            <pc:docMk/>
            <pc:sldMk cId="1735191326" sldId="900"/>
            <ac:spMk id="60" creationId="{CB6722E8-D1A5-E761-7A03-E5BE22B6FF50}"/>
          </ac:spMkLst>
        </pc:spChg>
        <pc:spChg chg="add mod ord">
          <ac:chgData name="Nataliia Chornii (UA)" userId="4e4b8b3d-5f31-49bb-9f80-8a25c04abfff" providerId="ADAL" clId="{EE97D3FE-9ACA-4467-98E5-532EC45D9D1C}" dt="2024-03-01T09:53:46.004" v="9279" actId="12788"/>
          <ac:spMkLst>
            <pc:docMk/>
            <pc:sldMk cId="1735191326" sldId="900"/>
            <ac:spMk id="61" creationId="{B96B44FD-B302-C466-E087-68303F31E913}"/>
          </ac:spMkLst>
        </pc:spChg>
        <pc:spChg chg="add mod ord">
          <ac:chgData name="Nataliia Chornii (UA)" userId="4e4b8b3d-5f31-49bb-9f80-8a25c04abfff" providerId="ADAL" clId="{EE97D3FE-9ACA-4467-98E5-532EC45D9D1C}" dt="2024-03-01T09:46:26.368" v="9036"/>
          <ac:spMkLst>
            <pc:docMk/>
            <pc:sldMk cId="1735191326" sldId="900"/>
            <ac:spMk id="62" creationId="{AAF63E4B-E49D-0898-F096-917EC5BB8784}"/>
          </ac:spMkLst>
        </pc:spChg>
        <pc:spChg chg="add mod ord">
          <ac:chgData name="Nataliia Chornii (UA)" userId="4e4b8b3d-5f31-49bb-9f80-8a25c04abfff" providerId="ADAL" clId="{EE97D3FE-9ACA-4467-98E5-532EC45D9D1C}" dt="2024-03-01T09:46:26.368" v="9038"/>
          <ac:spMkLst>
            <pc:docMk/>
            <pc:sldMk cId="1735191326" sldId="900"/>
            <ac:spMk id="63" creationId="{C107C544-9363-E16D-C21A-14EB3086FD5E}"/>
          </ac:spMkLst>
        </pc:spChg>
        <pc:spChg chg="add mod ord">
          <ac:chgData name="Nataliia Chornii (UA)" userId="4e4b8b3d-5f31-49bb-9f80-8a25c04abfff" providerId="ADAL" clId="{EE97D3FE-9ACA-4467-98E5-532EC45D9D1C}" dt="2024-03-01T09:46:26.368" v="9040"/>
          <ac:spMkLst>
            <pc:docMk/>
            <pc:sldMk cId="1735191326" sldId="900"/>
            <ac:spMk id="64" creationId="{BAC6FD31-C415-55AA-743A-8F036F3BF365}"/>
          </ac:spMkLst>
        </pc:spChg>
        <pc:spChg chg="add mod ord">
          <ac:chgData name="Nataliia Chornii (UA)" userId="4e4b8b3d-5f31-49bb-9f80-8a25c04abfff" providerId="ADAL" clId="{EE97D3FE-9ACA-4467-98E5-532EC45D9D1C}" dt="2024-03-01T09:53:49.103" v="9280" actId="12788"/>
          <ac:spMkLst>
            <pc:docMk/>
            <pc:sldMk cId="1735191326" sldId="900"/>
            <ac:spMk id="65" creationId="{DFB0571C-3F32-08BC-2216-A09604DF1E6C}"/>
          </ac:spMkLst>
        </pc:spChg>
        <pc:spChg chg="add mod ord topLvl">
          <ac:chgData name="Nataliia Chornii (UA)" userId="4e4b8b3d-5f31-49bb-9f80-8a25c04abfff" providerId="ADAL" clId="{EE97D3FE-9ACA-4467-98E5-532EC45D9D1C}" dt="2024-03-01T09:46:28.484" v="9053" actId="164"/>
          <ac:spMkLst>
            <pc:docMk/>
            <pc:sldMk cId="1735191326" sldId="900"/>
            <ac:spMk id="69" creationId="{326E79A8-DB05-0E8C-C83A-BE4E3C60AB93}"/>
          </ac:spMkLst>
        </pc:spChg>
        <pc:spChg chg="add mod ord topLvl">
          <ac:chgData name="Nataliia Chornii (UA)" userId="4e4b8b3d-5f31-49bb-9f80-8a25c04abfff" providerId="ADAL" clId="{EE97D3FE-9ACA-4467-98E5-532EC45D9D1C}" dt="2024-03-01T09:46:28.484" v="9053" actId="164"/>
          <ac:spMkLst>
            <pc:docMk/>
            <pc:sldMk cId="1735191326" sldId="900"/>
            <ac:spMk id="70" creationId="{CF682008-4016-07AA-D26B-E95268052C66}"/>
          </ac:spMkLst>
        </pc:spChg>
        <pc:spChg chg="add mod ord topLvl">
          <ac:chgData name="Nataliia Chornii (UA)" userId="4e4b8b3d-5f31-49bb-9f80-8a25c04abfff" providerId="ADAL" clId="{EE97D3FE-9ACA-4467-98E5-532EC45D9D1C}" dt="2024-03-01T09:46:28.484" v="9053" actId="164"/>
          <ac:spMkLst>
            <pc:docMk/>
            <pc:sldMk cId="1735191326" sldId="900"/>
            <ac:spMk id="71" creationId="{7DAB69D4-9C93-DE4E-6744-B5556D9203A5}"/>
          </ac:spMkLst>
        </pc:spChg>
        <pc:spChg chg="add del">
          <ac:chgData name="Nataliia Chornii (UA)" userId="4e4b8b3d-5f31-49bb-9f80-8a25c04abfff" providerId="ADAL" clId="{EE97D3FE-9ACA-4467-98E5-532EC45D9D1C}" dt="2024-03-01T09:45:42.801" v="8882" actId="478"/>
          <ac:spMkLst>
            <pc:docMk/>
            <pc:sldMk cId="1735191326" sldId="900"/>
            <ac:spMk id="75" creationId="{4E9CED31-9C90-BF93-B896-D364E2D8DA0F}"/>
          </ac:spMkLst>
        </pc:spChg>
        <pc:spChg chg="add del mod modVis">
          <ac:chgData name="Nataliia Chornii (UA)" userId="4e4b8b3d-5f31-49bb-9f80-8a25c04abfff" providerId="ADAL" clId="{EE97D3FE-9ACA-4467-98E5-532EC45D9D1C}" dt="2024-03-01T09:45:47.184" v="8964"/>
          <ac:spMkLst>
            <pc:docMk/>
            <pc:sldMk cId="1735191326" sldId="900"/>
            <ac:spMk id="76" creationId="{204F6D91-03C2-8696-B44D-1827BD14CC7A}"/>
          </ac:spMkLst>
        </pc:spChg>
        <pc:spChg chg="add mod ord">
          <ac:chgData name="Nataliia Chornii (UA)" userId="4e4b8b3d-5f31-49bb-9f80-8a25c04abfff" providerId="ADAL" clId="{EE97D3FE-9ACA-4467-98E5-532EC45D9D1C}" dt="2024-03-01T09:46:28.484" v="9053" actId="164"/>
          <ac:spMkLst>
            <pc:docMk/>
            <pc:sldMk cId="1735191326" sldId="900"/>
            <ac:spMk id="77" creationId="{C5B0266C-673F-07DD-2F60-FC169E43A4DF}"/>
          </ac:spMkLst>
        </pc:spChg>
        <pc:spChg chg="add mod ord">
          <ac:chgData name="Nataliia Chornii (UA)" userId="4e4b8b3d-5f31-49bb-9f80-8a25c04abfff" providerId="ADAL" clId="{EE97D3FE-9ACA-4467-98E5-532EC45D9D1C}" dt="2024-03-01T09:46:28.484" v="9053" actId="164"/>
          <ac:spMkLst>
            <pc:docMk/>
            <pc:sldMk cId="1735191326" sldId="900"/>
            <ac:spMk id="78" creationId="{DFE62713-DB24-82F8-B530-DB2B5AE42760}"/>
          </ac:spMkLst>
        </pc:spChg>
        <pc:spChg chg="add mod ord">
          <ac:chgData name="Nataliia Chornii (UA)" userId="4e4b8b3d-5f31-49bb-9f80-8a25c04abfff" providerId="ADAL" clId="{EE97D3FE-9ACA-4467-98E5-532EC45D9D1C}" dt="2024-03-01T09:46:28.484" v="9053" actId="164"/>
          <ac:spMkLst>
            <pc:docMk/>
            <pc:sldMk cId="1735191326" sldId="900"/>
            <ac:spMk id="79" creationId="{832CB56B-9DC0-1F1E-3972-5DDA898A7AB2}"/>
          </ac:spMkLst>
        </pc:spChg>
        <pc:spChg chg="add mod">
          <ac:chgData name="Nataliia Chornii (UA)" userId="4e4b8b3d-5f31-49bb-9f80-8a25c04abfff" providerId="ADAL" clId="{EE97D3FE-9ACA-4467-98E5-532EC45D9D1C}" dt="2024-03-01T09:53:46.004" v="9279" actId="12788"/>
          <ac:spMkLst>
            <pc:docMk/>
            <pc:sldMk cId="1735191326" sldId="900"/>
            <ac:spMk id="81" creationId="{DDCA628C-F107-F2EE-29A3-F9E29FA8073D}"/>
          </ac:spMkLst>
        </pc:spChg>
        <pc:spChg chg="mod">
          <ac:chgData name="Nataliia Chornii (UA)" userId="4e4b8b3d-5f31-49bb-9f80-8a25c04abfff" providerId="ADAL" clId="{EE97D3FE-9ACA-4467-98E5-532EC45D9D1C}" dt="2024-03-01T09:52:43.882" v="9253"/>
          <ac:spMkLst>
            <pc:docMk/>
            <pc:sldMk cId="1735191326" sldId="900"/>
            <ac:spMk id="83" creationId="{0E6A2134-BA4E-F1D6-4C61-74C950656B53}"/>
          </ac:spMkLst>
        </pc:spChg>
        <pc:spChg chg="mod">
          <ac:chgData name="Nataliia Chornii (UA)" userId="4e4b8b3d-5f31-49bb-9f80-8a25c04abfff" providerId="ADAL" clId="{EE97D3FE-9ACA-4467-98E5-532EC45D9D1C}" dt="2024-03-01T09:52:43.882" v="9253"/>
          <ac:spMkLst>
            <pc:docMk/>
            <pc:sldMk cId="1735191326" sldId="900"/>
            <ac:spMk id="84" creationId="{E32EE091-D3C1-06E6-9082-073AD5CF7765}"/>
          </ac:spMkLst>
        </pc:spChg>
        <pc:spChg chg="mod">
          <ac:chgData name="Nataliia Chornii (UA)" userId="4e4b8b3d-5f31-49bb-9f80-8a25c04abfff" providerId="ADAL" clId="{EE97D3FE-9ACA-4467-98E5-532EC45D9D1C}" dt="2024-03-01T09:52:43.882" v="9253"/>
          <ac:spMkLst>
            <pc:docMk/>
            <pc:sldMk cId="1735191326" sldId="900"/>
            <ac:spMk id="85" creationId="{9A2306D2-77A7-80C7-F244-EA7DEC804D5E}"/>
          </ac:spMkLst>
        </pc:spChg>
        <pc:spChg chg="mod">
          <ac:chgData name="Nataliia Chornii (UA)" userId="4e4b8b3d-5f31-49bb-9f80-8a25c04abfff" providerId="ADAL" clId="{EE97D3FE-9ACA-4467-98E5-532EC45D9D1C}" dt="2024-03-01T09:52:43.882" v="9253"/>
          <ac:spMkLst>
            <pc:docMk/>
            <pc:sldMk cId="1735191326" sldId="900"/>
            <ac:spMk id="86" creationId="{BBC2D154-4911-B47F-9B45-8A1CC3B13EFD}"/>
          </ac:spMkLst>
        </pc:spChg>
        <pc:spChg chg="mod">
          <ac:chgData name="Nataliia Chornii (UA)" userId="4e4b8b3d-5f31-49bb-9f80-8a25c04abfff" providerId="ADAL" clId="{EE97D3FE-9ACA-4467-98E5-532EC45D9D1C}" dt="2024-03-01T09:52:43.882" v="9253"/>
          <ac:spMkLst>
            <pc:docMk/>
            <pc:sldMk cId="1735191326" sldId="900"/>
            <ac:spMk id="87" creationId="{DFB5AA23-26C2-FB44-26CD-6286CF29ECC9}"/>
          </ac:spMkLst>
        </pc:spChg>
        <pc:spChg chg="mod">
          <ac:chgData name="Nataliia Chornii (UA)" userId="4e4b8b3d-5f31-49bb-9f80-8a25c04abfff" providerId="ADAL" clId="{EE97D3FE-9ACA-4467-98E5-532EC45D9D1C}" dt="2024-03-01T09:52:56.831" v="9255"/>
          <ac:spMkLst>
            <pc:docMk/>
            <pc:sldMk cId="1735191326" sldId="900"/>
            <ac:spMk id="89" creationId="{5BDDF6DF-E697-00B7-6FDF-654A81CBB5E7}"/>
          </ac:spMkLst>
        </pc:spChg>
        <pc:spChg chg="mod">
          <ac:chgData name="Nataliia Chornii (UA)" userId="4e4b8b3d-5f31-49bb-9f80-8a25c04abfff" providerId="ADAL" clId="{EE97D3FE-9ACA-4467-98E5-532EC45D9D1C}" dt="2024-03-01T09:52:56.831" v="9255"/>
          <ac:spMkLst>
            <pc:docMk/>
            <pc:sldMk cId="1735191326" sldId="900"/>
            <ac:spMk id="90" creationId="{4C849506-7AF9-F820-5CF0-7D6E33F03113}"/>
          </ac:spMkLst>
        </pc:spChg>
        <pc:spChg chg="mod">
          <ac:chgData name="Nataliia Chornii (UA)" userId="4e4b8b3d-5f31-49bb-9f80-8a25c04abfff" providerId="ADAL" clId="{EE97D3FE-9ACA-4467-98E5-532EC45D9D1C}" dt="2024-03-01T09:52:56.831" v="9255"/>
          <ac:spMkLst>
            <pc:docMk/>
            <pc:sldMk cId="1735191326" sldId="900"/>
            <ac:spMk id="91" creationId="{D5FD63F2-1B6A-7954-A06D-677EB870039A}"/>
          </ac:spMkLst>
        </pc:spChg>
        <pc:spChg chg="mod">
          <ac:chgData name="Nataliia Chornii (UA)" userId="4e4b8b3d-5f31-49bb-9f80-8a25c04abfff" providerId="ADAL" clId="{EE97D3FE-9ACA-4467-98E5-532EC45D9D1C}" dt="2024-03-01T09:52:56.831" v="9255"/>
          <ac:spMkLst>
            <pc:docMk/>
            <pc:sldMk cId="1735191326" sldId="900"/>
            <ac:spMk id="92" creationId="{F8FFD178-37DE-9024-CC8B-32143627DB53}"/>
          </ac:spMkLst>
        </pc:spChg>
        <pc:spChg chg="mod">
          <ac:chgData name="Nataliia Chornii (UA)" userId="4e4b8b3d-5f31-49bb-9f80-8a25c04abfff" providerId="ADAL" clId="{EE97D3FE-9ACA-4467-98E5-532EC45D9D1C}" dt="2024-03-01T09:52:56.831" v="9255"/>
          <ac:spMkLst>
            <pc:docMk/>
            <pc:sldMk cId="1735191326" sldId="900"/>
            <ac:spMk id="93" creationId="{D8F4B1B1-E4D3-8F38-0B75-A345F1876D56}"/>
          </ac:spMkLst>
        </pc:spChg>
        <pc:spChg chg="mod">
          <ac:chgData name="Nataliia Chornii (UA)" userId="4e4b8b3d-5f31-49bb-9f80-8a25c04abfff" providerId="ADAL" clId="{EE97D3FE-9ACA-4467-98E5-532EC45D9D1C}" dt="2024-03-01T09:53:12.014" v="9257"/>
          <ac:spMkLst>
            <pc:docMk/>
            <pc:sldMk cId="1735191326" sldId="900"/>
            <ac:spMk id="95" creationId="{0BF8B685-24EB-F6B7-6D96-1C3A29FAAB97}"/>
          </ac:spMkLst>
        </pc:spChg>
        <pc:spChg chg="mod">
          <ac:chgData name="Nataliia Chornii (UA)" userId="4e4b8b3d-5f31-49bb-9f80-8a25c04abfff" providerId="ADAL" clId="{EE97D3FE-9ACA-4467-98E5-532EC45D9D1C}" dt="2024-03-01T09:53:12.014" v="9257"/>
          <ac:spMkLst>
            <pc:docMk/>
            <pc:sldMk cId="1735191326" sldId="900"/>
            <ac:spMk id="96" creationId="{EE7AEC1C-C5B3-E723-B9E4-E1B584899F72}"/>
          </ac:spMkLst>
        </pc:spChg>
        <pc:spChg chg="mod">
          <ac:chgData name="Nataliia Chornii (UA)" userId="4e4b8b3d-5f31-49bb-9f80-8a25c04abfff" providerId="ADAL" clId="{EE97D3FE-9ACA-4467-98E5-532EC45D9D1C}" dt="2024-03-01T09:53:12.014" v="9257"/>
          <ac:spMkLst>
            <pc:docMk/>
            <pc:sldMk cId="1735191326" sldId="900"/>
            <ac:spMk id="97" creationId="{01F7ABBA-99EA-9BF1-9BB6-0E00A4C88043}"/>
          </ac:spMkLst>
        </pc:spChg>
        <pc:spChg chg="mod">
          <ac:chgData name="Nataliia Chornii (UA)" userId="4e4b8b3d-5f31-49bb-9f80-8a25c04abfff" providerId="ADAL" clId="{EE97D3FE-9ACA-4467-98E5-532EC45D9D1C}" dt="2024-03-01T09:53:12.014" v="9257"/>
          <ac:spMkLst>
            <pc:docMk/>
            <pc:sldMk cId="1735191326" sldId="900"/>
            <ac:spMk id="98" creationId="{67E0A6C9-5F93-35C3-BA83-3265A17A644E}"/>
          </ac:spMkLst>
        </pc:spChg>
        <pc:spChg chg="mod">
          <ac:chgData name="Nataliia Chornii (UA)" userId="4e4b8b3d-5f31-49bb-9f80-8a25c04abfff" providerId="ADAL" clId="{EE97D3FE-9ACA-4467-98E5-532EC45D9D1C}" dt="2024-03-01T09:53:12.014" v="9257"/>
          <ac:spMkLst>
            <pc:docMk/>
            <pc:sldMk cId="1735191326" sldId="900"/>
            <ac:spMk id="99" creationId="{4D545500-2FFA-ECE0-FA08-582982308EB9}"/>
          </ac:spMkLst>
        </pc:spChg>
        <pc:spChg chg="mod">
          <ac:chgData name="Nataliia Chornii (UA)" userId="4e4b8b3d-5f31-49bb-9f80-8a25c04abfff" providerId="ADAL" clId="{EE97D3FE-9ACA-4467-98E5-532EC45D9D1C}" dt="2024-03-01T09:53:12.014" v="9257"/>
          <ac:spMkLst>
            <pc:docMk/>
            <pc:sldMk cId="1735191326" sldId="900"/>
            <ac:spMk id="100" creationId="{2132EE1A-86EE-0738-ED0F-28A9295E2885}"/>
          </ac:spMkLst>
        </pc:spChg>
        <pc:spChg chg="mod">
          <ac:chgData name="Nataliia Chornii (UA)" userId="4e4b8b3d-5f31-49bb-9f80-8a25c04abfff" providerId="ADAL" clId="{EE97D3FE-9ACA-4467-98E5-532EC45D9D1C}" dt="2024-03-01T09:53:12.014" v="9257"/>
          <ac:spMkLst>
            <pc:docMk/>
            <pc:sldMk cId="1735191326" sldId="900"/>
            <ac:spMk id="101" creationId="{CFB7CC00-E26B-7DBA-041D-09E2981F93CA}"/>
          </ac:spMkLst>
        </pc:spChg>
        <pc:spChg chg="mod">
          <ac:chgData name="Nataliia Chornii (UA)" userId="4e4b8b3d-5f31-49bb-9f80-8a25c04abfff" providerId="ADAL" clId="{EE97D3FE-9ACA-4467-98E5-532EC45D9D1C}" dt="2024-03-01T09:53:12.014" v="9257"/>
          <ac:spMkLst>
            <pc:docMk/>
            <pc:sldMk cId="1735191326" sldId="900"/>
            <ac:spMk id="102" creationId="{15EC7B77-49D7-6AD2-FB2D-8180FD60E8B6}"/>
          </ac:spMkLst>
        </pc:spChg>
        <pc:spChg chg="mod">
          <ac:chgData name="Nataliia Chornii (UA)" userId="4e4b8b3d-5f31-49bb-9f80-8a25c04abfff" providerId="ADAL" clId="{EE97D3FE-9ACA-4467-98E5-532EC45D9D1C}" dt="2024-03-01T09:53:12.014" v="9257"/>
          <ac:spMkLst>
            <pc:docMk/>
            <pc:sldMk cId="1735191326" sldId="900"/>
            <ac:spMk id="103" creationId="{93B3CE46-1839-A491-018E-5C5D47EA5C53}"/>
          </ac:spMkLst>
        </pc:spChg>
        <pc:spChg chg="mod">
          <ac:chgData name="Nataliia Chornii (UA)" userId="4e4b8b3d-5f31-49bb-9f80-8a25c04abfff" providerId="ADAL" clId="{EE97D3FE-9ACA-4467-98E5-532EC45D9D1C}" dt="2024-03-01T09:53:12.014" v="9257"/>
          <ac:spMkLst>
            <pc:docMk/>
            <pc:sldMk cId="1735191326" sldId="900"/>
            <ac:spMk id="104" creationId="{F2DFFD91-F045-017F-AB94-50397BBD2076}"/>
          </ac:spMkLst>
        </pc:spChg>
        <pc:spChg chg="mod">
          <ac:chgData name="Nataliia Chornii (UA)" userId="4e4b8b3d-5f31-49bb-9f80-8a25c04abfff" providerId="ADAL" clId="{EE97D3FE-9ACA-4467-98E5-532EC45D9D1C}" dt="2024-03-01T09:53:12.014" v="9257"/>
          <ac:spMkLst>
            <pc:docMk/>
            <pc:sldMk cId="1735191326" sldId="900"/>
            <ac:spMk id="105" creationId="{952EFDB1-B39C-9CFF-195D-FFA30B863AED}"/>
          </ac:spMkLst>
        </pc:spChg>
        <pc:spChg chg="mod">
          <ac:chgData name="Nataliia Chornii (UA)" userId="4e4b8b3d-5f31-49bb-9f80-8a25c04abfff" providerId="ADAL" clId="{EE97D3FE-9ACA-4467-98E5-532EC45D9D1C}" dt="2024-03-01T09:53:12.014" v="9257"/>
          <ac:spMkLst>
            <pc:docMk/>
            <pc:sldMk cId="1735191326" sldId="900"/>
            <ac:spMk id="106" creationId="{2BF2D093-2A49-877E-57FB-C64EFE51EDD9}"/>
          </ac:spMkLst>
        </pc:spChg>
        <pc:spChg chg="mod">
          <ac:chgData name="Nataliia Chornii (UA)" userId="4e4b8b3d-5f31-49bb-9f80-8a25c04abfff" providerId="ADAL" clId="{EE97D3FE-9ACA-4467-98E5-532EC45D9D1C}" dt="2024-03-01T09:53:12.014" v="9257"/>
          <ac:spMkLst>
            <pc:docMk/>
            <pc:sldMk cId="1735191326" sldId="900"/>
            <ac:spMk id="107" creationId="{D821A797-6F35-403F-F3BD-1B2C96A9BB9E}"/>
          </ac:spMkLst>
        </pc:spChg>
        <pc:spChg chg="mod">
          <ac:chgData name="Nataliia Chornii (UA)" userId="4e4b8b3d-5f31-49bb-9f80-8a25c04abfff" providerId="ADAL" clId="{EE97D3FE-9ACA-4467-98E5-532EC45D9D1C}" dt="2024-03-01T09:53:12.014" v="9257"/>
          <ac:spMkLst>
            <pc:docMk/>
            <pc:sldMk cId="1735191326" sldId="900"/>
            <ac:spMk id="108" creationId="{90D09C20-B8D2-405F-DC35-7461DFF6F67B}"/>
          </ac:spMkLst>
        </pc:spChg>
        <pc:spChg chg="mod">
          <ac:chgData name="Nataliia Chornii (UA)" userId="4e4b8b3d-5f31-49bb-9f80-8a25c04abfff" providerId="ADAL" clId="{EE97D3FE-9ACA-4467-98E5-532EC45D9D1C}" dt="2024-03-01T09:53:12.014" v="9257"/>
          <ac:spMkLst>
            <pc:docMk/>
            <pc:sldMk cId="1735191326" sldId="900"/>
            <ac:spMk id="109" creationId="{420CBE9D-90E6-55AB-2247-F721592065BB}"/>
          </ac:spMkLst>
        </pc:spChg>
        <pc:spChg chg="mod">
          <ac:chgData name="Nataliia Chornii (UA)" userId="4e4b8b3d-5f31-49bb-9f80-8a25c04abfff" providerId="ADAL" clId="{EE97D3FE-9ACA-4467-98E5-532EC45D9D1C}" dt="2024-03-01T09:53:12.014" v="9257"/>
          <ac:spMkLst>
            <pc:docMk/>
            <pc:sldMk cId="1735191326" sldId="900"/>
            <ac:spMk id="110" creationId="{2FADEC4E-0BF5-23E5-656D-FB6FA5CA766B}"/>
          </ac:spMkLst>
        </pc:spChg>
        <pc:spChg chg="mod">
          <ac:chgData name="Nataliia Chornii (UA)" userId="4e4b8b3d-5f31-49bb-9f80-8a25c04abfff" providerId="ADAL" clId="{EE97D3FE-9ACA-4467-98E5-532EC45D9D1C}" dt="2024-03-01T09:53:24.236" v="9260"/>
          <ac:spMkLst>
            <pc:docMk/>
            <pc:sldMk cId="1735191326" sldId="900"/>
            <ac:spMk id="112" creationId="{1BE88429-4F3F-636B-DB20-E431D496B9EB}"/>
          </ac:spMkLst>
        </pc:spChg>
        <pc:spChg chg="mod">
          <ac:chgData name="Nataliia Chornii (UA)" userId="4e4b8b3d-5f31-49bb-9f80-8a25c04abfff" providerId="ADAL" clId="{EE97D3FE-9ACA-4467-98E5-532EC45D9D1C}" dt="2024-03-01T09:53:24.236" v="9260"/>
          <ac:spMkLst>
            <pc:docMk/>
            <pc:sldMk cId="1735191326" sldId="900"/>
            <ac:spMk id="113" creationId="{D285C823-677E-8121-1429-CCB32B027A8B}"/>
          </ac:spMkLst>
        </pc:spChg>
        <pc:grpChg chg="add mod">
          <ac:chgData name="Nataliia Chornii (UA)" userId="4e4b8b3d-5f31-49bb-9f80-8a25c04abfff" providerId="ADAL" clId="{EE97D3FE-9ACA-4467-98E5-532EC45D9D1C}" dt="2024-03-11T14:22:35.765" v="24030"/>
          <ac:grpSpMkLst>
            <pc:docMk/>
            <pc:sldMk cId="1735191326" sldId="900"/>
            <ac:grpSpMk id="6" creationId="{FF27E800-456C-291B-FA00-AE8AF5C51E72}"/>
          </ac:grpSpMkLst>
        </pc:grpChg>
        <pc:grpChg chg="add del mod">
          <ac:chgData name="Nataliia Chornii (UA)" userId="4e4b8b3d-5f31-49bb-9f80-8a25c04abfff" providerId="ADAL" clId="{EE97D3FE-9ACA-4467-98E5-532EC45D9D1C}" dt="2024-03-01T09:40:55.639" v="8506" actId="478"/>
          <ac:grpSpMkLst>
            <pc:docMk/>
            <pc:sldMk cId="1735191326" sldId="900"/>
            <ac:grpSpMk id="18" creationId="{B167741C-1EF9-7D76-F7C9-4C4259F90199}"/>
          </ac:grpSpMkLst>
        </pc:grpChg>
        <pc:grpChg chg="add del mod">
          <ac:chgData name="Nataliia Chornii (UA)" userId="4e4b8b3d-5f31-49bb-9f80-8a25c04abfff" providerId="ADAL" clId="{EE97D3FE-9ACA-4467-98E5-532EC45D9D1C}" dt="2024-03-01T09:42:39.140" v="8700" actId="165"/>
          <ac:grpSpMkLst>
            <pc:docMk/>
            <pc:sldMk cId="1735191326" sldId="900"/>
            <ac:grpSpMk id="41" creationId="{E6358C74-58BB-0F41-94D3-476B3CAE553E}"/>
          </ac:grpSpMkLst>
        </pc:grpChg>
        <pc:grpChg chg="add del mod">
          <ac:chgData name="Nataliia Chornii (UA)" userId="4e4b8b3d-5f31-49bb-9f80-8a25c04abfff" providerId="ADAL" clId="{EE97D3FE-9ACA-4467-98E5-532EC45D9D1C}" dt="2024-03-01T09:42:39.140" v="8700" actId="165"/>
          <ac:grpSpMkLst>
            <pc:docMk/>
            <pc:sldMk cId="1735191326" sldId="900"/>
            <ac:grpSpMk id="42" creationId="{B135120D-9AFC-0257-846F-25597A60C1D3}"/>
          </ac:grpSpMkLst>
        </pc:grpChg>
        <pc:grpChg chg="add del mod">
          <ac:chgData name="Nataliia Chornii (UA)" userId="4e4b8b3d-5f31-49bb-9f80-8a25c04abfff" providerId="ADAL" clId="{EE97D3FE-9ACA-4467-98E5-532EC45D9D1C}" dt="2024-03-01T09:42:39.140" v="8700" actId="165"/>
          <ac:grpSpMkLst>
            <pc:docMk/>
            <pc:sldMk cId="1735191326" sldId="900"/>
            <ac:grpSpMk id="46" creationId="{6C3B7503-0F1F-8289-D306-CAA802D4622A}"/>
          </ac:grpSpMkLst>
        </pc:grpChg>
        <pc:grpChg chg="add mod">
          <ac:chgData name="Nataliia Chornii (UA)" userId="4e4b8b3d-5f31-49bb-9f80-8a25c04abfff" providerId="ADAL" clId="{EE97D3FE-9ACA-4467-98E5-532EC45D9D1C}" dt="2024-03-01T09:42:10.296" v="8688" actId="571"/>
          <ac:grpSpMkLst>
            <pc:docMk/>
            <pc:sldMk cId="1735191326" sldId="900"/>
            <ac:grpSpMk id="50" creationId="{3C1A0A25-24A9-9EBE-9F75-F7D7F9D5CDB8}"/>
          </ac:grpSpMkLst>
        </pc:grpChg>
        <pc:grpChg chg="add del mod">
          <ac:chgData name="Nataliia Chornii (UA)" userId="4e4b8b3d-5f31-49bb-9f80-8a25c04abfff" providerId="ADAL" clId="{EE97D3FE-9ACA-4467-98E5-532EC45D9D1C}" dt="2024-03-01T09:42:39.140" v="8700" actId="165"/>
          <ac:grpSpMkLst>
            <pc:docMk/>
            <pc:sldMk cId="1735191326" sldId="900"/>
            <ac:grpSpMk id="54" creationId="{B6CF0FD4-02A9-A93D-DBA0-DE6C1FB0D2E6}"/>
          </ac:grpSpMkLst>
        </pc:grpChg>
        <pc:grpChg chg="add del mod ord">
          <ac:chgData name="Nataliia Chornii (UA)" userId="4e4b8b3d-5f31-49bb-9f80-8a25c04abfff" providerId="ADAL" clId="{EE97D3FE-9ACA-4467-98E5-532EC45D9D1C}" dt="2024-03-01T09:45:59.221" v="8969" actId="165"/>
          <ac:grpSpMkLst>
            <pc:docMk/>
            <pc:sldMk cId="1735191326" sldId="900"/>
            <ac:grpSpMk id="72" creationId="{48B14DA3-11E1-AF06-33CB-E80BA754E9B0}"/>
          </ac:grpSpMkLst>
        </pc:grpChg>
        <pc:grpChg chg="add mod">
          <ac:chgData name="Nataliia Chornii (UA)" userId="4e4b8b3d-5f31-49bb-9f80-8a25c04abfff" providerId="ADAL" clId="{EE97D3FE-9ACA-4467-98E5-532EC45D9D1C}" dt="2024-03-01T09:46:28.484" v="9053" actId="164"/>
          <ac:grpSpMkLst>
            <pc:docMk/>
            <pc:sldMk cId="1735191326" sldId="900"/>
            <ac:grpSpMk id="80" creationId="{A4F7EE97-2488-C4D0-BB25-B488D03588E8}"/>
          </ac:grpSpMkLst>
        </pc:grpChg>
        <pc:grpChg chg="add mod">
          <ac:chgData name="Nataliia Chornii (UA)" userId="4e4b8b3d-5f31-49bb-9f80-8a25c04abfff" providerId="ADAL" clId="{EE97D3FE-9ACA-4467-98E5-532EC45D9D1C}" dt="2024-03-01T09:53:51.587" v="9281" actId="408"/>
          <ac:grpSpMkLst>
            <pc:docMk/>
            <pc:sldMk cId="1735191326" sldId="900"/>
            <ac:grpSpMk id="82" creationId="{496FB1E0-A56A-675A-A493-CE87F37A3B9E}"/>
          </ac:grpSpMkLst>
        </pc:grpChg>
        <pc:grpChg chg="add mod">
          <ac:chgData name="Nataliia Chornii (UA)" userId="4e4b8b3d-5f31-49bb-9f80-8a25c04abfff" providerId="ADAL" clId="{EE97D3FE-9ACA-4467-98E5-532EC45D9D1C}" dt="2024-03-01T09:53:51.587" v="9281" actId="408"/>
          <ac:grpSpMkLst>
            <pc:docMk/>
            <pc:sldMk cId="1735191326" sldId="900"/>
            <ac:grpSpMk id="88" creationId="{35189943-8174-BDC5-E00B-6AA3B261EF4D}"/>
          </ac:grpSpMkLst>
        </pc:grpChg>
        <pc:grpChg chg="add mod">
          <ac:chgData name="Nataliia Chornii (UA)" userId="4e4b8b3d-5f31-49bb-9f80-8a25c04abfff" providerId="ADAL" clId="{EE97D3FE-9ACA-4467-98E5-532EC45D9D1C}" dt="2024-03-01T09:53:49.103" v="9280" actId="12788"/>
          <ac:grpSpMkLst>
            <pc:docMk/>
            <pc:sldMk cId="1735191326" sldId="900"/>
            <ac:grpSpMk id="94" creationId="{594AAC2C-5B65-E8F9-8ECC-13E411076E0A}"/>
          </ac:grpSpMkLst>
        </pc:grpChg>
        <pc:grpChg chg="add mod">
          <ac:chgData name="Nataliia Chornii (UA)" userId="4e4b8b3d-5f31-49bb-9f80-8a25c04abfff" providerId="ADAL" clId="{EE97D3FE-9ACA-4467-98E5-532EC45D9D1C}" dt="2024-03-01T09:53:51.587" v="9281" actId="408"/>
          <ac:grpSpMkLst>
            <pc:docMk/>
            <pc:sldMk cId="1735191326" sldId="900"/>
            <ac:grpSpMk id="111" creationId="{25E49F92-0710-7B61-8355-C954630A29B3}"/>
          </ac:grpSpMkLst>
        </pc:grpChg>
        <pc:graphicFrameChg chg="add mod ord modVis replST">
          <ac:chgData name="Nataliia Chornii (UA)" userId="4e4b8b3d-5f31-49bb-9f80-8a25c04abfff" providerId="ADAL" clId="{EE97D3FE-9ACA-4467-98E5-532EC45D9D1C}" dt="2024-03-01T09:46:26.368" v="9052"/>
          <ac:graphicFrameMkLst>
            <pc:docMk/>
            <pc:sldMk cId="1735191326" sldId="900"/>
            <ac:graphicFrameMk id="9" creationId="{16EF7C33-FF6D-2EC0-BE2C-041D2DDCEFC9}"/>
          </ac:graphicFrameMkLst>
        </pc:graphicFrameChg>
        <pc:cxnChg chg="add del mod">
          <ac:chgData name="Nataliia Chornii (UA)" userId="4e4b8b3d-5f31-49bb-9f80-8a25c04abfff" providerId="ADAL" clId="{EE97D3FE-9ACA-4467-98E5-532EC45D9D1C}" dt="2024-03-01T09:45:09.277" v="8756" actId="478"/>
          <ac:cxnSpMkLst>
            <pc:docMk/>
            <pc:sldMk cId="1735191326" sldId="900"/>
            <ac:cxnSpMk id="67" creationId="{DB93AF92-2093-25DC-5038-078448D0067B}"/>
          </ac:cxnSpMkLst>
        </pc:cxnChg>
        <pc:cxnChg chg="add mod ord">
          <ac:chgData name="Nataliia Chornii (UA)" userId="4e4b8b3d-5f31-49bb-9f80-8a25c04abfff" providerId="ADAL" clId="{EE97D3FE-9ACA-4467-98E5-532EC45D9D1C}" dt="2024-03-01T09:46:28.484" v="9053" actId="164"/>
          <ac:cxnSpMkLst>
            <pc:docMk/>
            <pc:sldMk cId="1735191326" sldId="900"/>
            <ac:cxnSpMk id="74" creationId="{A8DECBD2-2863-5ED3-4429-484529B7452F}"/>
          </ac:cxnSpMkLst>
        </pc:cxnChg>
      </pc:sldChg>
      <pc:sldChg chg="del">
        <pc:chgData name="Nataliia Chornii (UA)" userId="4e4b8b3d-5f31-49bb-9f80-8a25c04abfff" providerId="ADAL" clId="{EE97D3FE-9ACA-4467-98E5-532EC45D9D1C}" dt="2024-03-01T08:32:34.089" v="211" actId="47"/>
        <pc:sldMkLst>
          <pc:docMk/>
          <pc:sldMk cId="1633958630" sldId="901"/>
        </pc:sldMkLst>
      </pc:sldChg>
      <pc:sldChg chg="addSp delSp modSp del mod">
        <pc:chgData name="Nataliia Chornii (UA)" userId="4e4b8b3d-5f31-49bb-9f80-8a25c04abfff" providerId="ADAL" clId="{EE97D3FE-9ACA-4467-98E5-532EC45D9D1C}" dt="2024-03-01T09:51:06.018" v="9227" actId="47"/>
        <pc:sldMkLst>
          <pc:docMk/>
          <pc:sldMk cId="3784150892" sldId="902"/>
        </pc:sldMkLst>
        <pc:spChg chg="mod">
          <ac:chgData name="Nataliia Chornii (UA)" userId="4e4b8b3d-5f31-49bb-9f80-8a25c04abfff" providerId="ADAL" clId="{EE97D3FE-9ACA-4467-98E5-532EC45D9D1C}" dt="2024-03-01T08:52:17.136" v="5926" actId="948"/>
          <ac:spMkLst>
            <pc:docMk/>
            <pc:sldMk cId="3784150892" sldId="902"/>
            <ac:spMk id="2" creationId="{DFA3F87B-F232-7860-4612-ADEBE46AD28C}"/>
          </ac:spMkLst>
        </pc:spChg>
        <pc:spChg chg="add del mod modVis">
          <ac:chgData name="Nataliia Chornii (UA)" userId="4e4b8b3d-5f31-49bb-9f80-8a25c04abfff" providerId="ADAL" clId="{EE97D3FE-9ACA-4467-98E5-532EC45D9D1C}" dt="2024-03-01T08:48:59.015" v="1123"/>
          <ac:spMkLst>
            <pc:docMk/>
            <pc:sldMk cId="3784150892" sldId="902"/>
            <ac:spMk id="4" creationId="{9C58AE95-BB96-1339-A799-E90B68B780C0}"/>
          </ac:spMkLst>
        </pc:spChg>
        <pc:spChg chg="add del mod modVis">
          <ac:chgData name="Nataliia Chornii (UA)" userId="4e4b8b3d-5f31-49bb-9f80-8a25c04abfff" providerId="ADAL" clId="{EE97D3FE-9ACA-4467-98E5-532EC45D9D1C}" dt="2024-03-01T08:49:33.666" v="2762"/>
          <ac:spMkLst>
            <pc:docMk/>
            <pc:sldMk cId="3784150892" sldId="902"/>
            <ac:spMk id="6" creationId="{ACED0781-EF40-2F95-4C6C-0FD018348F45}"/>
          </ac:spMkLst>
        </pc:spChg>
        <pc:spChg chg="add del mod modVis">
          <ac:chgData name="Nataliia Chornii (UA)" userId="4e4b8b3d-5f31-49bb-9f80-8a25c04abfff" providerId="ADAL" clId="{EE97D3FE-9ACA-4467-98E5-532EC45D9D1C}" dt="2024-03-01T08:49:59.741" v="3750"/>
          <ac:spMkLst>
            <pc:docMk/>
            <pc:sldMk cId="3784150892" sldId="902"/>
            <ac:spMk id="7" creationId="{F00D575D-FAB4-D598-6CD6-69ED1DD51463}"/>
          </ac:spMkLst>
        </pc:spChg>
        <pc:spChg chg="add del mod modVis">
          <ac:chgData name="Nataliia Chornii (UA)" userId="4e4b8b3d-5f31-49bb-9f80-8a25c04abfff" providerId="ADAL" clId="{EE97D3FE-9ACA-4467-98E5-532EC45D9D1C}" dt="2024-03-01T08:51:26.043" v="4738"/>
          <ac:spMkLst>
            <pc:docMk/>
            <pc:sldMk cId="3784150892" sldId="902"/>
            <ac:spMk id="8" creationId="{4036D083-EEC7-1BD2-1458-352DA03F72F3}"/>
          </ac:spMkLst>
        </pc:spChg>
        <pc:spChg chg="add del mod modVis">
          <ac:chgData name="Nataliia Chornii (UA)" userId="4e4b8b3d-5f31-49bb-9f80-8a25c04abfff" providerId="ADAL" clId="{EE97D3FE-9ACA-4467-98E5-532EC45D9D1C}" dt="2024-03-01T08:51:56.047" v="5727"/>
          <ac:spMkLst>
            <pc:docMk/>
            <pc:sldMk cId="3784150892" sldId="902"/>
            <ac:spMk id="9" creationId="{DC29C568-A2C6-9737-7AE6-BB19DD35A1BE}"/>
          </ac:spMkLst>
        </pc:spChg>
        <pc:spChg chg="add del mod modVis">
          <ac:chgData name="Nataliia Chornii (UA)" userId="4e4b8b3d-5f31-49bb-9f80-8a25c04abfff" providerId="ADAL" clId="{EE97D3FE-9ACA-4467-98E5-532EC45D9D1C}" dt="2024-03-01T08:52:18.218" v="6715"/>
          <ac:spMkLst>
            <pc:docMk/>
            <pc:sldMk cId="3784150892" sldId="902"/>
            <ac:spMk id="10" creationId="{9259F835-F502-5FD9-049A-AD2874A6FBEC}"/>
          </ac:spMkLst>
        </pc:spChg>
        <pc:graphicFrameChg chg="add mod ord modVis replST">
          <ac:chgData name="Nataliia Chornii (UA)" userId="4e4b8b3d-5f31-49bb-9f80-8a25c04abfff" providerId="ADAL" clId="{EE97D3FE-9ACA-4467-98E5-532EC45D9D1C}" dt="2024-03-01T08:52:18.218" v="6717"/>
          <ac:graphicFrameMkLst>
            <pc:docMk/>
            <pc:sldMk cId="3784150892" sldId="902"/>
            <ac:graphicFrameMk id="5" creationId="{9FF0C75E-EE25-13BB-4BD8-676305079473}"/>
          </ac:graphicFrameMkLst>
        </pc:graphicFrameChg>
      </pc:sldChg>
      <pc:sldChg chg="addSp delSp modSp mod modClrScheme chgLayout">
        <pc:chgData name="Nataliia Chornii (UA)" userId="4e4b8b3d-5f31-49bb-9f80-8a25c04abfff" providerId="ADAL" clId="{EE97D3FE-9ACA-4467-98E5-532EC45D9D1C}" dt="2024-03-11T14:22:40.001" v="24031"/>
        <pc:sldMkLst>
          <pc:docMk/>
          <pc:sldMk cId="3011875620" sldId="903"/>
        </pc:sldMkLst>
        <pc:spChg chg="mod ord">
          <ac:chgData name="Nataliia Chornii (UA)" userId="4e4b8b3d-5f31-49bb-9f80-8a25c04abfff" providerId="ADAL" clId="{EE97D3FE-9ACA-4467-98E5-532EC45D9D1C}" dt="2024-03-01T10:27:35.217" v="10081" actId="948"/>
          <ac:spMkLst>
            <pc:docMk/>
            <pc:sldMk cId="3011875620" sldId="903"/>
            <ac:spMk id="2" creationId="{EDFBCEAB-7D4A-91D0-E036-AAFACC3ABE8D}"/>
          </ac:spMkLst>
        </pc:spChg>
        <pc:spChg chg="add del mod ord">
          <ac:chgData name="Nataliia Chornii (UA)" userId="4e4b8b3d-5f31-49bb-9f80-8a25c04abfff" providerId="ADAL" clId="{EE97D3FE-9ACA-4467-98E5-532EC45D9D1C}" dt="2024-03-01T09:13:34.171" v="8101" actId="478"/>
          <ac:spMkLst>
            <pc:docMk/>
            <pc:sldMk cId="3011875620" sldId="903"/>
            <ac:spMk id="3" creationId="{26614F0E-2835-BB69-9173-4B170029D0DD}"/>
          </ac:spMkLst>
        </pc:spChg>
        <pc:spChg chg="add mod">
          <ac:chgData name="Nataliia Chornii (UA)" userId="4e4b8b3d-5f31-49bb-9f80-8a25c04abfff" providerId="ADAL" clId="{EE97D3FE-9ACA-4467-98E5-532EC45D9D1C}" dt="2024-03-11T14:22:40.001" v="24031"/>
          <ac:spMkLst>
            <pc:docMk/>
            <pc:sldMk cId="3011875620" sldId="903"/>
            <ac:spMk id="3" creationId="{33BB98B8-6827-4CCD-E4FE-A55C4C067AB3}"/>
          </ac:spMkLst>
        </pc:spChg>
        <pc:spChg chg="mod ord">
          <ac:chgData name="Nataliia Chornii (UA)" userId="4e4b8b3d-5f31-49bb-9f80-8a25c04abfff" providerId="ADAL" clId="{EE97D3FE-9ACA-4467-98E5-532EC45D9D1C}" dt="2024-03-01T10:27:34.723" v="10080" actId="700"/>
          <ac:spMkLst>
            <pc:docMk/>
            <pc:sldMk cId="3011875620" sldId="903"/>
            <ac:spMk id="4" creationId="{A6320228-D809-6F87-2500-99BCB217E23A}"/>
          </ac:spMkLst>
        </pc:spChg>
        <pc:spChg chg="del mod ord">
          <ac:chgData name="Nataliia Chornii (UA)" userId="4e4b8b3d-5f31-49bb-9f80-8a25c04abfff" providerId="ADAL" clId="{EE97D3FE-9ACA-4467-98E5-532EC45D9D1C}" dt="2024-03-01T09:13:36.007" v="8102" actId="478"/>
          <ac:spMkLst>
            <pc:docMk/>
            <pc:sldMk cId="3011875620" sldId="903"/>
            <ac:spMk id="5" creationId="{E03CB895-8BEB-5197-3BCF-F146EFC5500F}"/>
          </ac:spMkLst>
        </pc:spChg>
        <pc:spChg chg="add del mod ord">
          <ac:chgData name="Nataliia Chornii (UA)" userId="4e4b8b3d-5f31-49bb-9f80-8a25c04abfff" providerId="ADAL" clId="{EE97D3FE-9ACA-4467-98E5-532EC45D9D1C}" dt="2024-03-01T09:13:34.171" v="8101" actId="478"/>
          <ac:spMkLst>
            <pc:docMk/>
            <pc:sldMk cId="3011875620" sldId="903"/>
            <ac:spMk id="6" creationId="{34D7B216-0AF9-A245-CB30-410131422508}"/>
          </ac:spMkLst>
        </pc:spChg>
        <pc:spChg chg="mod">
          <ac:chgData name="Nataliia Chornii (UA)" userId="4e4b8b3d-5f31-49bb-9f80-8a25c04abfff" providerId="ADAL" clId="{EE97D3FE-9ACA-4467-98E5-532EC45D9D1C}" dt="2024-03-11T14:22:40.001" v="24031"/>
          <ac:spMkLst>
            <pc:docMk/>
            <pc:sldMk cId="3011875620" sldId="903"/>
            <ac:spMk id="6" creationId="{50E2AB2D-754A-C4F6-9350-624ECA322D05}"/>
          </ac:spMkLst>
        </pc:spChg>
        <pc:spChg chg="mod ord">
          <ac:chgData name="Nataliia Chornii (UA)" userId="4e4b8b3d-5f31-49bb-9f80-8a25c04abfff" providerId="ADAL" clId="{EE97D3FE-9ACA-4467-98E5-532EC45D9D1C}" dt="2024-03-01T09:36:34.447" v="8425" actId="164"/>
          <ac:spMkLst>
            <pc:docMk/>
            <pc:sldMk cId="3011875620" sldId="903"/>
            <ac:spMk id="7" creationId="{ABE8EE39-C466-6083-2B14-0237C935C96B}"/>
          </ac:spMkLst>
        </pc:spChg>
        <pc:spChg chg="mod ord">
          <ac:chgData name="Nataliia Chornii (UA)" userId="4e4b8b3d-5f31-49bb-9f80-8a25c04abfff" providerId="ADAL" clId="{EE97D3FE-9ACA-4467-98E5-532EC45D9D1C}" dt="2024-03-01T09:36:34.447" v="8425" actId="164"/>
          <ac:spMkLst>
            <pc:docMk/>
            <pc:sldMk cId="3011875620" sldId="903"/>
            <ac:spMk id="8" creationId="{D3075EA9-222C-FBAB-0F0E-D4775F00C87E}"/>
          </ac:spMkLst>
        </pc:spChg>
        <pc:spChg chg="mod ord">
          <ac:chgData name="Nataliia Chornii (UA)" userId="4e4b8b3d-5f31-49bb-9f80-8a25c04abfff" providerId="ADAL" clId="{EE97D3FE-9ACA-4467-98E5-532EC45D9D1C}" dt="2024-03-01T09:36:34.447" v="8425" actId="164"/>
          <ac:spMkLst>
            <pc:docMk/>
            <pc:sldMk cId="3011875620" sldId="903"/>
            <ac:spMk id="9" creationId="{08B6A8B7-7C80-74FA-BFD5-B86DDE664F74}"/>
          </ac:spMkLst>
        </pc:spChg>
        <pc:spChg chg="mod ord">
          <ac:chgData name="Nataliia Chornii (UA)" userId="4e4b8b3d-5f31-49bb-9f80-8a25c04abfff" providerId="ADAL" clId="{EE97D3FE-9ACA-4467-98E5-532EC45D9D1C}" dt="2024-03-01T09:36:34.447" v="8425" actId="164"/>
          <ac:spMkLst>
            <pc:docMk/>
            <pc:sldMk cId="3011875620" sldId="903"/>
            <ac:spMk id="10" creationId="{B337C822-0ACB-7395-4E9F-FE78A0258C7B}"/>
          </ac:spMkLst>
        </pc:spChg>
        <pc:spChg chg="mod ord">
          <ac:chgData name="Nataliia Chornii (UA)" userId="4e4b8b3d-5f31-49bb-9f80-8a25c04abfff" providerId="ADAL" clId="{EE97D3FE-9ACA-4467-98E5-532EC45D9D1C}" dt="2024-03-01T09:36:34.447" v="8425" actId="164"/>
          <ac:spMkLst>
            <pc:docMk/>
            <pc:sldMk cId="3011875620" sldId="903"/>
            <ac:spMk id="11" creationId="{BEFB8D44-5692-BC7D-1631-1623E5005441}"/>
          </ac:spMkLst>
        </pc:spChg>
        <pc:spChg chg="mod">
          <ac:chgData name="Nataliia Chornii (UA)" userId="4e4b8b3d-5f31-49bb-9f80-8a25c04abfff" providerId="ADAL" clId="{EE97D3FE-9ACA-4467-98E5-532EC45D9D1C}" dt="2024-03-11T14:22:40.001" v="24031"/>
          <ac:spMkLst>
            <pc:docMk/>
            <pc:sldMk cId="3011875620" sldId="903"/>
            <ac:spMk id="12" creationId="{6158C656-5A8A-CAA9-181E-CE47FCED7365}"/>
          </ac:spMkLst>
        </pc:spChg>
        <pc:spChg chg="del mod ord">
          <ac:chgData name="Nataliia Chornii (UA)" userId="4e4b8b3d-5f31-49bb-9f80-8a25c04abfff" providerId="ADAL" clId="{EE97D3FE-9ACA-4467-98E5-532EC45D9D1C}" dt="2024-03-01T09:19:40.024" v="8267" actId="478"/>
          <ac:spMkLst>
            <pc:docMk/>
            <pc:sldMk cId="3011875620" sldId="903"/>
            <ac:spMk id="12" creationId="{DBFB2BB3-C6FD-C05A-7AC0-6ECF93BB1AD1}"/>
          </ac:spMkLst>
        </pc:spChg>
        <pc:spChg chg="del mod ord">
          <ac:chgData name="Nataliia Chornii (UA)" userId="4e4b8b3d-5f31-49bb-9f80-8a25c04abfff" providerId="ADAL" clId="{EE97D3FE-9ACA-4467-98E5-532EC45D9D1C}" dt="2024-03-01T09:19:40.024" v="8267" actId="478"/>
          <ac:spMkLst>
            <pc:docMk/>
            <pc:sldMk cId="3011875620" sldId="903"/>
            <ac:spMk id="13" creationId="{9483E848-E37C-5DCE-0BB4-A09AE6853B17}"/>
          </ac:spMkLst>
        </pc:spChg>
        <pc:spChg chg="mod">
          <ac:chgData name="Nataliia Chornii (UA)" userId="4e4b8b3d-5f31-49bb-9f80-8a25c04abfff" providerId="ADAL" clId="{EE97D3FE-9ACA-4467-98E5-532EC45D9D1C}" dt="2024-03-11T14:22:40.001" v="24031"/>
          <ac:spMkLst>
            <pc:docMk/>
            <pc:sldMk cId="3011875620" sldId="903"/>
            <ac:spMk id="13" creationId="{EA43A31C-009C-105F-54A6-6DAA8B434B33}"/>
          </ac:spMkLst>
        </pc:spChg>
        <pc:spChg chg="add del mod modVis">
          <ac:chgData name="Nataliia Chornii (UA)" userId="4e4b8b3d-5f31-49bb-9f80-8a25c04abfff" providerId="ADAL" clId="{EE97D3FE-9ACA-4467-98E5-532EC45D9D1C}" dt="2024-03-01T08:48:59.125" v="1174"/>
          <ac:spMkLst>
            <pc:docMk/>
            <pc:sldMk cId="3011875620" sldId="903"/>
            <ac:spMk id="14" creationId="{06CB8C05-A8A5-E45B-A3C3-2CCA5DD17B6A}"/>
          </ac:spMkLst>
        </pc:spChg>
        <pc:spChg chg="mod">
          <ac:chgData name="Nataliia Chornii (UA)" userId="4e4b8b3d-5f31-49bb-9f80-8a25c04abfff" providerId="ADAL" clId="{EE97D3FE-9ACA-4467-98E5-532EC45D9D1C}" dt="2024-03-11T14:22:40.001" v="24031"/>
          <ac:spMkLst>
            <pc:docMk/>
            <pc:sldMk cId="3011875620" sldId="903"/>
            <ac:spMk id="14" creationId="{775AF9B8-6610-4857-987C-CC045B2E5B62}"/>
          </ac:spMkLst>
        </pc:spChg>
        <pc:spChg chg="mod">
          <ac:chgData name="Nataliia Chornii (UA)" userId="4e4b8b3d-5f31-49bb-9f80-8a25c04abfff" providerId="ADAL" clId="{EE97D3FE-9ACA-4467-98E5-532EC45D9D1C}" dt="2024-03-11T14:22:40.001" v="24031"/>
          <ac:spMkLst>
            <pc:docMk/>
            <pc:sldMk cId="3011875620" sldId="903"/>
            <ac:spMk id="16" creationId="{0518EBCE-7BE2-71F8-4BE1-780E7CD0E6D2}"/>
          </ac:spMkLst>
        </pc:spChg>
        <pc:spChg chg="add del mod modVis">
          <ac:chgData name="Nataliia Chornii (UA)" userId="4e4b8b3d-5f31-49bb-9f80-8a25c04abfff" providerId="ADAL" clId="{EE97D3FE-9ACA-4467-98E5-532EC45D9D1C}" dt="2024-03-01T08:49:33.687" v="2774"/>
          <ac:spMkLst>
            <pc:docMk/>
            <pc:sldMk cId="3011875620" sldId="903"/>
            <ac:spMk id="16" creationId="{EB63BB93-238C-CDA3-20D8-990803388357}"/>
          </ac:spMkLst>
        </pc:spChg>
        <pc:spChg chg="add del mod modVis">
          <ac:chgData name="Nataliia Chornii (UA)" userId="4e4b8b3d-5f31-49bb-9f80-8a25c04abfff" providerId="ADAL" clId="{EE97D3FE-9ACA-4467-98E5-532EC45D9D1C}" dt="2024-03-01T08:49:59.757" v="3762"/>
          <ac:spMkLst>
            <pc:docMk/>
            <pc:sldMk cId="3011875620" sldId="903"/>
            <ac:spMk id="17" creationId="{77791AAD-009F-15F1-155E-32C7B53F4FB6}"/>
          </ac:spMkLst>
        </pc:spChg>
        <pc:spChg chg="mod">
          <ac:chgData name="Nataliia Chornii (UA)" userId="4e4b8b3d-5f31-49bb-9f80-8a25c04abfff" providerId="ADAL" clId="{EE97D3FE-9ACA-4467-98E5-532EC45D9D1C}" dt="2024-03-11T14:22:40.001" v="24031"/>
          <ac:spMkLst>
            <pc:docMk/>
            <pc:sldMk cId="3011875620" sldId="903"/>
            <ac:spMk id="17" creationId="{EBD10C6D-EAD1-B7A2-7CCD-5108133E2B63}"/>
          </ac:spMkLst>
        </pc:spChg>
        <pc:spChg chg="add del mod modVis">
          <ac:chgData name="Nataliia Chornii (UA)" userId="4e4b8b3d-5f31-49bb-9f80-8a25c04abfff" providerId="ADAL" clId="{EE97D3FE-9ACA-4467-98E5-532EC45D9D1C}" dt="2024-03-01T08:51:26.065" v="4750"/>
          <ac:spMkLst>
            <pc:docMk/>
            <pc:sldMk cId="3011875620" sldId="903"/>
            <ac:spMk id="18" creationId="{9736B491-E02A-609D-B15C-55CA4A540B30}"/>
          </ac:spMkLst>
        </pc:spChg>
        <pc:spChg chg="add del mod modVis">
          <ac:chgData name="Nataliia Chornii (UA)" userId="4e4b8b3d-5f31-49bb-9f80-8a25c04abfff" providerId="ADAL" clId="{EE97D3FE-9ACA-4467-98E5-532EC45D9D1C}" dt="2024-03-01T08:51:56.063" v="5739"/>
          <ac:spMkLst>
            <pc:docMk/>
            <pc:sldMk cId="3011875620" sldId="903"/>
            <ac:spMk id="19" creationId="{DAB858D0-65E4-0A4E-C338-CD1D745712D7}"/>
          </ac:spMkLst>
        </pc:spChg>
        <pc:spChg chg="add del mod modVis">
          <ac:chgData name="Nataliia Chornii (UA)" userId="4e4b8b3d-5f31-49bb-9f80-8a25c04abfff" providerId="ADAL" clId="{EE97D3FE-9ACA-4467-98E5-532EC45D9D1C}" dt="2024-03-01T08:52:18.233" v="6727"/>
          <ac:spMkLst>
            <pc:docMk/>
            <pc:sldMk cId="3011875620" sldId="903"/>
            <ac:spMk id="20" creationId="{D023A0E5-5A89-6CC2-0620-6580047DA41B}"/>
          </ac:spMkLst>
        </pc:spChg>
        <pc:spChg chg="add del mod modVis">
          <ac:chgData name="Nataliia Chornii (UA)" userId="4e4b8b3d-5f31-49bb-9f80-8a25c04abfff" providerId="ADAL" clId="{EE97D3FE-9ACA-4467-98E5-532EC45D9D1C}" dt="2024-03-01T09:13:20.182" v="8091"/>
          <ac:spMkLst>
            <pc:docMk/>
            <pc:sldMk cId="3011875620" sldId="903"/>
            <ac:spMk id="21" creationId="{09123EA7-5358-38BB-6F4F-561DC8D001EC}"/>
          </ac:spMkLst>
        </pc:spChg>
        <pc:spChg chg="add del mod ord">
          <ac:chgData name="Nataliia Chornii (UA)" userId="4e4b8b3d-5f31-49bb-9f80-8a25c04abfff" providerId="ADAL" clId="{EE97D3FE-9ACA-4467-98E5-532EC45D9D1C}" dt="2024-03-01T09:14:31.546" v="8147" actId="478"/>
          <ac:spMkLst>
            <pc:docMk/>
            <pc:sldMk cId="3011875620" sldId="903"/>
            <ac:spMk id="23" creationId="{53D9E6A1-5786-9D9E-1313-55660CF565AD}"/>
          </ac:spMkLst>
        </pc:spChg>
        <pc:spChg chg="add mod ord">
          <ac:chgData name="Nataliia Chornii (UA)" userId="4e4b8b3d-5f31-49bb-9f80-8a25c04abfff" providerId="ADAL" clId="{EE97D3FE-9ACA-4467-98E5-532EC45D9D1C}" dt="2024-03-01T09:27:01.696" v="8315" actId="14100"/>
          <ac:spMkLst>
            <pc:docMk/>
            <pc:sldMk cId="3011875620" sldId="903"/>
            <ac:spMk id="24" creationId="{DA042BFC-9321-AE2A-D685-F5B36EFD0C0A}"/>
          </ac:spMkLst>
        </pc:spChg>
        <pc:spChg chg="add mod ord">
          <ac:chgData name="Nataliia Chornii (UA)" userId="4e4b8b3d-5f31-49bb-9f80-8a25c04abfff" providerId="ADAL" clId="{EE97D3FE-9ACA-4467-98E5-532EC45D9D1C}" dt="2024-03-01T09:26:49.870" v="8312" actId="1076"/>
          <ac:spMkLst>
            <pc:docMk/>
            <pc:sldMk cId="3011875620" sldId="903"/>
            <ac:spMk id="25" creationId="{F4EF9CAC-BCB4-3861-ABEC-9E1F2B71AD96}"/>
          </ac:spMkLst>
        </pc:spChg>
        <pc:spChg chg="add del mod ord">
          <ac:chgData name="Nataliia Chornii (UA)" userId="4e4b8b3d-5f31-49bb-9f80-8a25c04abfff" providerId="ADAL" clId="{EE97D3FE-9ACA-4467-98E5-532EC45D9D1C}" dt="2024-03-01T09:19:52.009" v="8270" actId="478"/>
          <ac:spMkLst>
            <pc:docMk/>
            <pc:sldMk cId="3011875620" sldId="903"/>
            <ac:spMk id="26" creationId="{5BEF4F66-0F8B-D263-7195-1FB12F20999C}"/>
          </ac:spMkLst>
        </pc:spChg>
        <pc:spChg chg="mod">
          <ac:chgData name="Nataliia Chornii (UA)" userId="4e4b8b3d-5f31-49bb-9f80-8a25c04abfff" providerId="ADAL" clId="{EE97D3FE-9ACA-4467-98E5-532EC45D9D1C}" dt="2024-03-01T09:14:08.888" v="8107"/>
          <ac:spMkLst>
            <pc:docMk/>
            <pc:sldMk cId="3011875620" sldId="903"/>
            <ac:spMk id="28" creationId="{AB6BDF94-7D7F-46FE-80AA-A64B6B1AB6FD}"/>
          </ac:spMkLst>
        </pc:spChg>
        <pc:spChg chg="mod">
          <ac:chgData name="Nataliia Chornii (UA)" userId="4e4b8b3d-5f31-49bb-9f80-8a25c04abfff" providerId="ADAL" clId="{EE97D3FE-9ACA-4467-98E5-532EC45D9D1C}" dt="2024-03-01T09:14:08.888" v="8107"/>
          <ac:spMkLst>
            <pc:docMk/>
            <pc:sldMk cId="3011875620" sldId="903"/>
            <ac:spMk id="29" creationId="{425A3F11-8CFB-256F-22E8-2EECD6D05DCF}"/>
          </ac:spMkLst>
        </pc:spChg>
        <pc:spChg chg="add del mod ord">
          <ac:chgData name="Nataliia Chornii (UA)" userId="4e4b8b3d-5f31-49bb-9f80-8a25c04abfff" providerId="ADAL" clId="{EE97D3FE-9ACA-4467-98E5-532EC45D9D1C}" dt="2024-03-01T09:19:52.009" v="8270" actId="478"/>
          <ac:spMkLst>
            <pc:docMk/>
            <pc:sldMk cId="3011875620" sldId="903"/>
            <ac:spMk id="30" creationId="{B186FF50-F31B-BB22-EDE4-839349F5C551}"/>
          </ac:spMkLst>
        </pc:spChg>
        <pc:spChg chg="add mod ord">
          <ac:chgData name="Nataliia Chornii (UA)" userId="4e4b8b3d-5f31-49bb-9f80-8a25c04abfff" providerId="ADAL" clId="{EE97D3FE-9ACA-4467-98E5-532EC45D9D1C}" dt="2024-03-01T09:21:47.604" v="8281" actId="555"/>
          <ac:spMkLst>
            <pc:docMk/>
            <pc:sldMk cId="3011875620" sldId="903"/>
            <ac:spMk id="33" creationId="{91B5CAE0-F039-3450-C576-47A650EA1505}"/>
          </ac:spMkLst>
        </pc:spChg>
        <pc:spChg chg="add mod">
          <ac:chgData name="Nataliia Chornii (UA)" userId="4e4b8b3d-5f31-49bb-9f80-8a25c04abfff" providerId="ADAL" clId="{EE97D3FE-9ACA-4467-98E5-532EC45D9D1C}" dt="2024-03-01T09:27:01.696" v="8315" actId="14100"/>
          <ac:spMkLst>
            <pc:docMk/>
            <pc:sldMk cId="3011875620" sldId="903"/>
            <ac:spMk id="34" creationId="{48C56B3B-5C0E-89A6-1595-B0C15560EB71}"/>
          </ac:spMkLst>
        </pc:spChg>
        <pc:spChg chg="add mod">
          <ac:chgData name="Nataliia Chornii (UA)" userId="4e4b8b3d-5f31-49bb-9f80-8a25c04abfff" providerId="ADAL" clId="{EE97D3FE-9ACA-4467-98E5-532EC45D9D1C}" dt="2024-03-01T09:26:49.870" v="8312" actId="1076"/>
          <ac:spMkLst>
            <pc:docMk/>
            <pc:sldMk cId="3011875620" sldId="903"/>
            <ac:spMk id="35" creationId="{B766C826-6D08-3C51-A63F-286C166B5215}"/>
          </ac:spMkLst>
        </pc:spChg>
        <pc:spChg chg="add del mod">
          <ac:chgData name="Nataliia Chornii (UA)" userId="4e4b8b3d-5f31-49bb-9f80-8a25c04abfff" providerId="ADAL" clId="{EE97D3FE-9ACA-4467-98E5-532EC45D9D1C}" dt="2024-03-01T09:19:50.543" v="8269" actId="478"/>
          <ac:spMkLst>
            <pc:docMk/>
            <pc:sldMk cId="3011875620" sldId="903"/>
            <ac:spMk id="36" creationId="{0B0F7225-B1F4-26DB-8E47-D5866F7D0AFF}"/>
          </ac:spMkLst>
        </pc:spChg>
        <pc:spChg chg="add del mod">
          <ac:chgData name="Nataliia Chornii (UA)" userId="4e4b8b3d-5f31-49bb-9f80-8a25c04abfff" providerId="ADAL" clId="{EE97D3FE-9ACA-4467-98E5-532EC45D9D1C}" dt="2024-03-01T09:19:50.543" v="8269" actId="478"/>
          <ac:spMkLst>
            <pc:docMk/>
            <pc:sldMk cId="3011875620" sldId="903"/>
            <ac:spMk id="37" creationId="{86B2EC1A-8E04-61D4-DD85-48B745E31695}"/>
          </ac:spMkLst>
        </pc:spChg>
        <pc:spChg chg="add mod">
          <ac:chgData name="Nataliia Chornii (UA)" userId="4e4b8b3d-5f31-49bb-9f80-8a25c04abfff" providerId="ADAL" clId="{EE97D3FE-9ACA-4467-98E5-532EC45D9D1C}" dt="2024-03-01T09:27:01.696" v="8315" actId="14100"/>
          <ac:spMkLst>
            <pc:docMk/>
            <pc:sldMk cId="3011875620" sldId="903"/>
            <ac:spMk id="38" creationId="{ADCF57E4-22C5-26F3-DA4D-7482BC480F36}"/>
          </ac:spMkLst>
        </pc:spChg>
        <pc:spChg chg="add mod">
          <ac:chgData name="Nataliia Chornii (UA)" userId="4e4b8b3d-5f31-49bb-9f80-8a25c04abfff" providerId="ADAL" clId="{EE97D3FE-9ACA-4467-98E5-532EC45D9D1C}" dt="2024-03-01T09:26:49.870" v="8312" actId="1076"/>
          <ac:spMkLst>
            <pc:docMk/>
            <pc:sldMk cId="3011875620" sldId="903"/>
            <ac:spMk id="39" creationId="{3B3A753D-2643-22D3-98E8-407917D7B655}"/>
          </ac:spMkLst>
        </pc:spChg>
        <pc:spChg chg="add del mod">
          <ac:chgData name="Nataliia Chornii (UA)" userId="4e4b8b3d-5f31-49bb-9f80-8a25c04abfff" providerId="ADAL" clId="{EE97D3FE-9ACA-4467-98E5-532EC45D9D1C}" dt="2024-03-01T09:19:48.099" v="8268" actId="478"/>
          <ac:spMkLst>
            <pc:docMk/>
            <pc:sldMk cId="3011875620" sldId="903"/>
            <ac:spMk id="40" creationId="{7747CDD1-7A53-60A6-7F37-8711DC9B31D1}"/>
          </ac:spMkLst>
        </pc:spChg>
        <pc:spChg chg="add del mod">
          <ac:chgData name="Nataliia Chornii (UA)" userId="4e4b8b3d-5f31-49bb-9f80-8a25c04abfff" providerId="ADAL" clId="{EE97D3FE-9ACA-4467-98E5-532EC45D9D1C}" dt="2024-03-01T09:19:48.099" v="8268" actId="478"/>
          <ac:spMkLst>
            <pc:docMk/>
            <pc:sldMk cId="3011875620" sldId="903"/>
            <ac:spMk id="41" creationId="{7A7982D3-5466-05DD-67B3-421E2A623685}"/>
          </ac:spMkLst>
        </pc:spChg>
        <pc:spChg chg="add mod">
          <ac:chgData name="Nataliia Chornii (UA)" userId="4e4b8b3d-5f31-49bb-9f80-8a25c04abfff" providerId="ADAL" clId="{EE97D3FE-9ACA-4467-98E5-532EC45D9D1C}" dt="2024-03-01T09:26:49.870" v="8312" actId="1076"/>
          <ac:spMkLst>
            <pc:docMk/>
            <pc:sldMk cId="3011875620" sldId="903"/>
            <ac:spMk id="42" creationId="{68F2028E-9AD9-74A4-45F4-1624B4155640}"/>
          </ac:spMkLst>
        </pc:spChg>
        <pc:spChg chg="add mod">
          <ac:chgData name="Nataliia Chornii (UA)" userId="4e4b8b3d-5f31-49bb-9f80-8a25c04abfff" providerId="ADAL" clId="{EE97D3FE-9ACA-4467-98E5-532EC45D9D1C}" dt="2024-03-01T09:26:49.870" v="8312" actId="1076"/>
          <ac:spMkLst>
            <pc:docMk/>
            <pc:sldMk cId="3011875620" sldId="903"/>
            <ac:spMk id="43" creationId="{2B9AE07F-5163-AD73-9B73-F4ADAAB4CB84}"/>
          </ac:spMkLst>
        </pc:spChg>
        <pc:spChg chg="add mod">
          <ac:chgData name="Nataliia Chornii (UA)" userId="4e4b8b3d-5f31-49bb-9f80-8a25c04abfff" providerId="ADAL" clId="{EE97D3FE-9ACA-4467-98E5-532EC45D9D1C}" dt="2024-03-01T09:26:49.870" v="8312" actId="1076"/>
          <ac:spMkLst>
            <pc:docMk/>
            <pc:sldMk cId="3011875620" sldId="903"/>
            <ac:spMk id="44" creationId="{9EC2ECCE-24AA-0CA5-D23D-11487EDED9A5}"/>
          </ac:spMkLst>
        </pc:spChg>
        <pc:spChg chg="add del mod">
          <ac:chgData name="Nataliia Chornii (UA)" userId="4e4b8b3d-5f31-49bb-9f80-8a25c04abfff" providerId="ADAL" clId="{EE97D3FE-9ACA-4467-98E5-532EC45D9D1C}" dt="2024-03-01T09:24:01.954" v="8295" actId="478"/>
          <ac:spMkLst>
            <pc:docMk/>
            <pc:sldMk cId="3011875620" sldId="903"/>
            <ac:spMk id="45" creationId="{D606CCFF-0DEC-26A2-C81A-F4505F047824}"/>
          </ac:spMkLst>
        </pc:spChg>
        <pc:spChg chg="add del mod">
          <ac:chgData name="Nataliia Chornii (UA)" userId="4e4b8b3d-5f31-49bb-9f80-8a25c04abfff" providerId="ADAL" clId="{EE97D3FE-9ACA-4467-98E5-532EC45D9D1C}" dt="2024-03-01T09:24:28.813" v="8299" actId="478"/>
          <ac:spMkLst>
            <pc:docMk/>
            <pc:sldMk cId="3011875620" sldId="903"/>
            <ac:spMk id="46" creationId="{0A76A211-4826-5A60-5E67-513315AA54D1}"/>
          </ac:spMkLst>
        </pc:spChg>
        <pc:spChg chg="mod">
          <ac:chgData name="Nataliia Chornii (UA)" userId="4e4b8b3d-5f31-49bb-9f80-8a25c04abfff" providerId="ADAL" clId="{EE97D3FE-9ACA-4467-98E5-532EC45D9D1C}" dt="2024-03-01T09:28:35.004" v="8338" actId="207"/>
          <ac:spMkLst>
            <pc:docMk/>
            <pc:sldMk cId="3011875620" sldId="903"/>
            <ac:spMk id="48" creationId="{F2E39767-EDB9-484C-0B35-744F3795A6CD}"/>
          </ac:spMkLst>
        </pc:spChg>
        <pc:spChg chg="mod">
          <ac:chgData name="Nataliia Chornii (UA)" userId="4e4b8b3d-5f31-49bb-9f80-8a25c04abfff" providerId="ADAL" clId="{EE97D3FE-9ACA-4467-98E5-532EC45D9D1C}" dt="2024-03-01T09:28:35.004" v="8338" actId="207"/>
          <ac:spMkLst>
            <pc:docMk/>
            <pc:sldMk cId="3011875620" sldId="903"/>
            <ac:spMk id="49" creationId="{572A06AC-8F3F-01E9-3219-527A4685D974}"/>
          </ac:spMkLst>
        </pc:spChg>
        <pc:spChg chg="mod">
          <ac:chgData name="Nataliia Chornii (UA)" userId="4e4b8b3d-5f31-49bb-9f80-8a25c04abfff" providerId="ADAL" clId="{EE97D3FE-9ACA-4467-98E5-532EC45D9D1C}" dt="2024-03-01T09:28:35.004" v="8338" actId="207"/>
          <ac:spMkLst>
            <pc:docMk/>
            <pc:sldMk cId="3011875620" sldId="903"/>
            <ac:spMk id="50" creationId="{1F82D50F-0C5B-CC51-D43A-64D75E4976AB}"/>
          </ac:spMkLst>
        </pc:spChg>
        <pc:spChg chg="add mod">
          <ac:chgData name="Nataliia Chornii (UA)" userId="4e4b8b3d-5f31-49bb-9f80-8a25c04abfff" providerId="ADAL" clId="{EE97D3FE-9ACA-4467-98E5-532EC45D9D1C}" dt="2024-03-01T09:28:49.428" v="8361" actId="1038"/>
          <ac:spMkLst>
            <pc:docMk/>
            <pc:sldMk cId="3011875620" sldId="903"/>
            <ac:spMk id="51" creationId="{2398A36F-FA9A-0524-9E8D-120752F63E34}"/>
          </ac:spMkLst>
        </pc:spChg>
        <pc:spChg chg="mod">
          <ac:chgData name="Nataliia Chornii (UA)" userId="4e4b8b3d-5f31-49bb-9f80-8a25c04abfff" providerId="ADAL" clId="{EE97D3FE-9ACA-4467-98E5-532EC45D9D1C}" dt="2024-03-01T09:28:35.004" v="8338" actId="207"/>
          <ac:spMkLst>
            <pc:docMk/>
            <pc:sldMk cId="3011875620" sldId="903"/>
            <ac:spMk id="53" creationId="{24412FE5-C3CD-76F7-0B4A-2EB3610E5AE0}"/>
          </ac:spMkLst>
        </pc:spChg>
        <pc:spChg chg="mod">
          <ac:chgData name="Nataliia Chornii (UA)" userId="4e4b8b3d-5f31-49bb-9f80-8a25c04abfff" providerId="ADAL" clId="{EE97D3FE-9ACA-4467-98E5-532EC45D9D1C}" dt="2024-03-01T09:28:35.004" v="8338" actId="207"/>
          <ac:spMkLst>
            <pc:docMk/>
            <pc:sldMk cId="3011875620" sldId="903"/>
            <ac:spMk id="54" creationId="{2241AB89-0344-6E51-6FB0-574A73D5D9B3}"/>
          </ac:spMkLst>
        </pc:spChg>
        <pc:spChg chg="mod">
          <ac:chgData name="Nataliia Chornii (UA)" userId="4e4b8b3d-5f31-49bb-9f80-8a25c04abfff" providerId="ADAL" clId="{EE97D3FE-9ACA-4467-98E5-532EC45D9D1C}" dt="2024-03-01T09:28:35.004" v="8338" actId="207"/>
          <ac:spMkLst>
            <pc:docMk/>
            <pc:sldMk cId="3011875620" sldId="903"/>
            <ac:spMk id="55" creationId="{BDA037DD-5019-C486-399C-83EA9F08CA88}"/>
          </ac:spMkLst>
        </pc:spChg>
        <pc:spChg chg="mod">
          <ac:chgData name="Nataliia Chornii (UA)" userId="4e4b8b3d-5f31-49bb-9f80-8a25c04abfff" providerId="ADAL" clId="{EE97D3FE-9ACA-4467-98E5-532EC45D9D1C}" dt="2024-03-01T09:28:35.004" v="8338" actId="207"/>
          <ac:spMkLst>
            <pc:docMk/>
            <pc:sldMk cId="3011875620" sldId="903"/>
            <ac:spMk id="56" creationId="{29893079-D834-8AAA-98B1-C83D3CAC24F2}"/>
          </ac:spMkLst>
        </pc:spChg>
        <pc:spChg chg="add del mod ord">
          <ac:chgData name="Nataliia Chornii (UA)" userId="4e4b8b3d-5f31-49bb-9f80-8a25c04abfff" providerId="ADAL" clId="{EE97D3FE-9ACA-4467-98E5-532EC45D9D1C}" dt="2024-03-01T10:27:41.726" v="10157" actId="478"/>
          <ac:spMkLst>
            <pc:docMk/>
            <pc:sldMk cId="3011875620" sldId="903"/>
            <ac:spMk id="58" creationId="{AD0C46E0-E4CB-4701-EDBB-6F7977701A59}"/>
          </ac:spMkLst>
        </pc:spChg>
        <pc:spChg chg="add del mod modVis">
          <ac:chgData name="Nataliia Chornii (UA)" userId="4e4b8b3d-5f31-49bb-9f80-8a25c04abfff" providerId="ADAL" clId="{EE97D3FE-9ACA-4467-98E5-532EC45D9D1C}" dt="2024-03-01T10:27:35.270" v="10144"/>
          <ac:spMkLst>
            <pc:docMk/>
            <pc:sldMk cId="3011875620" sldId="903"/>
            <ac:spMk id="59" creationId="{DBB423AD-C36F-B281-A7B0-D84EE7BFBE8E}"/>
          </ac:spMkLst>
        </pc:spChg>
        <pc:grpChg chg="add mod">
          <ac:chgData name="Nataliia Chornii (UA)" userId="4e4b8b3d-5f31-49bb-9f80-8a25c04abfff" providerId="ADAL" clId="{EE97D3FE-9ACA-4467-98E5-532EC45D9D1C}" dt="2024-03-11T14:22:40.001" v="24031"/>
          <ac:grpSpMkLst>
            <pc:docMk/>
            <pc:sldMk cId="3011875620" sldId="903"/>
            <ac:grpSpMk id="5" creationId="{706A042E-96D3-EE24-FA5E-32D25A875506}"/>
          </ac:grpSpMkLst>
        </pc:grpChg>
        <pc:grpChg chg="add del mod ord">
          <ac:chgData name="Nataliia Chornii (UA)" userId="4e4b8b3d-5f31-49bb-9f80-8a25c04abfff" providerId="ADAL" clId="{EE97D3FE-9ACA-4467-98E5-532EC45D9D1C}" dt="2024-03-01T09:14:57.172" v="8151" actId="478"/>
          <ac:grpSpMkLst>
            <pc:docMk/>
            <pc:sldMk cId="3011875620" sldId="903"/>
            <ac:grpSpMk id="27" creationId="{F5227D46-2B99-548A-0FBE-CDD4B27748C3}"/>
          </ac:grpSpMkLst>
        </pc:grpChg>
        <pc:grpChg chg="add mod">
          <ac:chgData name="Nataliia Chornii (UA)" userId="4e4b8b3d-5f31-49bb-9f80-8a25c04abfff" providerId="ADAL" clId="{EE97D3FE-9ACA-4467-98E5-532EC45D9D1C}" dt="2024-03-01T09:28:52.709" v="8372" actId="1037"/>
          <ac:grpSpMkLst>
            <pc:docMk/>
            <pc:sldMk cId="3011875620" sldId="903"/>
            <ac:grpSpMk id="47" creationId="{C171BA25-5382-4AC1-434C-CF8A04131F54}"/>
          </ac:grpSpMkLst>
        </pc:grpChg>
        <pc:grpChg chg="add mod">
          <ac:chgData name="Nataliia Chornii (UA)" userId="4e4b8b3d-5f31-49bb-9f80-8a25c04abfff" providerId="ADAL" clId="{EE97D3FE-9ACA-4467-98E5-532EC45D9D1C}" dt="2024-03-01T09:28:45.473" v="8353" actId="1038"/>
          <ac:grpSpMkLst>
            <pc:docMk/>
            <pc:sldMk cId="3011875620" sldId="903"/>
            <ac:grpSpMk id="52" creationId="{D94BAF1D-42A1-21C7-F626-8E0107576297}"/>
          </ac:grpSpMkLst>
        </pc:grpChg>
        <pc:grpChg chg="add mod">
          <ac:chgData name="Nataliia Chornii (UA)" userId="4e4b8b3d-5f31-49bb-9f80-8a25c04abfff" providerId="ADAL" clId="{EE97D3FE-9ACA-4467-98E5-532EC45D9D1C}" dt="2024-03-01T09:36:34.447" v="8425" actId="164"/>
          <ac:grpSpMkLst>
            <pc:docMk/>
            <pc:sldMk cId="3011875620" sldId="903"/>
            <ac:grpSpMk id="57" creationId="{9F6F67FF-2EDF-5A97-61F2-6CC866CB9959}"/>
          </ac:grpSpMkLst>
        </pc:grpChg>
        <pc:graphicFrameChg chg="add mod ord modVis replST">
          <ac:chgData name="Nataliia Chornii (UA)" userId="4e4b8b3d-5f31-49bb-9f80-8a25c04abfff" providerId="ADAL" clId="{EE97D3FE-9ACA-4467-98E5-532EC45D9D1C}" dt="2024-03-01T10:27:35.270" v="10146"/>
          <ac:graphicFrameMkLst>
            <pc:docMk/>
            <pc:sldMk cId="3011875620" sldId="903"/>
            <ac:graphicFrameMk id="15" creationId="{5BA6788F-AF5C-AB56-A6FB-EB7116022A62}"/>
          </ac:graphicFrameMkLst>
        </pc:graphicFrameChg>
        <pc:picChg chg="add mod ord modCrop">
          <ac:chgData name="Nataliia Chornii (UA)" userId="4e4b8b3d-5f31-49bb-9f80-8a25c04abfff" providerId="ADAL" clId="{EE97D3FE-9ACA-4467-98E5-532EC45D9D1C}" dt="2024-03-01T09:21:46.164" v="8280" actId="555"/>
          <ac:picMkLst>
            <pc:docMk/>
            <pc:sldMk cId="3011875620" sldId="903"/>
            <ac:picMk id="32" creationId="{C99C3321-AADB-8522-5455-B67E37EB9B30}"/>
          </ac:picMkLst>
        </pc:picChg>
      </pc:sldChg>
      <pc:sldChg chg="addSp delSp modSp mod modClrScheme chgLayout">
        <pc:chgData name="Nataliia Chornii (UA)" userId="4e4b8b3d-5f31-49bb-9f80-8a25c04abfff" providerId="ADAL" clId="{EE97D3FE-9ACA-4467-98E5-532EC45D9D1C}" dt="2024-03-11T14:22:42.677" v="24032"/>
        <pc:sldMkLst>
          <pc:docMk/>
          <pc:sldMk cId="795685229" sldId="904"/>
        </pc:sldMkLst>
        <pc:spChg chg="mod ord">
          <ac:chgData name="Nataliia Chornii (UA)" userId="4e4b8b3d-5f31-49bb-9f80-8a25c04abfff" providerId="ADAL" clId="{EE97D3FE-9ACA-4467-98E5-532EC45D9D1C}" dt="2024-03-04T09:03:07.611" v="18356"/>
          <ac:spMkLst>
            <pc:docMk/>
            <pc:sldMk cId="795685229" sldId="904"/>
            <ac:spMk id="2" creationId="{EDFBCEAB-7D4A-91D0-E036-AAFACC3ABE8D}"/>
          </ac:spMkLst>
        </pc:spChg>
        <pc:spChg chg="del mod ord">
          <ac:chgData name="Nataliia Chornii (UA)" userId="4e4b8b3d-5f31-49bb-9f80-8a25c04abfff" providerId="ADAL" clId="{EE97D3FE-9ACA-4467-98E5-532EC45D9D1C}" dt="2024-03-01T10:27:10.494" v="10051" actId="478"/>
          <ac:spMkLst>
            <pc:docMk/>
            <pc:sldMk cId="795685229" sldId="904"/>
            <ac:spMk id="3" creationId="{26614F0E-2835-BB69-9173-4B170029D0DD}"/>
          </ac:spMkLst>
        </pc:spChg>
        <pc:spChg chg="add mod ord">
          <ac:chgData name="Nataliia Chornii (UA)" userId="4e4b8b3d-5f31-49bb-9f80-8a25c04abfff" providerId="ADAL" clId="{EE97D3FE-9ACA-4467-98E5-532EC45D9D1C}" dt="2024-03-04T09:03:07.626" v="18374"/>
          <ac:spMkLst>
            <pc:docMk/>
            <pc:sldMk cId="795685229" sldId="904"/>
            <ac:spMk id="3" creationId="{4C152C15-BC58-532B-E67E-FFA20C37B22F}"/>
          </ac:spMkLst>
        </pc:spChg>
        <pc:spChg chg="mod ord">
          <ac:chgData name="Nataliia Chornii (UA)" userId="4e4b8b3d-5f31-49bb-9f80-8a25c04abfff" providerId="ADAL" clId="{EE97D3FE-9ACA-4467-98E5-532EC45D9D1C}" dt="2024-03-04T09:03:07.611" v="18358"/>
          <ac:spMkLst>
            <pc:docMk/>
            <pc:sldMk cId="795685229" sldId="904"/>
            <ac:spMk id="4" creationId="{A6320228-D809-6F87-2500-99BCB217E23A}"/>
          </ac:spMkLst>
        </pc:spChg>
        <pc:spChg chg="add mod ord">
          <ac:chgData name="Nataliia Chornii (UA)" userId="4e4b8b3d-5f31-49bb-9f80-8a25c04abfff" providerId="ADAL" clId="{EE97D3FE-9ACA-4467-98E5-532EC45D9D1C}" dt="2024-03-04T09:03:07.626" v="18376"/>
          <ac:spMkLst>
            <pc:docMk/>
            <pc:sldMk cId="795685229" sldId="904"/>
            <ac:spMk id="5" creationId="{945044BE-2322-FDB2-86F2-2ACD1D763423}"/>
          </ac:spMkLst>
        </pc:spChg>
        <pc:spChg chg="del">
          <ac:chgData name="Nataliia Chornii (UA)" userId="4e4b8b3d-5f31-49bb-9f80-8a25c04abfff" providerId="ADAL" clId="{EE97D3FE-9ACA-4467-98E5-532EC45D9D1C}" dt="2024-03-01T09:59:08.243" v="9428" actId="478"/>
          <ac:spMkLst>
            <pc:docMk/>
            <pc:sldMk cId="795685229" sldId="904"/>
            <ac:spMk id="5" creationId="{E03CB895-8BEB-5197-3BCF-F146EFC5500F}"/>
          </ac:spMkLst>
        </pc:spChg>
        <pc:spChg chg="add mod">
          <ac:chgData name="Nataliia Chornii (UA)" userId="4e4b8b3d-5f31-49bb-9f80-8a25c04abfff" providerId="ADAL" clId="{EE97D3FE-9ACA-4467-98E5-532EC45D9D1C}" dt="2024-03-11T14:22:42.677" v="24032"/>
          <ac:spMkLst>
            <pc:docMk/>
            <pc:sldMk cId="795685229" sldId="904"/>
            <ac:spMk id="6" creationId="{236C7614-93A6-8AC7-7258-BAE206E1F0BE}"/>
          </ac:spMkLst>
        </pc:spChg>
        <pc:spChg chg="add del mod modVis">
          <ac:chgData name="Nataliia Chornii (UA)" userId="4e4b8b3d-5f31-49bb-9f80-8a25c04abfff" providerId="ADAL" clId="{EE97D3FE-9ACA-4467-98E5-532EC45D9D1C}" dt="2024-03-04T08:55:23.899" v="18120"/>
          <ac:spMkLst>
            <pc:docMk/>
            <pc:sldMk cId="795685229" sldId="904"/>
            <ac:spMk id="6" creationId="{2F3F12C8-A58C-32D9-3708-ED40DDB29DBE}"/>
          </ac:spMkLst>
        </pc:spChg>
        <pc:spChg chg="del">
          <ac:chgData name="Nataliia Chornii (UA)" userId="4e4b8b3d-5f31-49bb-9f80-8a25c04abfff" providerId="ADAL" clId="{EE97D3FE-9ACA-4467-98E5-532EC45D9D1C}" dt="2024-03-01T09:59:08.243" v="9428" actId="478"/>
          <ac:spMkLst>
            <pc:docMk/>
            <pc:sldMk cId="795685229" sldId="904"/>
            <ac:spMk id="6" creationId="{34D7B216-0AF9-A245-CB30-410131422508}"/>
          </ac:spMkLst>
        </pc:spChg>
        <pc:spChg chg="del">
          <ac:chgData name="Nataliia Chornii (UA)" userId="4e4b8b3d-5f31-49bb-9f80-8a25c04abfff" providerId="ADAL" clId="{EE97D3FE-9ACA-4467-98E5-532EC45D9D1C}" dt="2024-03-01T09:36:38.799" v="8426" actId="478"/>
          <ac:spMkLst>
            <pc:docMk/>
            <pc:sldMk cId="795685229" sldId="904"/>
            <ac:spMk id="7" creationId="{ABE8EE39-C466-6083-2B14-0237C935C96B}"/>
          </ac:spMkLst>
        </pc:spChg>
        <pc:spChg chg="add del mod">
          <ac:chgData name="Nataliia Chornii (UA)" userId="4e4b8b3d-5f31-49bb-9f80-8a25c04abfff" providerId="ADAL" clId="{EE97D3FE-9ACA-4467-98E5-532EC45D9D1C}" dt="2024-03-04T08:56:44.586" v="18163"/>
          <ac:spMkLst>
            <pc:docMk/>
            <pc:sldMk cId="795685229" sldId="904"/>
            <ac:spMk id="7" creationId="{BB9046EC-4565-C1E6-9F13-2DF6F9B4AA8A}"/>
          </ac:spMkLst>
        </pc:spChg>
        <pc:spChg chg="mod">
          <ac:chgData name="Nataliia Chornii (UA)" userId="4e4b8b3d-5f31-49bb-9f80-8a25c04abfff" providerId="ADAL" clId="{EE97D3FE-9ACA-4467-98E5-532EC45D9D1C}" dt="2024-03-11T14:22:42.677" v="24032"/>
          <ac:spMkLst>
            <pc:docMk/>
            <pc:sldMk cId="795685229" sldId="904"/>
            <ac:spMk id="8" creationId="{A09E2FC6-0F4D-227B-88CF-B52B5EE2EF82}"/>
          </ac:spMkLst>
        </pc:spChg>
        <pc:spChg chg="add del mod">
          <ac:chgData name="Nataliia Chornii (UA)" userId="4e4b8b3d-5f31-49bb-9f80-8a25c04abfff" providerId="ADAL" clId="{EE97D3FE-9ACA-4467-98E5-532EC45D9D1C}" dt="2024-03-04T08:56:44.586" v="18163"/>
          <ac:spMkLst>
            <pc:docMk/>
            <pc:sldMk cId="795685229" sldId="904"/>
            <ac:spMk id="8" creationId="{B8BDCA7C-7660-34BA-AE23-C584C10B1AAA}"/>
          </ac:spMkLst>
        </pc:spChg>
        <pc:spChg chg="del">
          <ac:chgData name="Nataliia Chornii (UA)" userId="4e4b8b3d-5f31-49bb-9f80-8a25c04abfff" providerId="ADAL" clId="{EE97D3FE-9ACA-4467-98E5-532EC45D9D1C}" dt="2024-03-01T09:36:38.799" v="8426" actId="478"/>
          <ac:spMkLst>
            <pc:docMk/>
            <pc:sldMk cId="795685229" sldId="904"/>
            <ac:spMk id="8" creationId="{D3075EA9-222C-FBAB-0F0E-D4775F00C87E}"/>
          </ac:spMkLst>
        </pc:spChg>
        <pc:spChg chg="del">
          <ac:chgData name="Nataliia Chornii (UA)" userId="4e4b8b3d-5f31-49bb-9f80-8a25c04abfff" providerId="ADAL" clId="{EE97D3FE-9ACA-4467-98E5-532EC45D9D1C}" dt="2024-03-01T09:36:38.799" v="8426" actId="478"/>
          <ac:spMkLst>
            <pc:docMk/>
            <pc:sldMk cId="795685229" sldId="904"/>
            <ac:spMk id="9" creationId="{08B6A8B7-7C80-74FA-BFD5-B86DDE664F74}"/>
          </ac:spMkLst>
        </pc:spChg>
        <pc:spChg chg="del mod">
          <ac:chgData name="Nataliia Chornii (UA)" userId="4e4b8b3d-5f31-49bb-9f80-8a25c04abfff" providerId="ADAL" clId="{EE97D3FE-9ACA-4467-98E5-532EC45D9D1C}" dt="2024-03-04T08:57:02.073" v="18164" actId="478"/>
          <ac:spMkLst>
            <pc:docMk/>
            <pc:sldMk cId="795685229" sldId="904"/>
            <ac:spMk id="9" creationId="{B626D9D9-67A4-C213-04DD-1EEEDC505736}"/>
          </ac:spMkLst>
        </pc:spChg>
        <pc:spChg chg="mod">
          <ac:chgData name="Nataliia Chornii (UA)" userId="4e4b8b3d-5f31-49bb-9f80-8a25c04abfff" providerId="ADAL" clId="{EE97D3FE-9ACA-4467-98E5-532EC45D9D1C}" dt="2024-03-11T14:22:42.677" v="24032"/>
          <ac:spMkLst>
            <pc:docMk/>
            <pc:sldMk cId="795685229" sldId="904"/>
            <ac:spMk id="9" creationId="{F340303E-8854-DFEE-889A-B1C7C7D24D61}"/>
          </ac:spMkLst>
        </pc:spChg>
        <pc:spChg chg="mod">
          <ac:chgData name="Nataliia Chornii (UA)" userId="4e4b8b3d-5f31-49bb-9f80-8a25c04abfff" providerId="ADAL" clId="{EE97D3FE-9ACA-4467-98E5-532EC45D9D1C}" dt="2024-03-11T14:22:42.677" v="24032"/>
          <ac:spMkLst>
            <pc:docMk/>
            <pc:sldMk cId="795685229" sldId="904"/>
            <ac:spMk id="10" creationId="{477AA8D4-26DB-B757-6665-E175F960AC70}"/>
          </ac:spMkLst>
        </pc:spChg>
        <pc:spChg chg="add del mod">
          <ac:chgData name="Nataliia Chornii (UA)" userId="4e4b8b3d-5f31-49bb-9f80-8a25c04abfff" providerId="ADAL" clId="{EE97D3FE-9ACA-4467-98E5-532EC45D9D1C}" dt="2024-03-04T08:57:18.238" v="18170"/>
          <ac:spMkLst>
            <pc:docMk/>
            <pc:sldMk cId="795685229" sldId="904"/>
            <ac:spMk id="10" creationId="{5C9B9BAC-6A79-22CB-CFD9-FAD2A0C59132}"/>
          </ac:spMkLst>
        </pc:spChg>
        <pc:spChg chg="del">
          <ac:chgData name="Nataliia Chornii (UA)" userId="4e4b8b3d-5f31-49bb-9f80-8a25c04abfff" providerId="ADAL" clId="{EE97D3FE-9ACA-4467-98E5-532EC45D9D1C}" dt="2024-03-01T09:36:38.799" v="8426" actId="478"/>
          <ac:spMkLst>
            <pc:docMk/>
            <pc:sldMk cId="795685229" sldId="904"/>
            <ac:spMk id="10" creationId="{B337C822-0ACB-7395-4E9F-FE78A0258C7B}"/>
          </ac:spMkLst>
        </pc:spChg>
        <pc:spChg chg="mod">
          <ac:chgData name="Nataliia Chornii (UA)" userId="4e4b8b3d-5f31-49bb-9f80-8a25c04abfff" providerId="ADAL" clId="{EE97D3FE-9ACA-4467-98E5-532EC45D9D1C}" dt="2024-03-11T14:22:42.677" v="24032"/>
          <ac:spMkLst>
            <pc:docMk/>
            <pc:sldMk cId="795685229" sldId="904"/>
            <ac:spMk id="11" creationId="{16066EFF-1B24-0CE5-A2BA-1971CDA1F298}"/>
          </ac:spMkLst>
        </pc:spChg>
        <pc:spChg chg="add del mod">
          <ac:chgData name="Nataliia Chornii (UA)" userId="4e4b8b3d-5f31-49bb-9f80-8a25c04abfff" providerId="ADAL" clId="{EE97D3FE-9ACA-4467-98E5-532EC45D9D1C}" dt="2024-03-04T08:57:18.238" v="18170"/>
          <ac:spMkLst>
            <pc:docMk/>
            <pc:sldMk cId="795685229" sldId="904"/>
            <ac:spMk id="11" creationId="{728404D7-30B4-F34C-F334-397F9521EC14}"/>
          </ac:spMkLst>
        </pc:spChg>
        <pc:spChg chg="del">
          <ac:chgData name="Nataliia Chornii (UA)" userId="4e4b8b3d-5f31-49bb-9f80-8a25c04abfff" providerId="ADAL" clId="{EE97D3FE-9ACA-4467-98E5-532EC45D9D1C}" dt="2024-03-01T09:36:38.799" v="8426" actId="478"/>
          <ac:spMkLst>
            <pc:docMk/>
            <pc:sldMk cId="795685229" sldId="904"/>
            <ac:spMk id="11" creationId="{BEFB8D44-5692-BC7D-1631-1623E5005441}"/>
          </ac:spMkLst>
        </pc:spChg>
        <pc:spChg chg="del mod">
          <ac:chgData name="Nataliia Chornii (UA)" userId="4e4b8b3d-5f31-49bb-9f80-8a25c04abfff" providerId="ADAL" clId="{EE97D3FE-9ACA-4467-98E5-532EC45D9D1C}" dt="2024-03-04T08:59:54.682" v="18222"/>
          <ac:spMkLst>
            <pc:docMk/>
            <pc:sldMk cId="795685229" sldId="904"/>
            <ac:spMk id="12" creationId="{A0859D0C-4801-B94D-3506-1DBC0FDB2131}"/>
          </ac:spMkLst>
        </pc:spChg>
        <pc:spChg chg="mod">
          <ac:chgData name="Nataliia Chornii (UA)" userId="4e4b8b3d-5f31-49bb-9f80-8a25c04abfff" providerId="ADAL" clId="{EE97D3FE-9ACA-4467-98E5-532EC45D9D1C}" dt="2024-03-11T14:22:42.677" v="24032"/>
          <ac:spMkLst>
            <pc:docMk/>
            <pc:sldMk cId="795685229" sldId="904"/>
            <ac:spMk id="12" creationId="{C88E7724-810C-24BD-753F-A290ECACBD79}"/>
          </ac:spMkLst>
        </pc:spChg>
        <pc:spChg chg="del mod ord">
          <ac:chgData name="Nataliia Chornii (UA)" userId="4e4b8b3d-5f31-49bb-9f80-8a25c04abfff" providerId="ADAL" clId="{EE97D3FE-9ACA-4467-98E5-532EC45D9D1C}" dt="2024-03-01T10:26:11.912" v="10033" actId="478"/>
          <ac:spMkLst>
            <pc:docMk/>
            <pc:sldMk cId="795685229" sldId="904"/>
            <ac:spMk id="12" creationId="{DBFB2BB3-C6FD-C05A-7AC0-6ECF93BB1AD1}"/>
          </ac:spMkLst>
        </pc:spChg>
        <pc:spChg chg="add del mod modVis">
          <ac:chgData name="Nataliia Chornii (UA)" userId="4e4b8b3d-5f31-49bb-9f80-8a25c04abfff" providerId="ADAL" clId="{EE97D3FE-9ACA-4467-98E5-532EC45D9D1C}" dt="2024-03-01T08:48:59.172" v="1208"/>
          <ac:spMkLst>
            <pc:docMk/>
            <pc:sldMk cId="795685229" sldId="904"/>
            <ac:spMk id="13" creationId="{3D48090A-B4D5-6503-E0F9-32D6C257AF08}"/>
          </ac:spMkLst>
        </pc:spChg>
        <pc:spChg chg="mod">
          <ac:chgData name="Nataliia Chornii (UA)" userId="4e4b8b3d-5f31-49bb-9f80-8a25c04abfff" providerId="ADAL" clId="{EE97D3FE-9ACA-4467-98E5-532EC45D9D1C}" dt="2024-03-11T14:22:42.677" v="24032"/>
          <ac:spMkLst>
            <pc:docMk/>
            <pc:sldMk cId="795685229" sldId="904"/>
            <ac:spMk id="13" creationId="{A03FA3EC-CEDD-C891-567A-102CF6DB11EF}"/>
          </ac:spMkLst>
        </pc:spChg>
        <pc:spChg chg="add del mod">
          <ac:chgData name="Nataliia Chornii (UA)" userId="4e4b8b3d-5f31-49bb-9f80-8a25c04abfff" providerId="ADAL" clId="{EE97D3FE-9ACA-4467-98E5-532EC45D9D1C}" dt="2024-03-04T08:59:57.754" v="18224" actId="478"/>
          <ac:spMkLst>
            <pc:docMk/>
            <pc:sldMk cId="795685229" sldId="904"/>
            <ac:spMk id="13" creationId="{AA36C8E1-DE1E-CC57-116E-C2701155E406}"/>
          </ac:spMkLst>
        </pc:spChg>
        <pc:spChg chg="add del mod ord">
          <ac:chgData name="Nataliia Chornii (UA)" userId="4e4b8b3d-5f31-49bb-9f80-8a25c04abfff" providerId="ADAL" clId="{EE97D3FE-9ACA-4467-98E5-532EC45D9D1C}" dt="2024-03-04T09:05:20.657" v="18427" actId="478"/>
          <ac:spMkLst>
            <pc:docMk/>
            <pc:sldMk cId="795685229" sldId="904"/>
            <ac:spMk id="15" creationId="{72CB0957-34C0-AC95-1036-CA548487FBA4}"/>
          </ac:spMkLst>
        </pc:spChg>
        <pc:spChg chg="add del mod modVis">
          <ac:chgData name="Nataliia Chornii (UA)" userId="4e4b8b3d-5f31-49bb-9f80-8a25c04abfff" providerId="ADAL" clId="{EE97D3FE-9ACA-4467-98E5-532EC45D9D1C}" dt="2024-03-01T08:49:33.698" v="2782"/>
          <ac:spMkLst>
            <pc:docMk/>
            <pc:sldMk cId="795685229" sldId="904"/>
            <ac:spMk id="15" creationId="{8A96AACF-4884-0737-F78A-92742D1F43D2}"/>
          </ac:spMkLst>
        </pc:spChg>
        <pc:spChg chg="add mod">
          <ac:chgData name="Nataliia Chornii (UA)" userId="4e4b8b3d-5f31-49bb-9f80-8a25c04abfff" providerId="ADAL" clId="{EE97D3FE-9ACA-4467-98E5-532EC45D9D1C}" dt="2024-03-04T09:00:10.680" v="18228" actId="164"/>
          <ac:spMkLst>
            <pc:docMk/>
            <pc:sldMk cId="795685229" sldId="904"/>
            <ac:spMk id="17" creationId="{8FD30F6C-45B2-493B-F163-05CBA98D5658}"/>
          </ac:spMkLst>
        </pc:spChg>
        <pc:spChg chg="add del mod modVis">
          <ac:chgData name="Nataliia Chornii (UA)" userId="4e4b8b3d-5f31-49bb-9f80-8a25c04abfff" providerId="ADAL" clId="{EE97D3FE-9ACA-4467-98E5-532EC45D9D1C}" dt="2024-03-01T08:49:59.757" v="3770"/>
          <ac:spMkLst>
            <pc:docMk/>
            <pc:sldMk cId="795685229" sldId="904"/>
            <ac:spMk id="17" creationId="{E89DCDA5-EB63-E8BF-2E9D-C056274314BB}"/>
          </ac:spMkLst>
        </pc:spChg>
        <pc:spChg chg="add mod ord">
          <ac:chgData name="Nataliia Chornii (UA)" userId="4e4b8b3d-5f31-49bb-9f80-8a25c04abfff" providerId="ADAL" clId="{EE97D3FE-9ACA-4467-98E5-532EC45D9D1C}" dt="2024-03-04T09:05:58.105" v="18433" actId="207"/>
          <ac:spMkLst>
            <pc:docMk/>
            <pc:sldMk cId="795685229" sldId="904"/>
            <ac:spMk id="18" creationId="{3F4BD676-48F2-7B9C-384D-46EE7BC0A345}"/>
          </ac:spMkLst>
        </pc:spChg>
        <pc:spChg chg="add del mod modVis">
          <ac:chgData name="Nataliia Chornii (UA)" userId="4e4b8b3d-5f31-49bb-9f80-8a25c04abfff" providerId="ADAL" clId="{EE97D3FE-9ACA-4467-98E5-532EC45D9D1C}" dt="2024-03-01T08:51:26.075" v="4758"/>
          <ac:spMkLst>
            <pc:docMk/>
            <pc:sldMk cId="795685229" sldId="904"/>
            <ac:spMk id="18" creationId="{D057D3EC-4A43-8EAE-D969-FB60BC8BCDEB}"/>
          </ac:spMkLst>
        </pc:spChg>
        <pc:spChg chg="del mod ord">
          <ac:chgData name="Nataliia Chornii (UA)" userId="4e4b8b3d-5f31-49bb-9f80-8a25c04abfff" providerId="ADAL" clId="{EE97D3FE-9ACA-4467-98E5-532EC45D9D1C}" dt="2024-03-04T09:07:03.822" v="18464" actId="478"/>
          <ac:spMkLst>
            <pc:docMk/>
            <pc:sldMk cId="795685229" sldId="904"/>
            <ac:spMk id="19" creationId="{048A5838-6D25-2779-8C89-C2A6CF8D5120}"/>
          </ac:spMkLst>
        </pc:spChg>
        <pc:spChg chg="del mod ord">
          <ac:chgData name="Nataliia Chornii (UA)" userId="4e4b8b3d-5f31-49bb-9f80-8a25c04abfff" providerId="ADAL" clId="{EE97D3FE-9ACA-4467-98E5-532EC45D9D1C}" dt="2024-03-04T09:10:56.535" v="18500" actId="478"/>
          <ac:spMkLst>
            <pc:docMk/>
            <pc:sldMk cId="795685229" sldId="904"/>
            <ac:spMk id="20" creationId="{13D2366C-A215-8EED-AC5E-4C4A9ACD1E0F}"/>
          </ac:spMkLst>
        </pc:spChg>
        <pc:spChg chg="del mod ord">
          <ac:chgData name="Nataliia Chornii (UA)" userId="4e4b8b3d-5f31-49bb-9f80-8a25c04abfff" providerId="ADAL" clId="{EE97D3FE-9ACA-4467-98E5-532EC45D9D1C}" dt="2024-03-04T08:54:56.947" v="18086" actId="478"/>
          <ac:spMkLst>
            <pc:docMk/>
            <pc:sldMk cId="795685229" sldId="904"/>
            <ac:spMk id="21" creationId="{2F5D67B3-FA6B-A9D2-F814-CB68500CCB66}"/>
          </ac:spMkLst>
        </pc:spChg>
        <pc:spChg chg="mod ord">
          <ac:chgData name="Nataliia Chornii (UA)" userId="4e4b8b3d-5f31-49bb-9f80-8a25c04abfff" providerId="ADAL" clId="{EE97D3FE-9ACA-4467-98E5-532EC45D9D1C}" dt="2024-03-04T09:03:07.626" v="18366"/>
          <ac:spMkLst>
            <pc:docMk/>
            <pc:sldMk cId="795685229" sldId="904"/>
            <ac:spMk id="22" creationId="{FD456066-D6DB-ED05-F1F7-BFB8E89B2676}"/>
          </ac:spMkLst>
        </pc:spChg>
        <pc:spChg chg="add del mod modVis">
          <ac:chgData name="Nataliia Chornii (UA)" userId="4e4b8b3d-5f31-49bb-9f80-8a25c04abfff" providerId="ADAL" clId="{EE97D3FE-9ACA-4467-98E5-532EC45D9D1C}" dt="2024-03-01T08:51:56.063" v="5747"/>
          <ac:spMkLst>
            <pc:docMk/>
            <pc:sldMk cId="795685229" sldId="904"/>
            <ac:spMk id="23" creationId="{6DAA3761-3AED-70A1-20C5-3B4F365A4425}"/>
          </ac:spMkLst>
        </pc:spChg>
        <pc:spChg chg="add del mod">
          <ac:chgData name="Nataliia Chornii (UA)" userId="4e4b8b3d-5f31-49bb-9f80-8a25c04abfff" providerId="ADAL" clId="{EE97D3FE-9ACA-4467-98E5-532EC45D9D1C}" dt="2024-03-04T08:59:36.457" v="18218" actId="478"/>
          <ac:spMkLst>
            <pc:docMk/>
            <pc:sldMk cId="795685229" sldId="904"/>
            <ac:spMk id="23" creationId="{D587C40B-895A-873A-1624-5D387CB424CD}"/>
          </ac:spMkLst>
        </pc:spChg>
        <pc:spChg chg="add del mod modVis">
          <ac:chgData name="Nataliia Chornii (UA)" userId="4e4b8b3d-5f31-49bb-9f80-8a25c04abfff" providerId="ADAL" clId="{EE97D3FE-9ACA-4467-98E5-532EC45D9D1C}" dt="2024-03-01T08:52:18.233" v="6735"/>
          <ac:spMkLst>
            <pc:docMk/>
            <pc:sldMk cId="795685229" sldId="904"/>
            <ac:spMk id="24" creationId="{1C15C029-95FD-7D0E-6AA7-CDC43F00C769}"/>
          </ac:spMkLst>
        </pc:spChg>
        <pc:spChg chg="add del mod">
          <ac:chgData name="Nataliia Chornii (UA)" userId="4e4b8b3d-5f31-49bb-9f80-8a25c04abfff" providerId="ADAL" clId="{EE97D3FE-9ACA-4467-98E5-532EC45D9D1C}" dt="2024-03-04T08:59:54.682" v="18222"/>
          <ac:spMkLst>
            <pc:docMk/>
            <pc:sldMk cId="795685229" sldId="904"/>
            <ac:spMk id="24" creationId="{7D973646-2524-51B4-C67E-761C01567EC3}"/>
          </ac:spMkLst>
        </pc:spChg>
        <pc:spChg chg="mod">
          <ac:chgData name="Nataliia Chornii (UA)" userId="4e4b8b3d-5f31-49bb-9f80-8a25c04abfff" providerId="ADAL" clId="{EE97D3FE-9ACA-4467-98E5-532EC45D9D1C}" dt="2024-03-01T09:36:49.864" v="8433" actId="207"/>
          <ac:spMkLst>
            <pc:docMk/>
            <pc:sldMk cId="795685229" sldId="904"/>
            <ac:spMk id="26" creationId="{CA90F111-E668-30BE-440B-5CC38462EB08}"/>
          </ac:spMkLst>
        </pc:spChg>
        <pc:spChg chg="mod">
          <ac:chgData name="Nataliia Chornii (UA)" userId="4e4b8b3d-5f31-49bb-9f80-8a25c04abfff" providerId="ADAL" clId="{EE97D3FE-9ACA-4467-98E5-532EC45D9D1C}" dt="2024-03-01T09:36:43.804" v="8430" actId="207"/>
          <ac:spMkLst>
            <pc:docMk/>
            <pc:sldMk cId="795685229" sldId="904"/>
            <ac:spMk id="27" creationId="{172E5147-E792-A60A-3E58-BBA21B93A3CD}"/>
          </ac:spMkLst>
        </pc:spChg>
        <pc:spChg chg="mod">
          <ac:chgData name="Nataliia Chornii (UA)" userId="4e4b8b3d-5f31-49bb-9f80-8a25c04abfff" providerId="ADAL" clId="{EE97D3FE-9ACA-4467-98E5-532EC45D9D1C}" dt="2024-03-01T09:36:39.132" v="8427"/>
          <ac:spMkLst>
            <pc:docMk/>
            <pc:sldMk cId="795685229" sldId="904"/>
            <ac:spMk id="28" creationId="{113D09D0-B233-D26A-50AA-AAC45C1DB393}"/>
          </ac:spMkLst>
        </pc:spChg>
        <pc:spChg chg="mod">
          <ac:chgData name="Nataliia Chornii (UA)" userId="4e4b8b3d-5f31-49bb-9f80-8a25c04abfff" providerId="ADAL" clId="{EE97D3FE-9ACA-4467-98E5-532EC45D9D1C}" dt="2024-03-01T09:36:59.039" v="8435" actId="207"/>
          <ac:spMkLst>
            <pc:docMk/>
            <pc:sldMk cId="795685229" sldId="904"/>
            <ac:spMk id="29" creationId="{42AFA3F6-67B6-DCB6-69E0-4FEA827E9A7D}"/>
          </ac:spMkLst>
        </pc:spChg>
        <pc:spChg chg="mod">
          <ac:chgData name="Nataliia Chornii (UA)" userId="4e4b8b3d-5f31-49bb-9f80-8a25c04abfff" providerId="ADAL" clId="{EE97D3FE-9ACA-4467-98E5-532EC45D9D1C}" dt="2024-03-01T09:36:59.039" v="8435" actId="207"/>
          <ac:spMkLst>
            <pc:docMk/>
            <pc:sldMk cId="795685229" sldId="904"/>
            <ac:spMk id="30" creationId="{062CCA3E-954F-6862-9874-A90D093D0984}"/>
          </ac:spMkLst>
        </pc:spChg>
        <pc:spChg chg="add mod ord">
          <ac:chgData name="Nataliia Chornii (UA)" userId="4e4b8b3d-5f31-49bb-9f80-8a25c04abfff" providerId="ADAL" clId="{EE97D3FE-9ACA-4467-98E5-532EC45D9D1C}" dt="2024-03-04T09:03:07.611" v="18346"/>
          <ac:spMkLst>
            <pc:docMk/>
            <pc:sldMk cId="795685229" sldId="904"/>
            <ac:spMk id="31" creationId="{E2CC0EEE-CAB2-2559-66CC-085D68FA85B6}"/>
          </ac:spMkLst>
        </pc:spChg>
        <pc:spChg chg="add mod ord">
          <ac:chgData name="Nataliia Chornii (UA)" userId="4e4b8b3d-5f31-49bb-9f80-8a25c04abfff" providerId="ADAL" clId="{EE97D3FE-9ACA-4467-98E5-532EC45D9D1C}" dt="2024-03-04T09:58:58.506" v="20213" actId="12789"/>
          <ac:spMkLst>
            <pc:docMk/>
            <pc:sldMk cId="795685229" sldId="904"/>
            <ac:spMk id="32" creationId="{6DC923B1-F81E-C41B-D732-20A592FD5A53}"/>
          </ac:spMkLst>
        </pc:spChg>
        <pc:spChg chg="add mod ord">
          <ac:chgData name="Nataliia Chornii (UA)" userId="4e4b8b3d-5f31-49bb-9f80-8a25c04abfff" providerId="ADAL" clId="{EE97D3FE-9ACA-4467-98E5-532EC45D9D1C}" dt="2024-03-04T09:03:07.611" v="18350"/>
          <ac:spMkLst>
            <pc:docMk/>
            <pc:sldMk cId="795685229" sldId="904"/>
            <ac:spMk id="33" creationId="{DF43E668-9F50-57B8-04D1-B9499347A2DE}"/>
          </ac:spMkLst>
        </pc:spChg>
        <pc:spChg chg="add mod ord">
          <ac:chgData name="Nataliia Chornii (UA)" userId="4e4b8b3d-5f31-49bb-9f80-8a25c04abfff" providerId="ADAL" clId="{EE97D3FE-9ACA-4467-98E5-532EC45D9D1C}" dt="2024-03-04T09:03:07.611" v="18352"/>
          <ac:spMkLst>
            <pc:docMk/>
            <pc:sldMk cId="795685229" sldId="904"/>
            <ac:spMk id="34" creationId="{66589027-9228-B89D-7E1A-9FECA5F1E1EF}"/>
          </ac:spMkLst>
        </pc:spChg>
        <pc:spChg chg="add mod ord">
          <ac:chgData name="Nataliia Chornii (UA)" userId="4e4b8b3d-5f31-49bb-9f80-8a25c04abfff" providerId="ADAL" clId="{EE97D3FE-9ACA-4467-98E5-532EC45D9D1C}" dt="2024-03-01T10:26:45.445" v="10043" actId="164"/>
          <ac:spMkLst>
            <pc:docMk/>
            <pc:sldMk cId="795685229" sldId="904"/>
            <ac:spMk id="35" creationId="{EB5B638A-E0A2-E95A-0C67-6BB415F0EFE3}"/>
          </ac:spMkLst>
        </pc:spChg>
        <pc:spChg chg="del mod">
          <ac:chgData name="Nataliia Chornii (UA)" userId="4e4b8b3d-5f31-49bb-9f80-8a25c04abfff" providerId="ADAL" clId="{EE97D3FE-9ACA-4467-98E5-532EC45D9D1C}" dt="2024-03-04T08:59:59.304" v="18225" actId="478"/>
          <ac:spMkLst>
            <pc:docMk/>
            <pc:sldMk cId="795685229" sldId="904"/>
            <ac:spMk id="36" creationId="{DF5652B9-3EBC-6BB8-1975-104A9B637B6F}"/>
          </ac:spMkLst>
        </pc:spChg>
        <pc:spChg chg="add del mod">
          <ac:chgData name="Nataliia Chornii (UA)" userId="4e4b8b3d-5f31-49bb-9f80-8a25c04abfff" providerId="ADAL" clId="{EE97D3FE-9ACA-4467-98E5-532EC45D9D1C}" dt="2024-03-04T09:00:46.586" v="18241" actId="478"/>
          <ac:spMkLst>
            <pc:docMk/>
            <pc:sldMk cId="795685229" sldId="904"/>
            <ac:spMk id="37" creationId="{C1B6628B-A456-4BA0-9770-73D1871226D1}"/>
          </ac:spMkLst>
        </pc:spChg>
        <pc:spChg chg="mod">
          <ac:chgData name="Nataliia Chornii (UA)" userId="4e4b8b3d-5f31-49bb-9f80-8a25c04abfff" providerId="ADAL" clId="{EE97D3FE-9ACA-4467-98E5-532EC45D9D1C}" dt="2024-03-01T10:25:53.012" v="9985"/>
          <ac:spMkLst>
            <pc:docMk/>
            <pc:sldMk cId="795685229" sldId="904"/>
            <ac:spMk id="37" creationId="{E7E1303A-5C92-0A65-848A-D85B1C60E755}"/>
          </ac:spMkLst>
        </pc:spChg>
        <pc:spChg chg="del mod">
          <ac:chgData name="Nataliia Chornii (UA)" userId="4e4b8b3d-5f31-49bb-9f80-8a25c04abfff" providerId="ADAL" clId="{EE97D3FE-9ACA-4467-98E5-532EC45D9D1C}" dt="2024-03-04T09:00:45.368" v="18239" actId="478"/>
          <ac:spMkLst>
            <pc:docMk/>
            <pc:sldMk cId="795685229" sldId="904"/>
            <ac:spMk id="38" creationId="{641C61C1-9361-E86A-D01A-8D3925380974}"/>
          </ac:spMkLst>
        </pc:spChg>
        <pc:spChg chg="mod">
          <ac:chgData name="Nataliia Chornii (UA)" userId="4e4b8b3d-5f31-49bb-9f80-8a25c04abfff" providerId="ADAL" clId="{EE97D3FE-9ACA-4467-98E5-532EC45D9D1C}" dt="2024-03-01T10:25:53.012" v="9985"/>
          <ac:spMkLst>
            <pc:docMk/>
            <pc:sldMk cId="795685229" sldId="904"/>
            <ac:spMk id="38" creationId="{C1EEF915-D5EA-5D04-73FD-739D7AAD852C}"/>
          </ac:spMkLst>
        </pc:spChg>
        <pc:spChg chg="mod">
          <ac:chgData name="Nataliia Chornii (UA)" userId="4e4b8b3d-5f31-49bb-9f80-8a25c04abfff" providerId="ADAL" clId="{EE97D3FE-9ACA-4467-98E5-532EC45D9D1C}" dt="2024-03-04T09:00:10.680" v="18228" actId="164"/>
          <ac:spMkLst>
            <pc:docMk/>
            <pc:sldMk cId="795685229" sldId="904"/>
            <ac:spMk id="39" creationId="{C0E962FD-3881-BD24-7B72-AA1509B548A4}"/>
          </ac:spMkLst>
        </pc:spChg>
        <pc:spChg chg="add del mod">
          <ac:chgData name="Nataliia Chornii (UA)" userId="4e4b8b3d-5f31-49bb-9f80-8a25c04abfff" providerId="ADAL" clId="{EE97D3FE-9ACA-4467-98E5-532EC45D9D1C}" dt="2024-03-04T09:00:46.026" v="18240" actId="478"/>
          <ac:spMkLst>
            <pc:docMk/>
            <pc:sldMk cId="795685229" sldId="904"/>
            <ac:spMk id="40" creationId="{10F9DEC1-1D6F-E3CD-C9F9-C94F65B24E2F}"/>
          </ac:spMkLst>
        </pc:spChg>
        <pc:spChg chg="mod">
          <ac:chgData name="Nataliia Chornii (UA)" userId="4e4b8b3d-5f31-49bb-9f80-8a25c04abfff" providerId="ADAL" clId="{EE97D3FE-9ACA-4467-98E5-532EC45D9D1C}" dt="2024-03-01T10:25:53.012" v="9985"/>
          <ac:spMkLst>
            <pc:docMk/>
            <pc:sldMk cId="795685229" sldId="904"/>
            <ac:spMk id="40" creationId="{F25E3F96-069F-AEEC-B259-4C8B7A001866}"/>
          </ac:spMkLst>
        </pc:spChg>
        <pc:spChg chg="mod">
          <ac:chgData name="Nataliia Chornii (UA)" userId="4e4b8b3d-5f31-49bb-9f80-8a25c04abfff" providerId="ADAL" clId="{EE97D3FE-9ACA-4467-98E5-532EC45D9D1C}" dt="2024-03-01T10:25:53.012" v="9985"/>
          <ac:spMkLst>
            <pc:docMk/>
            <pc:sldMk cId="795685229" sldId="904"/>
            <ac:spMk id="41" creationId="{6E81099A-9501-8D0C-2013-E83E735CE062}"/>
          </ac:spMkLst>
        </pc:spChg>
        <pc:spChg chg="del mod">
          <ac:chgData name="Nataliia Chornii (UA)" userId="4e4b8b3d-5f31-49bb-9f80-8a25c04abfff" providerId="ADAL" clId="{EE97D3FE-9ACA-4467-98E5-532EC45D9D1C}" dt="2024-03-04T09:00:00.219" v="18226" actId="478"/>
          <ac:spMkLst>
            <pc:docMk/>
            <pc:sldMk cId="795685229" sldId="904"/>
            <ac:spMk id="41" creationId="{8754AD39-42CF-1093-B3BC-4FC0282357E3}"/>
          </ac:spMkLst>
        </pc:spChg>
        <pc:spChg chg="mod">
          <ac:chgData name="Nataliia Chornii (UA)" userId="4e4b8b3d-5f31-49bb-9f80-8a25c04abfff" providerId="ADAL" clId="{EE97D3FE-9ACA-4467-98E5-532EC45D9D1C}" dt="2024-03-01T10:25:53.012" v="9985"/>
          <ac:spMkLst>
            <pc:docMk/>
            <pc:sldMk cId="795685229" sldId="904"/>
            <ac:spMk id="42" creationId="{0CB14006-2B31-9F1B-E924-154B682F8A5A}"/>
          </ac:spMkLst>
        </pc:spChg>
        <pc:spChg chg="add del mod">
          <ac:chgData name="Nataliia Chornii (UA)" userId="4e4b8b3d-5f31-49bb-9f80-8a25c04abfff" providerId="ADAL" clId="{EE97D3FE-9ACA-4467-98E5-532EC45D9D1C}" dt="2024-03-04T09:00:43.881" v="18238" actId="478"/>
          <ac:spMkLst>
            <pc:docMk/>
            <pc:sldMk cId="795685229" sldId="904"/>
            <ac:spMk id="42" creationId="{66E469AB-41F7-F136-0D4A-11ADC1B0812E}"/>
          </ac:spMkLst>
        </pc:spChg>
        <pc:spChg chg="del mod">
          <ac:chgData name="Nataliia Chornii (UA)" userId="4e4b8b3d-5f31-49bb-9f80-8a25c04abfff" providerId="ADAL" clId="{EE97D3FE-9ACA-4467-98E5-532EC45D9D1C}" dt="2024-03-04T09:00:01.237" v="18227" actId="478"/>
          <ac:spMkLst>
            <pc:docMk/>
            <pc:sldMk cId="795685229" sldId="904"/>
            <ac:spMk id="43" creationId="{35B1F3B5-BFB8-4260-6CAA-8088C2C732B8}"/>
          </ac:spMkLst>
        </pc:spChg>
        <pc:spChg chg="mod">
          <ac:chgData name="Nataliia Chornii (UA)" userId="4e4b8b3d-5f31-49bb-9f80-8a25c04abfff" providerId="ADAL" clId="{EE97D3FE-9ACA-4467-98E5-532EC45D9D1C}" dt="2024-03-01T10:25:53.012" v="9985"/>
          <ac:spMkLst>
            <pc:docMk/>
            <pc:sldMk cId="795685229" sldId="904"/>
            <ac:spMk id="43" creationId="{D52CF76A-6D81-88A7-BE9B-C90F180F36FC}"/>
          </ac:spMkLst>
        </pc:spChg>
        <pc:spChg chg="mod">
          <ac:chgData name="Nataliia Chornii (UA)" userId="4e4b8b3d-5f31-49bb-9f80-8a25c04abfff" providerId="ADAL" clId="{EE97D3FE-9ACA-4467-98E5-532EC45D9D1C}" dt="2024-03-01T10:25:53.012" v="9985"/>
          <ac:spMkLst>
            <pc:docMk/>
            <pc:sldMk cId="795685229" sldId="904"/>
            <ac:spMk id="44" creationId="{618E0A7D-968E-7EBC-1FF4-AA44E363C51E}"/>
          </ac:spMkLst>
        </pc:spChg>
        <pc:spChg chg="del mod">
          <ac:chgData name="Nataliia Chornii (UA)" userId="4e4b8b3d-5f31-49bb-9f80-8a25c04abfff" providerId="ADAL" clId="{EE97D3FE-9ACA-4467-98E5-532EC45D9D1C}" dt="2024-03-04T08:59:56.822" v="18223" actId="478"/>
          <ac:spMkLst>
            <pc:docMk/>
            <pc:sldMk cId="795685229" sldId="904"/>
            <ac:spMk id="44" creationId="{754440FC-403C-74FA-CDEF-7A82D3C524F5}"/>
          </ac:spMkLst>
        </pc:spChg>
        <pc:spChg chg="mod">
          <ac:chgData name="Nataliia Chornii (UA)" userId="4e4b8b3d-5f31-49bb-9f80-8a25c04abfff" providerId="ADAL" clId="{EE97D3FE-9ACA-4467-98E5-532EC45D9D1C}" dt="2024-03-01T10:25:53.012" v="9985"/>
          <ac:spMkLst>
            <pc:docMk/>
            <pc:sldMk cId="795685229" sldId="904"/>
            <ac:spMk id="45" creationId="{767BA91C-A3A6-F385-570F-50665DB4280E}"/>
          </ac:spMkLst>
        </pc:spChg>
        <pc:spChg chg="mod">
          <ac:chgData name="Nataliia Chornii (UA)" userId="4e4b8b3d-5f31-49bb-9f80-8a25c04abfff" providerId="ADAL" clId="{EE97D3FE-9ACA-4467-98E5-532EC45D9D1C}" dt="2024-03-01T10:25:53.012" v="9985"/>
          <ac:spMkLst>
            <pc:docMk/>
            <pc:sldMk cId="795685229" sldId="904"/>
            <ac:spMk id="46" creationId="{5440245F-CF09-2D8B-E547-DCC00104B784}"/>
          </ac:spMkLst>
        </pc:spChg>
        <pc:spChg chg="add del mod ord">
          <ac:chgData name="Nataliia Chornii (UA)" userId="4e4b8b3d-5f31-49bb-9f80-8a25c04abfff" providerId="ADAL" clId="{EE97D3FE-9ACA-4467-98E5-532EC45D9D1C}" dt="2024-03-04T09:02:45.928" v="18331"/>
          <ac:spMkLst>
            <pc:docMk/>
            <pc:sldMk cId="795685229" sldId="904"/>
            <ac:spMk id="46" creationId="{A70BF712-C8F0-19CC-35A4-940DDC5678A4}"/>
          </ac:spMkLst>
        </pc:spChg>
        <pc:spChg chg="add del mod ord">
          <ac:chgData name="Nataliia Chornii (UA)" userId="4e4b8b3d-5f31-49bb-9f80-8a25c04abfff" providerId="ADAL" clId="{EE97D3FE-9ACA-4467-98E5-532EC45D9D1C}" dt="2024-03-04T09:05:21.794" v="18428" actId="478"/>
          <ac:spMkLst>
            <pc:docMk/>
            <pc:sldMk cId="795685229" sldId="904"/>
            <ac:spMk id="47" creationId="{2887908E-6861-A728-7DA6-4D69413302F9}"/>
          </ac:spMkLst>
        </pc:spChg>
        <pc:spChg chg="mod">
          <ac:chgData name="Nataliia Chornii (UA)" userId="4e4b8b3d-5f31-49bb-9f80-8a25c04abfff" providerId="ADAL" clId="{EE97D3FE-9ACA-4467-98E5-532EC45D9D1C}" dt="2024-03-01T10:25:53.012" v="9985"/>
          <ac:spMkLst>
            <pc:docMk/>
            <pc:sldMk cId="795685229" sldId="904"/>
            <ac:spMk id="47" creationId="{B1C879F6-90D2-8F9B-936C-B16F72044511}"/>
          </ac:spMkLst>
        </pc:spChg>
        <pc:spChg chg="mod">
          <ac:chgData name="Nataliia Chornii (UA)" userId="4e4b8b3d-5f31-49bb-9f80-8a25c04abfff" providerId="ADAL" clId="{EE97D3FE-9ACA-4467-98E5-532EC45D9D1C}" dt="2024-03-01T10:25:53.012" v="9985"/>
          <ac:spMkLst>
            <pc:docMk/>
            <pc:sldMk cId="795685229" sldId="904"/>
            <ac:spMk id="48" creationId="{C62B710C-4E56-87D2-5036-FF544F7BD07E}"/>
          </ac:spMkLst>
        </pc:spChg>
        <pc:spChg chg="add del mod">
          <ac:chgData name="Nataliia Chornii (UA)" userId="4e4b8b3d-5f31-49bb-9f80-8a25c04abfff" providerId="ADAL" clId="{EE97D3FE-9ACA-4467-98E5-532EC45D9D1C}" dt="2024-03-04T09:02:45.928" v="18331"/>
          <ac:spMkLst>
            <pc:docMk/>
            <pc:sldMk cId="795685229" sldId="904"/>
            <ac:spMk id="48" creationId="{D96FEED2-E5A6-BD1C-ED85-789E534BC2C2}"/>
          </ac:spMkLst>
        </pc:spChg>
        <pc:spChg chg="mod">
          <ac:chgData name="Nataliia Chornii (UA)" userId="4e4b8b3d-5f31-49bb-9f80-8a25c04abfff" providerId="ADAL" clId="{EE97D3FE-9ACA-4467-98E5-532EC45D9D1C}" dt="2024-03-01T10:25:53.012" v="9985"/>
          <ac:spMkLst>
            <pc:docMk/>
            <pc:sldMk cId="795685229" sldId="904"/>
            <ac:spMk id="49" creationId="{13776CEE-EFE9-6F68-4F37-0C3E291A229F}"/>
          </ac:spMkLst>
        </pc:spChg>
        <pc:spChg chg="del mod">
          <ac:chgData name="Nataliia Chornii (UA)" userId="4e4b8b3d-5f31-49bb-9f80-8a25c04abfff" providerId="ADAL" clId="{EE97D3FE-9ACA-4467-98E5-532EC45D9D1C}" dt="2024-03-04T09:02:56.139" v="18338" actId="478"/>
          <ac:spMkLst>
            <pc:docMk/>
            <pc:sldMk cId="795685229" sldId="904"/>
            <ac:spMk id="49" creationId="{4CD88EA2-56D6-34F2-7C93-4D2909C8E277}"/>
          </ac:spMkLst>
        </pc:spChg>
        <pc:spChg chg="mod">
          <ac:chgData name="Nataliia Chornii (UA)" userId="4e4b8b3d-5f31-49bb-9f80-8a25c04abfff" providerId="ADAL" clId="{EE97D3FE-9ACA-4467-98E5-532EC45D9D1C}" dt="2024-03-01T10:25:53.012" v="9985"/>
          <ac:spMkLst>
            <pc:docMk/>
            <pc:sldMk cId="795685229" sldId="904"/>
            <ac:spMk id="50" creationId="{68A43BFC-07E5-E165-D561-FBB8AC1707F5}"/>
          </ac:spMkLst>
        </pc:spChg>
        <pc:spChg chg="del mod">
          <ac:chgData name="Nataliia Chornii (UA)" userId="4e4b8b3d-5f31-49bb-9f80-8a25c04abfff" providerId="ADAL" clId="{EE97D3FE-9ACA-4467-98E5-532EC45D9D1C}" dt="2024-03-04T09:02:52.870" v="18336" actId="478"/>
          <ac:spMkLst>
            <pc:docMk/>
            <pc:sldMk cId="795685229" sldId="904"/>
            <ac:spMk id="50" creationId="{E3EF8AC0-1B97-560B-329B-8AA78D66BBA3}"/>
          </ac:spMkLst>
        </pc:spChg>
        <pc:spChg chg="del mod">
          <ac:chgData name="Nataliia Chornii (UA)" userId="4e4b8b3d-5f31-49bb-9f80-8a25c04abfff" providerId="ADAL" clId="{EE97D3FE-9ACA-4467-98E5-532EC45D9D1C}" dt="2024-03-04T09:02:52.367" v="18335" actId="478"/>
          <ac:spMkLst>
            <pc:docMk/>
            <pc:sldMk cId="795685229" sldId="904"/>
            <ac:spMk id="51" creationId="{611A8E60-DE16-0C9D-9E11-51FAB7C433D5}"/>
          </ac:spMkLst>
        </pc:spChg>
        <pc:spChg chg="mod">
          <ac:chgData name="Nataliia Chornii (UA)" userId="4e4b8b3d-5f31-49bb-9f80-8a25c04abfff" providerId="ADAL" clId="{EE97D3FE-9ACA-4467-98E5-532EC45D9D1C}" dt="2024-03-01T10:25:53.012" v="9985"/>
          <ac:spMkLst>
            <pc:docMk/>
            <pc:sldMk cId="795685229" sldId="904"/>
            <ac:spMk id="51" creationId="{7FC0ED02-188B-F693-4F30-1499112614CF}"/>
          </ac:spMkLst>
        </pc:spChg>
        <pc:spChg chg="mod">
          <ac:chgData name="Nataliia Chornii (UA)" userId="4e4b8b3d-5f31-49bb-9f80-8a25c04abfff" providerId="ADAL" clId="{EE97D3FE-9ACA-4467-98E5-532EC45D9D1C}" dt="2024-03-01T10:25:53.012" v="9985"/>
          <ac:spMkLst>
            <pc:docMk/>
            <pc:sldMk cId="795685229" sldId="904"/>
            <ac:spMk id="52" creationId="{55276A98-36B0-9210-07B4-72958DDA4326}"/>
          </ac:spMkLst>
        </pc:spChg>
        <pc:spChg chg="del mod ord">
          <ac:chgData name="Nataliia Chornii (UA)" userId="4e4b8b3d-5f31-49bb-9f80-8a25c04abfff" providerId="ADAL" clId="{EE97D3FE-9ACA-4467-98E5-532EC45D9D1C}" dt="2024-03-04T09:04:23.614" v="18408"/>
          <ac:spMkLst>
            <pc:docMk/>
            <pc:sldMk cId="795685229" sldId="904"/>
            <ac:spMk id="52" creationId="{D45EC510-DD44-36AA-0933-E28D6AE1601A}"/>
          </ac:spMkLst>
        </pc:spChg>
        <pc:spChg chg="mod">
          <ac:chgData name="Nataliia Chornii (UA)" userId="4e4b8b3d-5f31-49bb-9f80-8a25c04abfff" providerId="ADAL" clId="{EE97D3FE-9ACA-4467-98E5-532EC45D9D1C}" dt="2024-03-01T10:25:53.012" v="9985"/>
          <ac:spMkLst>
            <pc:docMk/>
            <pc:sldMk cId="795685229" sldId="904"/>
            <ac:spMk id="53" creationId="{3D97D1CC-963E-530D-2023-A7FC3EEC6508}"/>
          </ac:spMkLst>
        </pc:spChg>
        <pc:spChg chg="del mod">
          <ac:chgData name="Nataliia Chornii (UA)" userId="4e4b8b3d-5f31-49bb-9f80-8a25c04abfff" providerId="ADAL" clId="{EE97D3FE-9ACA-4467-98E5-532EC45D9D1C}" dt="2024-03-04T09:02:57.740" v="18339" actId="478"/>
          <ac:spMkLst>
            <pc:docMk/>
            <pc:sldMk cId="795685229" sldId="904"/>
            <ac:spMk id="53" creationId="{DF2C2745-419B-5828-CEF7-0A598E9A8C68}"/>
          </ac:spMkLst>
        </pc:spChg>
        <pc:spChg chg="del mod">
          <ac:chgData name="Nataliia Chornii (UA)" userId="4e4b8b3d-5f31-49bb-9f80-8a25c04abfff" providerId="ADAL" clId="{EE97D3FE-9ACA-4467-98E5-532EC45D9D1C}" dt="2024-03-04T09:02:53.743" v="18337" actId="478"/>
          <ac:spMkLst>
            <pc:docMk/>
            <pc:sldMk cId="795685229" sldId="904"/>
            <ac:spMk id="54" creationId="{898E051F-E912-2128-2599-29184D0C6E92}"/>
          </ac:spMkLst>
        </pc:spChg>
        <pc:spChg chg="mod">
          <ac:chgData name="Nataliia Chornii (UA)" userId="4e4b8b3d-5f31-49bb-9f80-8a25c04abfff" providerId="ADAL" clId="{EE97D3FE-9ACA-4467-98E5-532EC45D9D1C}" dt="2024-03-01T10:25:53.012" v="9985"/>
          <ac:spMkLst>
            <pc:docMk/>
            <pc:sldMk cId="795685229" sldId="904"/>
            <ac:spMk id="54" creationId="{DFFC1BF4-86E4-E786-F051-3F1BB3F66337}"/>
          </ac:spMkLst>
        </pc:spChg>
        <pc:spChg chg="mod">
          <ac:chgData name="Nataliia Chornii (UA)" userId="4e4b8b3d-5f31-49bb-9f80-8a25c04abfff" providerId="ADAL" clId="{EE97D3FE-9ACA-4467-98E5-532EC45D9D1C}" dt="2024-03-01T10:25:53.012" v="9985"/>
          <ac:spMkLst>
            <pc:docMk/>
            <pc:sldMk cId="795685229" sldId="904"/>
            <ac:spMk id="55" creationId="{2CDA3731-1FB9-CB4E-5A3B-9D0B5BD415B5}"/>
          </ac:spMkLst>
        </pc:spChg>
        <pc:spChg chg="del mod">
          <ac:chgData name="Nataliia Chornii (UA)" userId="4e4b8b3d-5f31-49bb-9f80-8a25c04abfff" providerId="ADAL" clId="{EE97D3FE-9ACA-4467-98E5-532EC45D9D1C}" dt="2024-03-04T09:02:48.486" v="18333" actId="478"/>
          <ac:spMkLst>
            <pc:docMk/>
            <pc:sldMk cId="795685229" sldId="904"/>
            <ac:spMk id="55" creationId="{30CC0A80-3890-CCEF-3BCF-FD7D6964C1B3}"/>
          </ac:spMkLst>
        </pc:spChg>
        <pc:spChg chg="add mod ord">
          <ac:chgData name="Nataliia Chornii (UA)" userId="4e4b8b3d-5f31-49bb-9f80-8a25c04abfff" providerId="ADAL" clId="{EE97D3FE-9ACA-4467-98E5-532EC45D9D1C}" dt="2024-03-01T10:26:45.445" v="10043" actId="164"/>
          <ac:spMkLst>
            <pc:docMk/>
            <pc:sldMk cId="795685229" sldId="904"/>
            <ac:spMk id="56" creationId="{AA943CE1-3998-F2FA-5810-5F0CADCF2715}"/>
          </ac:spMkLst>
        </pc:spChg>
        <pc:spChg chg="add del mod ord">
          <ac:chgData name="Nataliia Chornii (UA)" userId="4e4b8b3d-5f31-49bb-9f80-8a25c04abfff" providerId="ADAL" clId="{EE97D3FE-9ACA-4467-98E5-532EC45D9D1C}" dt="2024-03-04T09:04:19.190" v="18407"/>
          <ac:spMkLst>
            <pc:docMk/>
            <pc:sldMk cId="795685229" sldId="904"/>
            <ac:spMk id="57" creationId="{7792A1D4-0F97-9122-9FB8-806E5B369A80}"/>
          </ac:spMkLst>
        </pc:spChg>
        <pc:spChg chg="add del mod ord">
          <ac:chgData name="Nataliia Chornii (UA)" userId="4e4b8b3d-5f31-49bb-9f80-8a25c04abfff" providerId="ADAL" clId="{EE97D3FE-9ACA-4467-98E5-532EC45D9D1C}" dt="2024-03-01T10:25:55.833" v="10029" actId="478"/>
          <ac:spMkLst>
            <pc:docMk/>
            <pc:sldMk cId="795685229" sldId="904"/>
            <ac:spMk id="57" creationId="{7AD129F9-704B-54D1-C486-5AD8C843C8F7}"/>
          </ac:spMkLst>
        </pc:spChg>
        <pc:spChg chg="add mod ord">
          <ac:chgData name="Nataliia Chornii (UA)" userId="4e4b8b3d-5f31-49bb-9f80-8a25c04abfff" providerId="ADAL" clId="{EE97D3FE-9ACA-4467-98E5-532EC45D9D1C}" dt="2024-03-04T09:03:07.626" v="18370"/>
          <ac:spMkLst>
            <pc:docMk/>
            <pc:sldMk cId="795685229" sldId="904"/>
            <ac:spMk id="59" creationId="{34CAA65D-F32B-4FFB-DA56-9F4BF785AA35}"/>
          </ac:spMkLst>
        </pc:spChg>
        <pc:spChg chg="del mod">
          <ac:chgData name="Nataliia Chornii (UA)" userId="4e4b8b3d-5f31-49bb-9f80-8a25c04abfff" providerId="ADAL" clId="{EE97D3FE-9ACA-4467-98E5-532EC45D9D1C}" dt="2024-03-04T09:02:47.586" v="18332" actId="478"/>
          <ac:spMkLst>
            <pc:docMk/>
            <pc:sldMk cId="795685229" sldId="904"/>
            <ac:spMk id="60" creationId="{34C89926-9D9A-54A3-F0E2-3C6CC4C5EF8B}"/>
          </ac:spMkLst>
        </pc:spChg>
        <pc:spChg chg="add del mod">
          <ac:chgData name="Nataliia Chornii (UA)" userId="4e4b8b3d-5f31-49bb-9f80-8a25c04abfff" providerId="ADAL" clId="{EE97D3FE-9ACA-4467-98E5-532EC45D9D1C}" dt="2024-03-04T09:03:38.329" v="18397" actId="478"/>
          <ac:spMkLst>
            <pc:docMk/>
            <pc:sldMk cId="795685229" sldId="904"/>
            <ac:spMk id="61" creationId="{C8135C83-F6DC-2BC9-CFD5-C01153DB3DEC}"/>
          </ac:spMkLst>
        </pc:spChg>
        <pc:spChg chg="add del mod ord">
          <ac:chgData name="Nataliia Chornii (UA)" userId="4e4b8b3d-5f31-49bb-9f80-8a25c04abfff" providerId="ADAL" clId="{EE97D3FE-9ACA-4467-98E5-532EC45D9D1C}" dt="2024-03-01T10:27:24.613" v="10052" actId="700"/>
          <ac:spMkLst>
            <pc:docMk/>
            <pc:sldMk cId="795685229" sldId="904"/>
            <ac:spMk id="61" creationId="{C85F9B2C-B94D-2096-EF9E-9DFB688DE9B6}"/>
          </ac:spMkLst>
        </pc:spChg>
        <pc:spChg chg="add del mod ord">
          <ac:chgData name="Nataliia Chornii (UA)" userId="4e4b8b3d-5f31-49bb-9f80-8a25c04abfff" providerId="ADAL" clId="{EE97D3FE-9ACA-4467-98E5-532EC45D9D1C}" dt="2024-03-01T10:27:27.366" v="10079" actId="478"/>
          <ac:spMkLst>
            <pc:docMk/>
            <pc:sldMk cId="795685229" sldId="904"/>
            <ac:spMk id="62" creationId="{B35F56A7-5F6C-C09D-C26F-176419F0F9CF}"/>
          </ac:spMkLst>
        </pc:spChg>
        <pc:spChg chg="add del mod">
          <ac:chgData name="Nataliia Chornii (UA)" userId="4e4b8b3d-5f31-49bb-9f80-8a25c04abfff" providerId="ADAL" clId="{EE97D3FE-9ACA-4467-98E5-532EC45D9D1C}" dt="2024-03-04T09:04:19.190" v="18407"/>
          <ac:spMkLst>
            <pc:docMk/>
            <pc:sldMk cId="795685229" sldId="904"/>
            <ac:spMk id="62" creationId="{C3DA67B4-BAFB-6424-45D5-0C7E9570085F}"/>
          </ac:spMkLst>
        </pc:spChg>
        <pc:spChg chg="del mod">
          <ac:chgData name="Nataliia Chornii (UA)" userId="4e4b8b3d-5f31-49bb-9f80-8a25c04abfff" providerId="ADAL" clId="{EE97D3FE-9ACA-4467-98E5-532EC45D9D1C}" dt="2024-03-04T09:04:23.614" v="18408"/>
          <ac:spMkLst>
            <pc:docMk/>
            <pc:sldMk cId="795685229" sldId="904"/>
            <ac:spMk id="63" creationId="{8D5D26E0-D6DD-610D-6BF8-B0753F152EA8}"/>
          </ac:spMkLst>
        </pc:spChg>
        <pc:spChg chg="add del mod modVis">
          <ac:chgData name="Nataliia Chornii (UA)" userId="4e4b8b3d-5f31-49bb-9f80-8a25c04abfff" providerId="ADAL" clId="{EE97D3FE-9ACA-4467-98E5-532EC45D9D1C}" dt="2024-03-01T10:27:25.150" v="10076"/>
          <ac:spMkLst>
            <pc:docMk/>
            <pc:sldMk cId="795685229" sldId="904"/>
            <ac:spMk id="63" creationId="{EB229E79-D7AF-D5A1-4A67-C7599D953B8F}"/>
          </ac:spMkLst>
        </pc:spChg>
        <pc:spChg chg="add del mod ord">
          <ac:chgData name="Nataliia Chornii (UA)" userId="4e4b8b3d-5f31-49bb-9f80-8a25c04abfff" providerId="ADAL" clId="{EE97D3FE-9ACA-4467-98E5-532EC45D9D1C}" dt="2024-03-01T10:27:39.942" v="10156" actId="478"/>
          <ac:spMkLst>
            <pc:docMk/>
            <pc:sldMk cId="795685229" sldId="904"/>
            <ac:spMk id="64" creationId="{27619029-E342-F60A-9C0C-31C352FF19E0}"/>
          </ac:spMkLst>
        </pc:spChg>
        <pc:spChg chg="mod">
          <ac:chgData name="Nataliia Chornii (UA)" userId="4e4b8b3d-5f31-49bb-9f80-8a25c04abfff" providerId="ADAL" clId="{EE97D3FE-9ACA-4467-98E5-532EC45D9D1C}" dt="2024-03-04T09:05:58.105" v="18433" actId="207"/>
          <ac:spMkLst>
            <pc:docMk/>
            <pc:sldMk cId="795685229" sldId="904"/>
            <ac:spMk id="64" creationId="{3C654F06-EE36-5136-7C56-3957DE035F93}"/>
          </ac:spMkLst>
        </pc:spChg>
        <pc:spChg chg="add del mod modVis">
          <ac:chgData name="Nataliia Chornii (UA)" userId="4e4b8b3d-5f31-49bb-9f80-8a25c04abfff" providerId="ADAL" clId="{EE97D3FE-9ACA-4467-98E5-532EC45D9D1C}" dt="2024-03-01T10:27:35.270" v="10148"/>
          <ac:spMkLst>
            <pc:docMk/>
            <pc:sldMk cId="795685229" sldId="904"/>
            <ac:spMk id="65" creationId="{29C5C1D8-2A7A-01FF-4A89-289FD6B94B31}"/>
          </ac:spMkLst>
        </pc:spChg>
        <pc:spChg chg="add mod ord">
          <ac:chgData name="Nataliia Chornii (UA)" userId="4e4b8b3d-5f31-49bb-9f80-8a25c04abfff" providerId="ADAL" clId="{EE97D3FE-9ACA-4467-98E5-532EC45D9D1C}" dt="2024-03-04T09:03:07.626" v="18372"/>
          <ac:spMkLst>
            <pc:docMk/>
            <pc:sldMk cId="795685229" sldId="904"/>
            <ac:spMk id="66" creationId="{CD026E74-0314-F99D-587A-EA39147E7DB9}"/>
          </ac:spMkLst>
        </pc:spChg>
        <pc:spChg chg="add mod ord">
          <ac:chgData name="Nataliia Chornii (UA)" userId="4e4b8b3d-5f31-49bb-9f80-8a25c04abfff" providerId="ADAL" clId="{EE97D3FE-9ACA-4467-98E5-532EC45D9D1C}" dt="2024-03-04T09:05:03.659" v="18420" actId="1076"/>
          <ac:spMkLst>
            <pc:docMk/>
            <pc:sldMk cId="795685229" sldId="904"/>
            <ac:spMk id="67" creationId="{A6669812-F1E7-B581-1037-FF52AE28937B}"/>
          </ac:spMkLst>
        </pc:spChg>
        <pc:spChg chg="mod">
          <ac:chgData name="Nataliia Chornii (UA)" userId="4e4b8b3d-5f31-49bb-9f80-8a25c04abfff" providerId="ADAL" clId="{EE97D3FE-9ACA-4467-98E5-532EC45D9D1C}" dt="2024-03-04T09:05:58.105" v="18433" actId="207"/>
          <ac:spMkLst>
            <pc:docMk/>
            <pc:sldMk cId="795685229" sldId="904"/>
            <ac:spMk id="69" creationId="{68269909-BD7C-6539-5A79-792889444B48}"/>
          </ac:spMkLst>
        </pc:spChg>
        <pc:spChg chg="mod">
          <ac:chgData name="Nataliia Chornii (UA)" userId="4e4b8b3d-5f31-49bb-9f80-8a25c04abfff" providerId="ADAL" clId="{EE97D3FE-9ACA-4467-98E5-532EC45D9D1C}" dt="2024-03-04T09:05:58.105" v="18433" actId="207"/>
          <ac:spMkLst>
            <pc:docMk/>
            <pc:sldMk cId="795685229" sldId="904"/>
            <ac:spMk id="70" creationId="{AAA0B9C4-3734-DA3F-B487-765070E1BF58}"/>
          </ac:spMkLst>
        </pc:spChg>
        <pc:spChg chg="mod">
          <ac:chgData name="Nataliia Chornii (UA)" userId="4e4b8b3d-5f31-49bb-9f80-8a25c04abfff" providerId="ADAL" clId="{EE97D3FE-9ACA-4467-98E5-532EC45D9D1C}" dt="2024-03-04T09:05:58.105" v="18433" actId="207"/>
          <ac:spMkLst>
            <pc:docMk/>
            <pc:sldMk cId="795685229" sldId="904"/>
            <ac:spMk id="72" creationId="{354D45FD-1024-B7C1-A0AA-33856BA00100}"/>
          </ac:spMkLst>
        </pc:spChg>
        <pc:spChg chg="mod">
          <ac:chgData name="Nataliia Chornii (UA)" userId="4e4b8b3d-5f31-49bb-9f80-8a25c04abfff" providerId="ADAL" clId="{EE97D3FE-9ACA-4467-98E5-532EC45D9D1C}" dt="2024-03-04T09:05:58.105" v="18433" actId="207"/>
          <ac:spMkLst>
            <pc:docMk/>
            <pc:sldMk cId="795685229" sldId="904"/>
            <ac:spMk id="73" creationId="{F7B60C51-4231-E9C2-75CA-50D3F940840B}"/>
          </ac:spMkLst>
        </pc:spChg>
        <pc:spChg chg="add del mod">
          <ac:chgData name="Nataliia Chornii (UA)" userId="4e4b8b3d-5f31-49bb-9f80-8a25c04abfff" providerId="ADAL" clId="{EE97D3FE-9ACA-4467-98E5-532EC45D9D1C}" dt="2024-03-04T09:11:13.752" v="18506" actId="478"/>
          <ac:spMkLst>
            <pc:docMk/>
            <pc:sldMk cId="795685229" sldId="904"/>
            <ac:spMk id="75" creationId="{A405E4A0-68AA-48AA-0B08-77F73B1BBF0F}"/>
          </ac:spMkLst>
        </pc:spChg>
        <pc:spChg chg="add del mod">
          <ac:chgData name="Nataliia Chornii (UA)" userId="4e4b8b3d-5f31-49bb-9f80-8a25c04abfff" providerId="ADAL" clId="{EE97D3FE-9ACA-4467-98E5-532EC45D9D1C}" dt="2024-03-04T09:11:13.752" v="18506" actId="478"/>
          <ac:spMkLst>
            <pc:docMk/>
            <pc:sldMk cId="795685229" sldId="904"/>
            <ac:spMk id="76" creationId="{7D0698F9-D64F-A08E-B3AE-79E61A449E69}"/>
          </ac:spMkLst>
        </pc:spChg>
        <pc:spChg chg="add del mod">
          <ac:chgData name="Nataliia Chornii (UA)" userId="4e4b8b3d-5f31-49bb-9f80-8a25c04abfff" providerId="ADAL" clId="{EE97D3FE-9ACA-4467-98E5-532EC45D9D1C}" dt="2024-03-04T09:11:13.752" v="18506" actId="478"/>
          <ac:spMkLst>
            <pc:docMk/>
            <pc:sldMk cId="795685229" sldId="904"/>
            <ac:spMk id="77" creationId="{10EDCD48-5A0E-DC6C-A274-1AA0D719AF2F}"/>
          </ac:spMkLst>
        </pc:spChg>
        <pc:spChg chg="mod">
          <ac:chgData name="Nataliia Chornii (UA)" userId="4e4b8b3d-5f31-49bb-9f80-8a25c04abfff" providerId="ADAL" clId="{EE97D3FE-9ACA-4467-98E5-532EC45D9D1C}" dt="2024-03-04T09:07:26.021" v="18474" actId="571"/>
          <ac:spMkLst>
            <pc:docMk/>
            <pc:sldMk cId="795685229" sldId="904"/>
            <ac:spMk id="82" creationId="{E92AA6FD-D439-7336-DD50-276C7442616B}"/>
          </ac:spMkLst>
        </pc:spChg>
        <pc:spChg chg="mod">
          <ac:chgData name="Nataliia Chornii (UA)" userId="4e4b8b3d-5f31-49bb-9f80-8a25c04abfff" providerId="ADAL" clId="{EE97D3FE-9ACA-4467-98E5-532EC45D9D1C}" dt="2024-03-04T09:07:26.021" v="18474" actId="571"/>
          <ac:spMkLst>
            <pc:docMk/>
            <pc:sldMk cId="795685229" sldId="904"/>
            <ac:spMk id="83" creationId="{5DD6EBF7-8FDC-BDF2-4163-E2AF8DDC0D37}"/>
          </ac:spMkLst>
        </pc:spChg>
        <pc:spChg chg="mod">
          <ac:chgData name="Nataliia Chornii (UA)" userId="4e4b8b3d-5f31-49bb-9f80-8a25c04abfff" providerId="ADAL" clId="{EE97D3FE-9ACA-4467-98E5-532EC45D9D1C}" dt="2024-03-04T09:07:26.021" v="18474" actId="571"/>
          <ac:spMkLst>
            <pc:docMk/>
            <pc:sldMk cId="795685229" sldId="904"/>
            <ac:spMk id="84" creationId="{6E4B014F-5C2E-10C9-FB50-691FE00093FC}"/>
          </ac:spMkLst>
        </pc:spChg>
        <pc:spChg chg="mod">
          <ac:chgData name="Nataliia Chornii (UA)" userId="4e4b8b3d-5f31-49bb-9f80-8a25c04abfff" providerId="ADAL" clId="{EE97D3FE-9ACA-4467-98E5-532EC45D9D1C}" dt="2024-03-04T09:07:26.021" v="18474" actId="571"/>
          <ac:spMkLst>
            <pc:docMk/>
            <pc:sldMk cId="795685229" sldId="904"/>
            <ac:spMk id="85" creationId="{2E78A4FD-6578-3E03-6CE2-BC0DDAC16029}"/>
          </ac:spMkLst>
        </pc:spChg>
        <pc:spChg chg="mod">
          <ac:chgData name="Nataliia Chornii (UA)" userId="4e4b8b3d-5f31-49bb-9f80-8a25c04abfff" providerId="ADAL" clId="{EE97D3FE-9ACA-4467-98E5-532EC45D9D1C}" dt="2024-03-04T09:07:26.021" v="18474" actId="571"/>
          <ac:spMkLst>
            <pc:docMk/>
            <pc:sldMk cId="795685229" sldId="904"/>
            <ac:spMk id="86" creationId="{721DF113-ACD8-EE55-D5B6-E28CD4BB6A2C}"/>
          </ac:spMkLst>
        </pc:spChg>
        <pc:spChg chg="mod">
          <ac:chgData name="Nataliia Chornii (UA)" userId="4e4b8b3d-5f31-49bb-9f80-8a25c04abfff" providerId="ADAL" clId="{EE97D3FE-9ACA-4467-98E5-532EC45D9D1C}" dt="2024-03-04T09:07:26.021" v="18474" actId="571"/>
          <ac:spMkLst>
            <pc:docMk/>
            <pc:sldMk cId="795685229" sldId="904"/>
            <ac:spMk id="87" creationId="{2CC442FB-39CA-A0D6-7019-004E9A73AB98}"/>
          </ac:spMkLst>
        </pc:spChg>
        <pc:spChg chg="mod">
          <ac:chgData name="Nataliia Chornii (UA)" userId="4e4b8b3d-5f31-49bb-9f80-8a25c04abfff" providerId="ADAL" clId="{EE97D3FE-9ACA-4467-98E5-532EC45D9D1C}" dt="2024-03-04T09:07:31.375" v="18475" actId="571"/>
          <ac:spMkLst>
            <pc:docMk/>
            <pc:sldMk cId="795685229" sldId="904"/>
            <ac:spMk id="92" creationId="{3815D5A9-1D18-7169-90DD-7EB5AB5FB82E}"/>
          </ac:spMkLst>
        </pc:spChg>
        <pc:spChg chg="mod">
          <ac:chgData name="Nataliia Chornii (UA)" userId="4e4b8b3d-5f31-49bb-9f80-8a25c04abfff" providerId="ADAL" clId="{EE97D3FE-9ACA-4467-98E5-532EC45D9D1C}" dt="2024-03-04T09:07:31.375" v="18475" actId="571"/>
          <ac:spMkLst>
            <pc:docMk/>
            <pc:sldMk cId="795685229" sldId="904"/>
            <ac:spMk id="93" creationId="{2224003A-228A-8257-7473-52F984FE3039}"/>
          </ac:spMkLst>
        </pc:spChg>
        <pc:spChg chg="mod">
          <ac:chgData name="Nataliia Chornii (UA)" userId="4e4b8b3d-5f31-49bb-9f80-8a25c04abfff" providerId="ADAL" clId="{EE97D3FE-9ACA-4467-98E5-532EC45D9D1C}" dt="2024-03-04T09:07:31.375" v="18475" actId="571"/>
          <ac:spMkLst>
            <pc:docMk/>
            <pc:sldMk cId="795685229" sldId="904"/>
            <ac:spMk id="94" creationId="{5A8CDACF-E08F-CEFD-9ED0-DE2A9BD16C60}"/>
          </ac:spMkLst>
        </pc:spChg>
        <pc:spChg chg="mod">
          <ac:chgData name="Nataliia Chornii (UA)" userId="4e4b8b3d-5f31-49bb-9f80-8a25c04abfff" providerId="ADAL" clId="{EE97D3FE-9ACA-4467-98E5-532EC45D9D1C}" dt="2024-03-04T09:07:31.375" v="18475" actId="571"/>
          <ac:spMkLst>
            <pc:docMk/>
            <pc:sldMk cId="795685229" sldId="904"/>
            <ac:spMk id="95" creationId="{94E2FDF1-35EF-1FFA-61E8-F971A7244A14}"/>
          </ac:spMkLst>
        </pc:spChg>
        <pc:spChg chg="mod">
          <ac:chgData name="Nataliia Chornii (UA)" userId="4e4b8b3d-5f31-49bb-9f80-8a25c04abfff" providerId="ADAL" clId="{EE97D3FE-9ACA-4467-98E5-532EC45D9D1C}" dt="2024-03-04T09:07:31.375" v="18475" actId="571"/>
          <ac:spMkLst>
            <pc:docMk/>
            <pc:sldMk cId="795685229" sldId="904"/>
            <ac:spMk id="96" creationId="{AB32D73B-756C-C47B-2BA9-6579723DC12C}"/>
          </ac:spMkLst>
        </pc:spChg>
        <pc:spChg chg="mod">
          <ac:chgData name="Nataliia Chornii (UA)" userId="4e4b8b3d-5f31-49bb-9f80-8a25c04abfff" providerId="ADAL" clId="{EE97D3FE-9ACA-4467-98E5-532EC45D9D1C}" dt="2024-03-04T09:07:31.375" v="18475" actId="571"/>
          <ac:spMkLst>
            <pc:docMk/>
            <pc:sldMk cId="795685229" sldId="904"/>
            <ac:spMk id="97" creationId="{3343E46E-BB0A-0309-6175-9E958ACC5C6A}"/>
          </ac:spMkLst>
        </pc:spChg>
        <pc:spChg chg="add del mod">
          <ac:chgData name="Nataliia Chornii (UA)" userId="4e4b8b3d-5f31-49bb-9f80-8a25c04abfff" providerId="ADAL" clId="{EE97D3FE-9ACA-4467-98E5-532EC45D9D1C}" dt="2024-03-04T09:09:05.958" v="18486" actId="478"/>
          <ac:spMkLst>
            <pc:docMk/>
            <pc:sldMk cId="795685229" sldId="904"/>
            <ac:spMk id="98" creationId="{488822EB-FA44-664D-BECD-98B341286CEA}"/>
          </ac:spMkLst>
        </pc:spChg>
        <pc:spChg chg="add del mod">
          <ac:chgData name="Nataliia Chornii (UA)" userId="4e4b8b3d-5f31-49bb-9f80-8a25c04abfff" providerId="ADAL" clId="{EE97D3FE-9ACA-4467-98E5-532EC45D9D1C}" dt="2024-03-04T09:09:05.958" v="18486" actId="478"/>
          <ac:spMkLst>
            <pc:docMk/>
            <pc:sldMk cId="795685229" sldId="904"/>
            <ac:spMk id="99" creationId="{34DDA028-5F02-E800-C495-085236CA3565}"/>
          </ac:spMkLst>
        </pc:spChg>
        <pc:spChg chg="add del mod">
          <ac:chgData name="Nataliia Chornii (UA)" userId="4e4b8b3d-5f31-49bb-9f80-8a25c04abfff" providerId="ADAL" clId="{EE97D3FE-9ACA-4467-98E5-532EC45D9D1C}" dt="2024-03-04T09:09:05.958" v="18486" actId="478"/>
          <ac:spMkLst>
            <pc:docMk/>
            <pc:sldMk cId="795685229" sldId="904"/>
            <ac:spMk id="100" creationId="{67E42D83-F182-434E-DC10-EF03103905D9}"/>
          </ac:spMkLst>
        </pc:spChg>
        <pc:spChg chg="add del mod">
          <ac:chgData name="Nataliia Chornii (UA)" userId="4e4b8b3d-5f31-49bb-9f80-8a25c04abfff" providerId="ADAL" clId="{EE97D3FE-9ACA-4467-98E5-532EC45D9D1C}" dt="2024-03-04T09:11:52.454" v="18521" actId="478"/>
          <ac:spMkLst>
            <pc:docMk/>
            <pc:sldMk cId="795685229" sldId="904"/>
            <ac:spMk id="101" creationId="{B0960AB5-B3FB-B453-E0E7-BF5B220461BC}"/>
          </ac:spMkLst>
        </pc:spChg>
        <pc:spChg chg="mod">
          <ac:chgData name="Nataliia Chornii (UA)" userId="4e4b8b3d-5f31-49bb-9f80-8a25c04abfff" providerId="ADAL" clId="{EE97D3FE-9ACA-4467-98E5-532EC45D9D1C}" dt="2024-03-04T09:11:02.374" v="18502" actId="571"/>
          <ac:spMkLst>
            <pc:docMk/>
            <pc:sldMk cId="795685229" sldId="904"/>
            <ac:spMk id="106" creationId="{E1524B23-DC96-4A50-C84C-C38FDCFAB167}"/>
          </ac:spMkLst>
        </pc:spChg>
        <pc:spChg chg="mod">
          <ac:chgData name="Nataliia Chornii (UA)" userId="4e4b8b3d-5f31-49bb-9f80-8a25c04abfff" providerId="ADAL" clId="{EE97D3FE-9ACA-4467-98E5-532EC45D9D1C}" dt="2024-03-04T09:11:02.374" v="18502" actId="571"/>
          <ac:spMkLst>
            <pc:docMk/>
            <pc:sldMk cId="795685229" sldId="904"/>
            <ac:spMk id="107" creationId="{B748478C-BE30-BB4D-8066-CAA305BBAE7A}"/>
          </ac:spMkLst>
        </pc:spChg>
        <pc:spChg chg="mod">
          <ac:chgData name="Nataliia Chornii (UA)" userId="4e4b8b3d-5f31-49bb-9f80-8a25c04abfff" providerId="ADAL" clId="{EE97D3FE-9ACA-4467-98E5-532EC45D9D1C}" dt="2024-03-04T09:11:02.374" v="18502" actId="571"/>
          <ac:spMkLst>
            <pc:docMk/>
            <pc:sldMk cId="795685229" sldId="904"/>
            <ac:spMk id="108" creationId="{C92A85EF-1759-6C28-8D10-25431C1ECFB5}"/>
          </ac:spMkLst>
        </pc:spChg>
        <pc:spChg chg="mod">
          <ac:chgData name="Nataliia Chornii (UA)" userId="4e4b8b3d-5f31-49bb-9f80-8a25c04abfff" providerId="ADAL" clId="{EE97D3FE-9ACA-4467-98E5-532EC45D9D1C}" dt="2024-03-04T09:11:02.374" v="18502" actId="571"/>
          <ac:spMkLst>
            <pc:docMk/>
            <pc:sldMk cId="795685229" sldId="904"/>
            <ac:spMk id="109" creationId="{83F88408-C96C-8F8C-E6FE-8DB5ECC750B2}"/>
          </ac:spMkLst>
        </pc:spChg>
        <pc:spChg chg="mod">
          <ac:chgData name="Nataliia Chornii (UA)" userId="4e4b8b3d-5f31-49bb-9f80-8a25c04abfff" providerId="ADAL" clId="{EE97D3FE-9ACA-4467-98E5-532EC45D9D1C}" dt="2024-03-04T09:11:02.374" v="18502" actId="571"/>
          <ac:spMkLst>
            <pc:docMk/>
            <pc:sldMk cId="795685229" sldId="904"/>
            <ac:spMk id="110" creationId="{72131DEF-2BFB-9590-58D3-7E526CA2AE06}"/>
          </ac:spMkLst>
        </pc:spChg>
        <pc:spChg chg="mod">
          <ac:chgData name="Nataliia Chornii (UA)" userId="4e4b8b3d-5f31-49bb-9f80-8a25c04abfff" providerId="ADAL" clId="{EE97D3FE-9ACA-4467-98E5-532EC45D9D1C}" dt="2024-03-04T09:11:02.374" v="18502" actId="571"/>
          <ac:spMkLst>
            <pc:docMk/>
            <pc:sldMk cId="795685229" sldId="904"/>
            <ac:spMk id="111" creationId="{FE15FEE3-58BA-08EA-C286-7BD714FE0ABB}"/>
          </ac:spMkLst>
        </pc:spChg>
        <pc:spChg chg="mod">
          <ac:chgData name="Nataliia Chornii (UA)" userId="4e4b8b3d-5f31-49bb-9f80-8a25c04abfff" providerId="ADAL" clId="{EE97D3FE-9ACA-4467-98E5-532EC45D9D1C}" dt="2024-03-04T09:11:07.744" v="18503" actId="571"/>
          <ac:spMkLst>
            <pc:docMk/>
            <pc:sldMk cId="795685229" sldId="904"/>
            <ac:spMk id="116" creationId="{0911658D-4F8D-7751-7C9D-2BB60E57CA06}"/>
          </ac:spMkLst>
        </pc:spChg>
        <pc:spChg chg="mod">
          <ac:chgData name="Nataliia Chornii (UA)" userId="4e4b8b3d-5f31-49bb-9f80-8a25c04abfff" providerId="ADAL" clId="{EE97D3FE-9ACA-4467-98E5-532EC45D9D1C}" dt="2024-03-04T09:11:07.744" v="18503" actId="571"/>
          <ac:spMkLst>
            <pc:docMk/>
            <pc:sldMk cId="795685229" sldId="904"/>
            <ac:spMk id="117" creationId="{720C14AF-2E3B-5595-0CE1-AA89F0821800}"/>
          </ac:spMkLst>
        </pc:spChg>
        <pc:spChg chg="mod">
          <ac:chgData name="Nataliia Chornii (UA)" userId="4e4b8b3d-5f31-49bb-9f80-8a25c04abfff" providerId="ADAL" clId="{EE97D3FE-9ACA-4467-98E5-532EC45D9D1C}" dt="2024-03-04T09:11:07.744" v="18503" actId="571"/>
          <ac:spMkLst>
            <pc:docMk/>
            <pc:sldMk cId="795685229" sldId="904"/>
            <ac:spMk id="118" creationId="{F150E54A-CAF6-6CD8-09D4-0805B27146CE}"/>
          </ac:spMkLst>
        </pc:spChg>
        <pc:spChg chg="mod">
          <ac:chgData name="Nataliia Chornii (UA)" userId="4e4b8b3d-5f31-49bb-9f80-8a25c04abfff" providerId="ADAL" clId="{EE97D3FE-9ACA-4467-98E5-532EC45D9D1C}" dt="2024-03-04T09:11:07.744" v="18503" actId="571"/>
          <ac:spMkLst>
            <pc:docMk/>
            <pc:sldMk cId="795685229" sldId="904"/>
            <ac:spMk id="119" creationId="{5D623F10-DC12-7A6D-BEA5-43C169E2FE3B}"/>
          </ac:spMkLst>
        </pc:spChg>
        <pc:spChg chg="mod">
          <ac:chgData name="Nataliia Chornii (UA)" userId="4e4b8b3d-5f31-49bb-9f80-8a25c04abfff" providerId="ADAL" clId="{EE97D3FE-9ACA-4467-98E5-532EC45D9D1C}" dt="2024-03-04T09:11:07.744" v="18503" actId="571"/>
          <ac:spMkLst>
            <pc:docMk/>
            <pc:sldMk cId="795685229" sldId="904"/>
            <ac:spMk id="120" creationId="{2C4ECBDD-D380-C0CD-F655-304F17E419DE}"/>
          </ac:spMkLst>
        </pc:spChg>
        <pc:spChg chg="mod">
          <ac:chgData name="Nataliia Chornii (UA)" userId="4e4b8b3d-5f31-49bb-9f80-8a25c04abfff" providerId="ADAL" clId="{EE97D3FE-9ACA-4467-98E5-532EC45D9D1C}" dt="2024-03-04T09:11:07.744" v="18503" actId="571"/>
          <ac:spMkLst>
            <pc:docMk/>
            <pc:sldMk cId="795685229" sldId="904"/>
            <ac:spMk id="121" creationId="{A4B6CF2E-FE3D-0F3A-53AB-081EC1E80CDB}"/>
          </ac:spMkLst>
        </pc:spChg>
        <pc:spChg chg="add mod">
          <ac:chgData name="Nataliia Chornii (UA)" userId="4e4b8b3d-5f31-49bb-9f80-8a25c04abfff" providerId="ADAL" clId="{EE97D3FE-9ACA-4467-98E5-532EC45D9D1C}" dt="2024-03-04T09:12:33.081" v="18535" actId="1076"/>
          <ac:spMkLst>
            <pc:docMk/>
            <pc:sldMk cId="795685229" sldId="904"/>
            <ac:spMk id="122" creationId="{6EC1D153-5C15-3EAE-F858-8A50316E93DD}"/>
          </ac:spMkLst>
        </pc:spChg>
        <pc:spChg chg="add mod">
          <ac:chgData name="Nataliia Chornii (UA)" userId="4e4b8b3d-5f31-49bb-9f80-8a25c04abfff" providerId="ADAL" clId="{EE97D3FE-9ACA-4467-98E5-532EC45D9D1C}" dt="2024-03-04T09:12:09.673" v="18526" actId="948"/>
          <ac:spMkLst>
            <pc:docMk/>
            <pc:sldMk cId="795685229" sldId="904"/>
            <ac:spMk id="123" creationId="{53FE2AD4-6665-1E07-01D8-F6C62B580128}"/>
          </ac:spMkLst>
        </pc:spChg>
        <pc:spChg chg="add mod">
          <ac:chgData name="Nataliia Chornii (UA)" userId="4e4b8b3d-5f31-49bb-9f80-8a25c04abfff" providerId="ADAL" clId="{EE97D3FE-9ACA-4467-98E5-532EC45D9D1C}" dt="2024-03-04T09:12:09.673" v="18526" actId="948"/>
          <ac:spMkLst>
            <pc:docMk/>
            <pc:sldMk cId="795685229" sldId="904"/>
            <ac:spMk id="124" creationId="{11BDF5B2-2755-2424-E4C1-A590DA713569}"/>
          </ac:spMkLst>
        </pc:spChg>
        <pc:spChg chg="add mod">
          <ac:chgData name="Nataliia Chornii (UA)" userId="4e4b8b3d-5f31-49bb-9f80-8a25c04abfff" providerId="ADAL" clId="{EE97D3FE-9ACA-4467-98E5-532EC45D9D1C}" dt="2024-03-04T09:11:59.320" v="18523" actId="255"/>
          <ac:spMkLst>
            <pc:docMk/>
            <pc:sldMk cId="795685229" sldId="904"/>
            <ac:spMk id="125" creationId="{1734212E-2EA2-B135-55B3-866F1CF570E1}"/>
          </ac:spMkLst>
        </pc:spChg>
        <pc:spChg chg="add mod">
          <ac:chgData name="Nataliia Chornii (UA)" userId="4e4b8b3d-5f31-49bb-9f80-8a25c04abfff" providerId="ADAL" clId="{EE97D3FE-9ACA-4467-98E5-532EC45D9D1C}" dt="2024-03-04T09:59:04.543" v="20214" actId="1076"/>
          <ac:spMkLst>
            <pc:docMk/>
            <pc:sldMk cId="795685229" sldId="904"/>
            <ac:spMk id="126" creationId="{A786E605-28E8-780E-8339-3A6A775DA0C0}"/>
          </ac:spMkLst>
        </pc:spChg>
        <pc:spChg chg="add mod">
          <ac:chgData name="Nataliia Chornii (UA)" userId="4e4b8b3d-5f31-49bb-9f80-8a25c04abfff" providerId="ADAL" clId="{EE97D3FE-9ACA-4467-98E5-532EC45D9D1C}" dt="2024-03-04T09:59:10.455" v="20215" actId="1076"/>
          <ac:spMkLst>
            <pc:docMk/>
            <pc:sldMk cId="795685229" sldId="904"/>
            <ac:spMk id="127" creationId="{1C1E571C-E6C1-D7AD-AF5E-49EF85BA448A}"/>
          </ac:spMkLst>
        </pc:spChg>
        <pc:grpChg chg="add mod">
          <ac:chgData name="Nataliia Chornii (UA)" userId="4e4b8b3d-5f31-49bb-9f80-8a25c04abfff" providerId="ADAL" clId="{EE97D3FE-9ACA-4467-98E5-532EC45D9D1C}" dt="2024-03-11T14:22:42.677" v="24032"/>
          <ac:grpSpMkLst>
            <pc:docMk/>
            <pc:sldMk cId="795685229" sldId="904"/>
            <ac:grpSpMk id="7" creationId="{C9C1E471-A029-C750-A876-BA87FF8A3FAF}"/>
          </ac:grpSpMkLst>
        </pc:grpChg>
        <pc:grpChg chg="add mod ord">
          <ac:chgData name="Nataliia Chornii (UA)" userId="4e4b8b3d-5f31-49bb-9f80-8a25c04abfff" providerId="ADAL" clId="{EE97D3FE-9ACA-4467-98E5-532EC45D9D1C}" dt="2024-03-04T09:03:07.626" v="18368"/>
          <ac:grpSpMkLst>
            <pc:docMk/>
            <pc:sldMk cId="795685229" sldId="904"/>
            <ac:grpSpMk id="25" creationId="{BACE7719-6924-A295-8F4C-2DE5F6D26049}"/>
          </ac:grpSpMkLst>
        </pc:grpChg>
        <pc:grpChg chg="add del mod ord">
          <ac:chgData name="Nataliia Chornii (UA)" userId="4e4b8b3d-5f31-49bb-9f80-8a25c04abfff" providerId="ADAL" clId="{EE97D3FE-9ACA-4467-98E5-532EC45D9D1C}" dt="2024-03-01T10:26:20.761" v="10034" actId="478"/>
          <ac:grpSpMkLst>
            <pc:docMk/>
            <pc:sldMk cId="795685229" sldId="904"/>
            <ac:grpSpMk id="36" creationId="{20C7307F-7841-E59D-9EFB-44EE749E7F94}"/>
          </ac:grpSpMkLst>
        </pc:grpChg>
        <pc:grpChg chg="add del mod ord">
          <ac:chgData name="Nataliia Chornii (UA)" userId="4e4b8b3d-5f31-49bb-9f80-8a25c04abfff" providerId="ADAL" clId="{EE97D3FE-9ACA-4467-98E5-532EC45D9D1C}" dt="2024-03-01T10:26:20.761" v="10034" actId="478"/>
          <ac:grpSpMkLst>
            <pc:docMk/>
            <pc:sldMk cId="795685229" sldId="904"/>
            <ac:grpSpMk id="39" creationId="{D0EABE82-913F-1021-A834-91983B6AB719}"/>
          </ac:grpSpMkLst>
        </pc:grpChg>
        <pc:grpChg chg="add del mod">
          <ac:chgData name="Nataliia Chornii (UA)" userId="4e4b8b3d-5f31-49bb-9f80-8a25c04abfff" providerId="ADAL" clId="{EE97D3FE-9ACA-4467-98E5-532EC45D9D1C}" dt="2024-03-04T09:00:41.983" v="18237" actId="478"/>
          <ac:grpSpMkLst>
            <pc:docMk/>
            <pc:sldMk cId="795685229" sldId="904"/>
            <ac:grpSpMk id="45" creationId="{D727D34E-18A1-40C5-D51B-25B5B8C091FB}"/>
          </ac:grpSpMkLst>
        </pc:grpChg>
        <pc:grpChg chg="add mod ord">
          <ac:chgData name="Nataliia Chornii (UA)" userId="4e4b8b3d-5f31-49bb-9f80-8a25c04abfff" providerId="ADAL" clId="{EE97D3FE-9ACA-4467-98E5-532EC45D9D1C}" dt="2024-03-04T09:14:29.015" v="18542" actId="12789"/>
          <ac:grpSpMkLst>
            <pc:docMk/>
            <pc:sldMk cId="795685229" sldId="904"/>
            <ac:grpSpMk id="58" creationId="{873550C4-4981-89FD-8CE8-B835669FAD87}"/>
          </ac:grpSpMkLst>
        </pc:grpChg>
        <pc:grpChg chg="add mod">
          <ac:chgData name="Nataliia Chornii (UA)" userId="4e4b8b3d-5f31-49bb-9f80-8a25c04abfff" providerId="ADAL" clId="{EE97D3FE-9ACA-4467-98E5-532EC45D9D1C}" dt="2024-03-04T09:06:07.665" v="18436" actId="164"/>
          <ac:grpSpMkLst>
            <pc:docMk/>
            <pc:sldMk cId="795685229" sldId="904"/>
            <ac:grpSpMk id="65" creationId="{EE585BA7-4753-1C81-3F52-1AB9955DFB9A}"/>
          </ac:grpSpMkLst>
        </pc:grpChg>
        <pc:grpChg chg="add mod">
          <ac:chgData name="Nataliia Chornii (UA)" userId="4e4b8b3d-5f31-49bb-9f80-8a25c04abfff" providerId="ADAL" clId="{EE97D3FE-9ACA-4467-98E5-532EC45D9D1C}" dt="2024-03-04T09:06:07.665" v="18436" actId="164"/>
          <ac:grpSpMkLst>
            <pc:docMk/>
            <pc:sldMk cId="795685229" sldId="904"/>
            <ac:grpSpMk id="68" creationId="{538FF60D-EFEA-CF8D-F512-1FE6C78AA87F}"/>
          </ac:grpSpMkLst>
        </pc:grpChg>
        <pc:grpChg chg="add mod">
          <ac:chgData name="Nataliia Chornii (UA)" userId="4e4b8b3d-5f31-49bb-9f80-8a25c04abfff" providerId="ADAL" clId="{EE97D3FE-9ACA-4467-98E5-532EC45D9D1C}" dt="2024-03-04T09:06:07.665" v="18436" actId="164"/>
          <ac:grpSpMkLst>
            <pc:docMk/>
            <pc:sldMk cId="795685229" sldId="904"/>
            <ac:grpSpMk id="71" creationId="{9602CF31-2F8C-833E-457D-AEEB16D027EA}"/>
          </ac:grpSpMkLst>
        </pc:grpChg>
        <pc:grpChg chg="add del mod">
          <ac:chgData name="Nataliia Chornii (UA)" userId="4e4b8b3d-5f31-49bb-9f80-8a25c04abfff" providerId="ADAL" clId="{EE97D3FE-9ACA-4467-98E5-532EC45D9D1C}" dt="2024-03-04T09:11:09.967" v="18504" actId="478"/>
          <ac:grpSpMkLst>
            <pc:docMk/>
            <pc:sldMk cId="795685229" sldId="904"/>
            <ac:grpSpMk id="74" creationId="{28D4C88D-7F61-B744-9DE9-373565EA79FD}"/>
          </ac:grpSpMkLst>
        </pc:grpChg>
        <pc:grpChg chg="add mod">
          <ac:chgData name="Nataliia Chornii (UA)" userId="4e4b8b3d-5f31-49bb-9f80-8a25c04abfff" providerId="ADAL" clId="{EE97D3FE-9ACA-4467-98E5-532EC45D9D1C}" dt="2024-03-04T09:07:26.021" v="18474" actId="571"/>
          <ac:grpSpMkLst>
            <pc:docMk/>
            <pc:sldMk cId="795685229" sldId="904"/>
            <ac:grpSpMk id="78" creationId="{6B84DB87-8C5C-ACB1-1BB6-BD3E26046E4B}"/>
          </ac:grpSpMkLst>
        </pc:grpChg>
        <pc:grpChg chg="mod">
          <ac:chgData name="Nataliia Chornii (UA)" userId="4e4b8b3d-5f31-49bb-9f80-8a25c04abfff" providerId="ADAL" clId="{EE97D3FE-9ACA-4467-98E5-532EC45D9D1C}" dt="2024-03-04T09:07:26.021" v="18474" actId="571"/>
          <ac:grpSpMkLst>
            <pc:docMk/>
            <pc:sldMk cId="795685229" sldId="904"/>
            <ac:grpSpMk id="79" creationId="{9FB3B16A-3C2F-CC32-8803-72FB8565832A}"/>
          </ac:grpSpMkLst>
        </pc:grpChg>
        <pc:grpChg chg="mod">
          <ac:chgData name="Nataliia Chornii (UA)" userId="4e4b8b3d-5f31-49bb-9f80-8a25c04abfff" providerId="ADAL" clId="{EE97D3FE-9ACA-4467-98E5-532EC45D9D1C}" dt="2024-03-04T09:07:26.021" v="18474" actId="571"/>
          <ac:grpSpMkLst>
            <pc:docMk/>
            <pc:sldMk cId="795685229" sldId="904"/>
            <ac:grpSpMk id="80" creationId="{9DA1957F-4763-5182-A70A-88483B2A7E03}"/>
          </ac:grpSpMkLst>
        </pc:grpChg>
        <pc:grpChg chg="mod">
          <ac:chgData name="Nataliia Chornii (UA)" userId="4e4b8b3d-5f31-49bb-9f80-8a25c04abfff" providerId="ADAL" clId="{EE97D3FE-9ACA-4467-98E5-532EC45D9D1C}" dt="2024-03-04T09:07:26.021" v="18474" actId="571"/>
          <ac:grpSpMkLst>
            <pc:docMk/>
            <pc:sldMk cId="795685229" sldId="904"/>
            <ac:grpSpMk id="81" creationId="{964B12D4-A5A6-6BD2-093E-F085B218D413}"/>
          </ac:grpSpMkLst>
        </pc:grpChg>
        <pc:grpChg chg="add del mod">
          <ac:chgData name="Nataliia Chornii (UA)" userId="4e4b8b3d-5f31-49bb-9f80-8a25c04abfff" providerId="ADAL" clId="{EE97D3FE-9ACA-4467-98E5-532EC45D9D1C}" dt="2024-03-04T09:09:05.958" v="18486" actId="478"/>
          <ac:grpSpMkLst>
            <pc:docMk/>
            <pc:sldMk cId="795685229" sldId="904"/>
            <ac:grpSpMk id="88" creationId="{DF12ADEA-CE67-7E5A-89B8-2B6262EB6257}"/>
          </ac:grpSpMkLst>
        </pc:grpChg>
        <pc:grpChg chg="mod">
          <ac:chgData name="Nataliia Chornii (UA)" userId="4e4b8b3d-5f31-49bb-9f80-8a25c04abfff" providerId="ADAL" clId="{EE97D3FE-9ACA-4467-98E5-532EC45D9D1C}" dt="2024-03-04T09:07:31.375" v="18475" actId="571"/>
          <ac:grpSpMkLst>
            <pc:docMk/>
            <pc:sldMk cId="795685229" sldId="904"/>
            <ac:grpSpMk id="89" creationId="{A7E9DEB0-9806-FFE0-A763-0FC91F62470D}"/>
          </ac:grpSpMkLst>
        </pc:grpChg>
        <pc:grpChg chg="mod">
          <ac:chgData name="Nataliia Chornii (UA)" userId="4e4b8b3d-5f31-49bb-9f80-8a25c04abfff" providerId="ADAL" clId="{EE97D3FE-9ACA-4467-98E5-532EC45D9D1C}" dt="2024-03-04T09:07:31.375" v="18475" actId="571"/>
          <ac:grpSpMkLst>
            <pc:docMk/>
            <pc:sldMk cId="795685229" sldId="904"/>
            <ac:grpSpMk id="90" creationId="{CD4CE705-1B65-FB9F-4F54-EEF7E5D4F63E}"/>
          </ac:grpSpMkLst>
        </pc:grpChg>
        <pc:grpChg chg="mod">
          <ac:chgData name="Nataliia Chornii (UA)" userId="4e4b8b3d-5f31-49bb-9f80-8a25c04abfff" providerId="ADAL" clId="{EE97D3FE-9ACA-4467-98E5-532EC45D9D1C}" dt="2024-03-04T09:07:31.375" v="18475" actId="571"/>
          <ac:grpSpMkLst>
            <pc:docMk/>
            <pc:sldMk cId="795685229" sldId="904"/>
            <ac:grpSpMk id="91" creationId="{7B2F5476-A876-A9BD-E843-A44917160C24}"/>
          </ac:grpSpMkLst>
        </pc:grpChg>
        <pc:grpChg chg="add mod">
          <ac:chgData name="Nataliia Chornii (UA)" userId="4e4b8b3d-5f31-49bb-9f80-8a25c04abfff" providerId="ADAL" clId="{EE97D3FE-9ACA-4467-98E5-532EC45D9D1C}" dt="2024-03-04T09:11:02.374" v="18502" actId="571"/>
          <ac:grpSpMkLst>
            <pc:docMk/>
            <pc:sldMk cId="795685229" sldId="904"/>
            <ac:grpSpMk id="102" creationId="{06D7D555-9DA5-FE03-CEF6-D3261741B092}"/>
          </ac:grpSpMkLst>
        </pc:grpChg>
        <pc:grpChg chg="mod">
          <ac:chgData name="Nataliia Chornii (UA)" userId="4e4b8b3d-5f31-49bb-9f80-8a25c04abfff" providerId="ADAL" clId="{EE97D3FE-9ACA-4467-98E5-532EC45D9D1C}" dt="2024-03-04T09:11:02.374" v="18502" actId="571"/>
          <ac:grpSpMkLst>
            <pc:docMk/>
            <pc:sldMk cId="795685229" sldId="904"/>
            <ac:grpSpMk id="103" creationId="{1622A453-C59E-D6C9-ECC4-5784A37EE6F1}"/>
          </ac:grpSpMkLst>
        </pc:grpChg>
        <pc:grpChg chg="mod">
          <ac:chgData name="Nataliia Chornii (UA)" userId="4e4b8b3d-5f31-49bb-9f80-8a25c04abfff" providerId="ADAL" clId="{EE97D3FE-9ACA-4467-98E5-532EC45D9D1C}" dt="2024-03-04T09:11:02.374" v="18502" actId="571"/>
          <ac:grpSpMkLst>
            <pc:docMk/>
            <pc:sldMk cId="795685229" sldId="904"/>
            <ac:grpSpMk id="104" creationId="{37AEAB2B-6A61-9E56-03BE-E440094021E3}"/>
          </ac:grpSpMkLst>
        </pc:grpChg>
        <pc:grpChg chg="mod">
          <ac:chgData name="Nataliia Chornii (UA)" userId="4e4b8b3d-5f31-49bb-9f80-8a25c04abfff" providerId="ADAL" clId="{EE97D3FE-9ACA-4467-98E5-532EC45D9D1C}" dt="2024-03-04T09:11:02.374" v="18502" actId="571"/>
          <ac:grpSpMkLst>
            <pc:docMk/>
            <pc:sldMk cId="795685229" sldId="904"/>
            <ac:grpSpMk id="105" creationId="{56A2C92E-DFE7-0FD0-02F0-2CB43666CD31}"/>
          </ac:grpSpMkLst>
        </pc:grpChg>
        <pc:grpChg chg="add mod">
          <ac:chgData name="Nataliia Chornii (UA)" userId="4e4b8b3d-5f31-49bb-9f80-8a25c04abfff" providerId="ADAL" clId="{EE97D3FE-9ACA-4467-98E5-532EC45D9D1C}" dt="2024-03-04T09:11:07.744" v="18503" actId="571"/>
          <ac:grpSpMkLst>
            <pc:docMk/>
            <pc:sldMk cId="795685229" sldId="904"/>
            <ac:grpSpMk id="112" creationId="{2DF38961-65A0-3CF0-F0C0-71EBA3C91784}"/>
          </ac:grpSpMkLst>
        </pc:grpChg>
        <pc:grpChg chg="mod">
          <ac:chgData name="Nataliia Chornii (UA)" userId="4e4b8b3d-5f31-49bb-9f80-8a25c04abfff" providerId="ADAL" clId="{EE97D3FE-9ACA-4467-98E5-532EC45D9D1C}" dt="2024-03-04T09:11:07.744" v="18503" actId="571"/>
          <ac:grpSpMkLst>
            <pc:docMk/>
            <pc:sldMk cId="795685229" sldId="904"/>
            <ac:grpSpMk id="113" creationId="{6F62761F-867A-573C-2EB7-18864D381AC8}"/>
          </ac:grpSpMkLst>
        </pc:grpChg>
        <pc:grpChg chg="mod">
          <ac:chgData name="Nataliia Chornii (UA)" userId="4e4b8b3d-5f31-49bb-9f80-8a25c04abfff" providerId="ADAL" clId="{EE97D3FE-9ACA-4467-98E5-532EC45D9D1C}" dt="2024-03-04T09:11:07.744" v="18503" actId="571"/>
          <ac:grpSpMkLst>
            <pc:docMk/>
            <pc:sldMk cId="795685229" sldId="904"/>
            <ac:grpSpMk id="114" creationId="{01725567-AA3F-4814-C353-07E52F0A22D0}"/>
          </ac:grpSpMkLst>
        </pc:grpChg>
        <pc:grpChg chg="mod">
          <ac:chgData name="Nataliia Chornii (UA)" userId="4e4b8b3d-5f31-49bb-9f80-8a25c04abfff" providerId="ADAL" clId="{EE97D3FE-9ACA-4467-98E5-532EC45D9D1C}" dt="2024-03-04T09:11:07.744" v="18503" actId="571"/>
          <ac:grpSpMkLst>
            <pc:docMk/>
            <pc:sldMk cId="795685229" sldId="904"/>
            <ac:grpSpMk id="115" creationId="{A65B5391-727D-8218-72D3-212247B17253}"/>
          </ac:grpSpMkLst>
        </pc:grpChg>
        <pc:graphicFrameChg chg="add mod ord modVis replST">
          <ac:chgData name="Nataliia Chornii (UA)" userId="4e4b8b3d-5f31-49bb-9f80-8a25c04abfff" providerId="ADAL" clId="{EE97D3FE-9ACA-4467-98E5-532EC45D9D1C}" dt="2024-03-04T09:03:07.643" v="18390"/>
          <ac:graphicFrameMkLst>
            <pc:docMk/>
            <pc:sldMk cId="795685229" sldId="904"/>
            <ac:graphicFrameMk id="14" creationId="{86C0963A-C5CC-2E7D-B418-A43C2733186F}"/>
          </ac:graphicFrameMkLst>
        </pc:graphicFrameChg>
        <pc:picChg chg="del mod ord">
          <ac:chgData name="Nataliia Chornii (UA)" userId="4e4b8b3d-5f31-49bb-9f80-8a25c04abfff" providerId="ADAL" clId="{EE97D3FE-9ACA-4467-98E5-532EC45D9D1C}" dt="2024-03-04T09:09:45.067" v="18498" actId="478"/>
          <ac:picMkLst>
            <pc:docMk/>
            <pc:sldMk cId="795685229" sldId="904"/>
            <ac:picMk id="16" creationId="{7CBA6D7D-8652-84AD-7984-01250C47A431}"/>
          </ac:picMkLst>
        </pc:picChg>
      </pc:sldChg>
      <pc:sldChg chg="addSp delSp modSp mod modClrScheme chgLayout">
        <pc:chgData name="Nataliia Chornii (UA)" userId="4e4b8b3d-5f31-49bb-9f80-8a25c04abfff" providerId="ADAL" clId="{EE97D3FE-9ACA-4467-98E5-532EC45D9D1C}" dt="2024-03-11T14:22:44.866" v="24033"/>
        <pc:sldMkLst>
          <pc:docMk/>
          <pc:sldMk cId="507333055" sldId="905"/>
        </pc:sldMkLst>
        <pc:spChg chg="mod ord">
          <ac:chgData name="Nataliia Chornii (UA)" userId="4e4b8b3d-5f31-49bb-9f80-8a25c04abfff" providerId="ADAL" clId="{EE97D3FE-9ACA-4467-98E5-532EC45D9D1C}" dt="2024-03-01T10:33:50.996" v="10281"/>
          <ac:spMkLst>
            <pc:docMk/>
            <pc:sldMk cId="507333055" sldId="905"/>
            <ac:spMk id="2" creationId="{EDFBCEAB-7D4A-91D0-E036-AAFACC3ABE8D}"/>
          </ac:spMkLst>
        </pc:spChg>
        <pc:spChg chg="add del mod modVis">
          <ac:chgData name="Nataliia Chornii (UA)" userId="4e4b8b3d-5f31-49bb-9f80-8a25c04abfff" providerId="ADAL" clId="{EE97D3FE-9ACA-4467-98E5-532EC45D9D1C}" dt="2024-03-01T08:48:59.220" v="1225"/>
          <ac:spMkLst>
            <pc:docMk/>
            <pc:sldMk cId="507333055" sldId="905"/>
            <ac:spMk id="3" creationId="{01874AA2-ADDC-ADF8-8977-50E443D83B48}"/>
          </ac:spMkLst>
        </pc:spChg>
        <pc:spChg chg="add mod">
          <ac:chgData name="Nataliia Chornii (UA)" userId="4e4b8b3d-5f31-49bb-9f80-8a25c04abfff" providerId="ADAL" clId="{EE97D3FE-9ACA-4467-98E5-532EC45D9D1C}" dt="2024-03-11T14:22:44.866" v="24033"/>
          <ac:spMkLst>
            <pc:docMk/>
            <pc:sldMk cId="507333055" sldId="905"/>
            <ac:spMk id="3" creationId="{70832196-8F04-2AE8-0728-1989AF43F84D}"/>
          </ac:spMkLst>
        </pc:spChg>
        <pc:spChg chg="mod ord">
          <ac:chgData name="Nataliia Chornii (UA)" userId="4e4b8b3d-5f31-49bb-9f80-8a25c04abfff" providerId="ADAL" clId="{EE97D3FE-9ACA-4467-98E5-532EC45D9D1C}" dt="2024-03-01T10:33:54.317" v="10308" actId="207"/>
          <ac:spMkLst>
            <pc:docMk/>
            <pc:sldMk cId="507333055" sldId="905"/>
            <ac:spMk id="4" creationId="{A6320228-D809-6F87-2500-99BCB217E23A}"/>
          </ac:spMkLst>
        </pc:spChg>
        <pc:spChg chg="del">
          <ac:chgData name="Nataliia Chornii (UA)" userId="4e4b8b3d-5f31-49bb-9f80-8a25c04abfff" providerId="ADAL" clId="{EE97D3FE-9ACA-4467-98E5-532EC45D9D1C}" dt="2024-03-01T09:58:56.464" v="9425" actId="478"/>
          <ac:spMkLst>
            <pc:docMk/>
            <pc:sldMk cId="507333055" sldId="905"/>
            <ac:spMk id="5" creationId="{E03CB895-8BEB-5197-3BCF-F146EFC5500F}"/>
          </ac:spMkLst>
        </pc:spChg>
        <pc:spChg chg="del">
          <ac:chgData name="Nataliia Chornii (UA)" userId="4e4b8b3d-5f31-49bb-9f80-8a25c04abfff" providerId="ADAL" clId="{EE97D3FE-9ACA-4467-98E5-532EC45D9D1C}" dt="2024-03-01T09:58:56.464" v="9425" actId="478"/>
          <ac:spMkLst>
            <pc:docMk/>
            <pc:sldMk cId="507333055" sldId="905"/>
            <ac:spMk id="6" creationId="{34D7B216-0AF9-A245-CB30-410131422508}"/>
          </ac:spMkLst>
        </pc:spChg>
        <pc:spChg chg="mod">
          <ac:chgData name="Nataliia Chornii (UA)" userId="4e4b8b3d-5f31-49bb-9f80-8a25c04abfff" providerId="ADAL" clId="{EE97D3FE-9ACA-4467-98E5-532EC45D9D1C}" dt="2024-03-11T14:22:44.866" v="24033"/>
          <ac:spMkLst>
            <pc:docMk/>
            <pc:sldMk cId="507333055" sldId="905"/>
            <ac:spMk id="6" creationId="{7B05A1CC-7504-0F93-3BA5-4DE99C347651}"/>
          </ac:spMkLst>
        </pc:spChg>
        <pc:spChg chg="mod">
          <ac:chgData name="Nataliia Chornii (UA)" userId="4e4b8b3d-5f31-49bb-9f80-8a25c04abfff" providerId="ADAL" clId="{EE97D3FE-9ACA-4467-98E5-532EC45D9D1C}" dt="2024-03-11T14:22:44.866" v="24033"/>
          <ac:spMkLst>
            <pc:docMk/>
            <pc:sldMk cId="507333055" sldId="905"/>
            <ac:spMk id="7" creationId="{7CCBCAB2-8042-8023-3371-75FC4CDDA556}"/>
          </ac:spMkLst>
        </pc:spChg>
        <pc:spChg chg="del">
          <ac:chgData name="Nataliia Chornii (UA)" userId="4e4b8b3d-5f31-49bb-9f80-8a25c04abfff" providerId="ADAL" clId="{EE97D3FE-9ACA-4467-98E5-532EC45D9D1C}" dt="2024-03-01T09:58:36.553" v="9417" actId="478"/>
          <ac:spMkLst>
            <pc:docMk/>
            <pc:sldMk cId="507333055" sldId="905"/>
            <ac:spMk id="7" creationId="{ABE8EE39-C466-6083-2B14-0237C935C96B}"/>
          </ac:spMkLst>
        </pc:spChg>
        <pc:spChg chg="mod">
          <ac:chgData name="Nataliia Chornii (UA)" userId="4e4b8b3d-5f31-49bb-9f80-8a25c04abfff" providerId="ADAL" clId="{EE97D3FE-9ACA-4467-98E5-532EC45D9D1C}" dt="2024-03-11T14:22:44.866" v="24033"/>
          <ac:spMkLst>
            <pc:docMk/>
            <pc:sldMk cId="507333055" sldId="905"/>
            <ac:spMk id="8" creationId="{19F7371B-DAF0-68B7-93FA-BDE4B01797F6}"/>
          </ac:spMkLst>
        </pc:spChg>
        <pc:spChg chg="del">
          <ac:chgData name="Nataliia Chornii (UA)" userId="4e4b8b3d-5f31-49bb-9f80-8a25c04abfff" providerId="ADAL" clId="{EE97D3FE-9ACA-4467-98E5-532EC45D9D1C}" dt="2024-03-01T09:58:36.553" v="9417" actId="478"/>
          <ac:spMkLst>
            <pc:docMk/>
            <pc:sldMk cId="507333055" sldId="905"/>
            <ac:spMk id="8" creationId="{D3075EA9-222C-FBAB-0F0E-D4775F00C87E}"/>
          </ac:spMkLst>
        </pc:spChg>
        <pc:spChg chg="del">
          <ac:chgData name="Nataliia Chornii (UA)" userId="4e4b8b3d-5f31-49bb-9f80-8a25c04abfff" providerId="ADAL" clId="{EE97D3FE-9ACA-4467-98E5-532EC45D9D1C}" dt="2024-03-01T09:58:36.553" v="9417" actId="478"/>
          <ac:spMkLst>
            <pc:docMk/>
            <pc:sldMk cId="507333055" sldId="905"/>
            <ac:spMk id="9" creationId="{08B6A8B7-7C80-74FA-BFD5-B86DDE664F74}"/>
          </ac:spMkLst>
        </pc:spChg>
        <pc:spChg chg="mod">
          <ac:chgData name="Nataliia Chornii (UA)" userId="4e4b8b3d-5f31-49bb-9f80-8a25c04abfff" providerId="ADAL" clId="{EE97D3FE-9ACA-4467-98E5-532EC45D9D1C}" dt="2024-03-11T14:22:44.866" v="24033"/>
          <ac:spMkLst>
            <pc:docMk/>
            <pc:sldMk cId="507333055" sldId="905"/>
            <ac:spMk id="9" creationId="{86697D7D-B946-E90D-2D2C-E2BA46D91B2B}"/>
          </ac:spMkLst>
        </pc:spChg>
        <pc:spChg chg="mod">
          <ac:chgData name="Nataliia Chornii (UA)" userId="4e4b8b3d-5f31-49bb-9f80-8a25c04abfff" providerId="ADAL" clId="{EE97D3FE-9ACA-4467-98E5-532EC45D9D1C}" dt="2024-03-11T14:22:44.866" v="24033"/>
          <ac:spMkLst>
            <pc:docMk/>
            <pc:sldMk cId="507333055" sldId="905"/>
            <ac:spMk id="10" creationId="{97ED17E7-DCE0-28AB-CD9D-4B6FADB71D15}"/>
          </ac:spMkLst>
        </pc:spChg>
        <pc:spChg chg="del">
          <ac:chgData name="Nataliia Chornii (UA)" userId="4e4b8b3d-5f31-49bb-9f80-8a25c04abfff" providerId="ADAL" clId="{EE97D3FE-9ACA-4467-98E5-532EC45D9D1C}" dt="2024-03-01T09:58:36.553" v="9417" actId="478"/>
          <ac:spMkLst>
            <pc:docMk/>
            <pc:sldMk cId="507333055" sldId="905"/>
            <ac:spMk id="10" creationId="{B337C822-0ACB-7395-4E9F-FE78A0258C7B}"/>
          </ac:spMkLst>
        </pc:spChg>
        <pc:spChg chg="mod">
          <ac:chgData name="Nataliia Chornii (UA)" userId="4e4b8b3d-5f31-49bb-9f80-8a25c04abfff" providerId="ADAL" clId="{EE97D3FE-9ACA-4467-98E5-532EC45D9D1C}" dt="2024-03-11T14:22:44.866" v="24033"/>
          <ac:spMkLst>
            <pc:docMk/>
            <pc:sldMk cId="507333055" sldId="905"/>
            <ac:spMk id="11" creationId="{A0930077-F578-EFD3-9AD7-72A9A79464CF}"/>
          </ac:spMkLst>
        </pc:spChg>
        <pc:spChg chg="del">
          <ac:chgData name="Nataliia Chornii (UA)" userId="4e4b8b3d-5f31-49bb-9f80-8a25c04abfff" providerId="ADAL" clId="{EE97D3FE-9ACA-4467-98E5-532EC45D9D1C}" dt="2024-03-01T09:58:36.553" v="9417" actId="478"/>
          <ac:spMkLst>
            <pc:docMk/>
            <pc:sldMk cId="507333055" sldId="905"/>
            <ac:spMk id="11" creationId="{BEFB8D44-5692-BC7D-1631-1623E5005441}"/>
          </ac:spMkLst>
        </pc:spChg>
        <pc:spChg chg="add del mod modVis">
          <ac:chgData name="Nataliia Chornii (UA)" userId="4e4b8b3d-5f31-49bb-9f80-8a25c04abfff" providerId="ADAL" clId="{EE97D3FE-9ACA-4467-98E5-532EC45D9D1C}" dt="2024-03-01T08:49:33.703" v="2786"/>
          <ac:spMkLst>
            <pc:docMk/>
            <pc:sldMk cId="507333055" sldId="905"/>
            <ac:spMk id="13" creationId="{A58C6272-EC6B-6B36-7F46-3CA957244F38}"/>
          </ac:spMkLst>
        </pc:spChg>
        <pc:spChg chg="add del mod modVis">
          <ac:chgData name="Nataliia Chornii (UA)" userId="4e4b8b3d-5f31-49bb-9f80-8a25c04abfff" providerId="ADAL" clId="{EE97D3FE-9ACA-4467-98E5-532EC45D9D1C}" dt="2024-03-01T08:49:59.757" v="3774"/>
          <ac:spMkLst>
            <pc:docMk/>
            <pc:sldMk cId="507333055" sldId="905"/>
            <ac:spMk id="14" creationId="{1BA7777D-4EBA-BAEF-B44E-265FDDDB9398}"/>
          </ac:spMkLst>
        </pc:spChg>
        <pc:spChg chg="add del mod modVis">
          <ac:chgData name="Nataliia Chornii (UA)" userId="4e4b8b3d-5f31-49bb-9f80-8a25c04abfff" providerId="ADAL" clId="{EE97D3FE-9ACA-4467-98E5-532EC45D9D1C}" dt="2024-03-01T08:51:26.075" v="4762"/>
          <ac:spMkLst>
            <pc:docMk/>
            <pc:sldMk cId="507333055" sldId="905"/>
            <ac:spMk id="15" creationId="{2F68CB46-4504-B7EA-130C-78AF11E12BD3}"/>
          </ac:spMkLst>
        </pc:spChg>
        <pc:spChg chg="add del mod modVis">
          <ac:chgData name="Nataliia Chornii (UA)" userId="4e4b8b3d-5f31-49bb-9f80-8a25c04abfff" providerId="ADAL" clId="{EE97D3FE-9ACA-4467-98E5-532EC45D9D1C}" dt="2024-03-01T08:51:56.079" v="5751"/>
          <ac:spMkLst>
            <pc:docMk/>
            <pc:sldMk cId="507333055" sldId="905"/>
            <ac:spMk id="16" creationId="{613C562E-AF1A-509C-FDD1-4A450C77620F}"/>
          </ac:spMkLst>
        </pc:spChg>
        <pc:spChg chg="add del mod modVis">
          <ac:chgData name="Nataliia Chornii (UA)" userId="4e4b8b3d-5f31-49bb-9f80-8a25c04abfff" providerId="ADAL" clId="{EE97D3FE-9ACA-4467-98E5-532EC45D9D1C}" dt="2024-03-01T08:52:18.233" v="6739"/>
          <ac:spMkLst>
            <pc:docMk/>
            <pc:sldMk cId="507333055" sldId="905"/>
            <ac:spMk id="17" creationId="{95317D95-738E-28D8-2E17-B5950605112D}"/>
          </ac:spMkLst>
        </pc:spChg>
        <pc:spChg chg="del mod">
          <ac:chgData name="Nataliia Chornii (UA)" userId="4e4b8b3d-5f31-49bb-9f80-8a25c04abfff" providerId="ADAL" clId="{EE97D3FE-9ACA-4467-98E5-532EC45D9D1C}" dt="2024-03-01T10:02:20.795" v="9443" actId="478"/>
          <ac:spMkLst>
            <pc:docMk/>
            <pc:sldMk cId="507333055" sldId="905"/>
            <ac:spMk id="18" creationId="{22980002-C01F-4035-66FB-BB909C9376A3}"/>
          </ac:spMkLst>
        </pc:spChg>
        <pc:spChg chg="del">
          <ac:chgData name="Nataliia Chornii (UA)" userId="4e4b8b3d-5f31-49bb-9f80-8a25c04abfff" providerId="ADAL" clId="{EE97D3FE-9ACA-4467-98E5-532EC45D9D1C}" dt="2024-03-01T10:02:23.673" v="9444" actId="478"/>
          <ac:spMkLst>
            <pc:docMk/>
            <pc:sldMk cId="507333055" sldId="905"/>
            <ac:spMk id="19" creationId="{E0084A30-D99D-E96E-31F4-0E0CFAAD99C4}"/>
          </ac:spMkLst>
        </pc:spChg>
        <pc:spChg chg="mod">
          <ac:chgData name="Nataliia Chornii (UA)" userId="4e4b8b3d-5f31-49bb-9f80-8a25c04abfff" providerId="ADAL" clId="{EE97D3FE-9ACA-4467-98E5-532EC45D9D1C}" dt="2024-03-01T09:58:36.964" v="9418"/>
          <ac:spMkLst>
            <pc:docMk/>
            <pc:sldMk cId="507333055" sldId="905"/>
            <ac:spMk id="21" creationId="{38BB8091-1076-C602-6CED-C2AE6678F5A9}"/>
          </ac:spMkLst>
        </pc:spChg>
        <pc:spChg chg="mod">
          <ac:chgData name="Nataliia Chornii (UA)" userId="4e4b8b3d-5f31-49bb-9f80-8a25c04abfff" providerId="ADAL" clId="{EE97D3FE-9ACA-4467-98E5-532EC45D9D1C}" dt="2024-03-01T09:58:52.547" v="9424" actId="113"/>
          <ac:spMkLst>
            <pc:docMk/>
            <pc:sldMk cId="507333055" sldId="905"/>
            <ac:spMk id="22" creationId="{14F35E1A-2C93-B6CB-918D-868C9B06B0A7}"/>
          </ac:spMkLst>
        </pc:spChg>
        <pc:spChg chg="mod">
          <ac:chgData name="Nataliia Chornii (UA)" userId="4e4b8b3d-5f31-49bb-9f80-8a25c04abfff" providerId="ADAL" clId="{EE97D3FE-9ACA-4467-98E5-532EC45D9D1C}" dt="2024-03-01T09:58:42.600" v="9421" actId="207"/>
          <ac:spMkLst>
            <pc:docMk/>
            <pc:sldMk cId="507333055" sldId="905"/>
            <ac:spMk id="23" creationId="{F97CB2C5-7142-8223-7214-B1FDFDA9926A}"/>
          </ac:spMkLst>
        </pc:spChg>
        <pc:spChg chg="mod">
          <ac:chgData name="Nataliia Chornii (UA)" userId="4e4b8b3d-5f31-49bb-9f80-8a25c04abfff" providerId="ADAL" clId="{EE97D3FE-9ACA-4467-98E5-532EC45D9D1C}" dt="2024-03-01T09:58:36.964" v="9418"/>
          <ac:spMkLst>
            <pc:docMk/>
            <pc:sldMk cId="507333055" sldId="905"/>
            <ac:spMk id="24" creationId="{F0AA07AA-4D21-8CE3-744C-AD9A127C8D02}"/>
          </ac:spMkLst>
        </pc:spChg>
        <pc:spChg chg="mod">
          <ac:chgData name="Nataliia Chornii (UA)" userId="4e4b8b3d-5f31-49bb-9f80-8a25c04abfff" providerId="ADAL" clId="{EE97D3FE-9ACA-4467-98E5-532EC45D9D1C}" dt="2024-03-01T09:58:36.964" v="9418"/>
          <ac:spMkLst>
            <pc:docMk/>
            <pc:sldMk cId="507333055" sldId="905"/>
            <ac:spMk id="25" creationId="{1CA1B5B0-7F3C-4506-0CFC-FC71900DAEB0}"/>
          </ac:spMkLst>
        </pc:spChg>
        <pc:spChg chg="add mod ord">
          <ac:chgData name="Nataliia Chornii (UA)" userId="4e4b8b3d-5f31-49bb-9f80-8a25c04abfff" providerId="ADAL" clId="{EE97D3FE-9ACA-4467-98E5-532EC45D9D1C}" dt="2024-03-01T10:34:08.441" v="10312" actId="207"/>
          <ac:spMkLst>
            <pc:docMk/>
            <pc:sldMk cId="507333055" sldId="905"/>
            <ac:spMk id="26" creationId="{CAFFDCE5-3051-49DF-AF83-5287E01B7716}"/>
          </ac:spMkLst>
        </pc:spChg>
        <pc:spChg chg="add mod ord">
          <ac:chgData name="Nataliia Chornii (UA)" userId="4e4b8b3d-5f31-49bb-9f80-8a25c04abfff" providerId="ADAL" clId="{EE97D3FE-9ACA-4467-98E5-532EC45D9D1C}" dt="2024-03-01T10:33:50.996" v="10289"/>
          <ac:spMkLst>
            <pc:docMk/>
            <pc:sldMk cId="507333055" sldId="905"/>
            <ac:spMk id="27" creationId="{D6EA5D0F-11EF-2398-660B-39FF89189180}"/>
          </ac:spMkLst>
        </pc:spChg>
        <pc:spChg chg="add mod ord">
          <ac:chgData name="Nataliia Chornii (UA)" userId="4e4b8b3d-5f31-49bb-9f80-8a25c04abfff" providerId="ADAL" clId="{EE97D3FE-9ACA-4467-98E5-532EC45D9D1C}" dt="2024-03-01T10:34:08.441" v="10312" actId="207"/>
          <ac:spMkLst>
            <pc:docMk/>
            <pc:sldMk cId="507333055" sldId="905"/>
            <ac:spMk id="28" creationId="{29F2449E-4ED8-5ADE-AE30-9E9AB83EF649}"/>
          </ac:spMkLst>
        </pc:spChg>
        <pc:spChg chg="add mod ord">
          <ac:chgData name="Nataliia Chornii (UA)" userId="4e4b8b3d-5f31-49bb-9f80-8a25c04abfff" providerId="ADAL" clId="{EE97D3FE-9ACA-4467-98E5-532EC45D9D1C}" dt="2024-03-01T10:33:50.996" v="10293"/>
          <ac:spMkLst>
            <pc:docMk/>
            <pc:sldMk cId="507333055" sldId="905"/>
            <ac:spMk id="29" creationId="{00134262-F6E7-5D0D-46C6-48E2647244CF}"/>
          </ac:spMkLst>
        </pc:spChg>
        <pc:spChg chg="add mod ord">
          <ac:chgData name="Nataliia Chornii (UA)" userId="4e4b8b3d-5f31-49bb-9f80-8a25c04abfff" providerId="ADAL" clId="{EE97D3FE-9ACA-4467-98E5-532EC45D9D1C}" dt="2024-03-01T10:34:08.441" v="10312" actId="207"/>
          <ac:spMkLst>
            <pc:docMk/>
            <pc:sldMk cId="507333055" sldId="905"/>
            <ac:spMk id="30" creationId="{9EFCB31E-34D9-1914-7367-57FB33E6D927}"/>
          </ac:spMkLst>
        </pc:spChg>
        <pc:spChg chg="add mod ord">
          <ac:chgData name="Nataliia Chornii (UA)" userId="4e4b8b3d-5f31-49bb-9f80-8a25c04abfff" providerId="ADAL" clId="{EE97D3FE-9ACA-4467-98E5-532EC45D9D1C}" dt="2024-03-01T10:33:50.996" v="10297"/>
          <ac:spMkLst>
            <pc:docMk/>
            <pc:sldMk cId="507333055" sldId="905"/>
            <ac:spMk id="31" creationId="{B24CF0FE-B844-4682-3534-6E167E9F0FFA}"/>
          </ac:spMkLst>
        </pc:spChg>
        <pc:spChg chg="add mod ord">
          <ac:chgData name="Nataliia Chornii (UA)" userId="4e4b8b3d-5f31-49bb-9f80-8a25c04abfff" providerId="ADAL" clId="{EE97D3FE-9ACA-4467-98E5-532EC45D9D1C}" dt="2024-03-01T10:33:50.996" v="10299"/>
          <ac:spMkLst>
            <pc:docMk/>
            <pc:sldMk cId="507333055" sldId="905"/>
            <ac:spMk id="32" creationId="{34992742-13EE-A536-FAEC-18532BDD82A6}"/>
          </ac:spMkLst>
        </pc:spChg>
        <pc:spChg chg="add mod ord">
          <ac:chgData name="Nataliia Chornii (UA)" userId="4e4b8b3d-5f31-49bb-9f80-8a25c04abfff" providerId="ADAL" clId="{EE97D3FE-9ACA-4467-98E5-532EC45D9D1C}" dt="2024-03-01T10:33:50.996" v="10301"/>
          <ac:spMkLst>
            <pc:docMk/>
            <pc:sldMk cId="507333055" sldId="905"/>
            <ac:spMk id="33" creationId="{6614B880-DCB4-A5EA-0F50-19A1C810C41E}"/>
          </ac:spMkLst>
        </pc:spChg>
        <pc:spChg chg="add mod ord">
          <ac:chgData name="Nataliia Chornii (UA)" userId="4e4b8b3d-5f31-49bb-9f80-8a25c04abfff" providerId="ADAL" clId="{EE97D3FE-9ACA-4467-98E5-532EC45D9D1C}" dt="2024-03-01T10:33:51.012" v="10303"/>
          <ac:spMkLst>
            <pc:docMk/>
            <pc:sldMk cId="507333055" sldId="905"/>
            <ac:spMk id="34" creationId="{92BD7321-AEC3-477C-EB5F-005F7DC540AF}"/>
          </ac:spMkLst>
        </pc:spChg>
        <pc:spChg chg="mod">
          <ac:chgData name="Nataliia Chornii (UA)" userId="4e4b8b3d-5f31-49bb-9f80-8a25c04abfff" providerId="ADAL" clId="{EE97D3FE-9ACA-4467-98E5-532EC45D9D1C}" dt="2024-03-01T10:01:24.265" v="9430"/>
          <ac:spMkLst>
            <pc:docMk/>
            <pc:sldMk cId="507333055" sldId="905"/>
            <ac:spMk id="36" creationId="{D4463574-A7CA-E672-E37E-F4DFBBAC6051}"/>
          </ac:spMkLst>
        </pc:spChg>
        <pc:spChg chg="mod">
          <ac:chgData name="Nataliia Chornii (UA)" userId="4e4b8b3d-5f31-49bb-9f80-8a25c04abfff" providerId="ADAL" clId="{EE97D3FE-9ACA-4467-98E5-532EC45D9D1C}" dt="2024-03-01T10:01:24.265" v="9430"/>
          <ac:spMkLst>
            <pc:docMk/>
            <pc:sldMk cId="507333055" sldId="905"/>
            <ac:spMk id="37" creationId="{5D2AB52E-0E30-35F4-CD95-2E8183690AFF}"/>
          </ac:spMkLst>
        </pc:spChg>
        <pc:spChg chg="mod">
          <ac:chgData name="Nataliia Chornii (UA)" userId="4e4b8b3d-5f31-49bb-9f80-8a25c04abfff" providerId="ADAL" clId="{EE97D3FE-9ACA-4467-98E5-532EC45D9D1C}" dt="2024-03-01T10:01:24.265" v="9430"/>
          <ac:spMkLst>
            <pc:docMk/>
            <pc:sldMk cId="507333055" sldId="905"/>
            <ac:spMk id="38" creationId="{6E026FEA-57F4-A3EC-B6A7-2BABBEE0F604}"/>
          </ac:spMkLst>
        </pc:spChg>
        <pc:spChg chg="add del mod">
          <ac:chgData name="Nataliia Chornii (UA)" userId="4e4b8b3d-5f31-49bb-9f80-8a25c04abfff" providerId="ADAL" clId="{EE97D3FE-9ACA-4467-98E5-532EC45D9D1C}" dt="2024-03-01T10:01:28.419" v="9431" actId="478"/>
          <ac:spMkLst>
            <pc:docMk/>
            <pc:sldMk cId="507333055" sldId="905"/>
            <ac:spMk id="39" creationId="{A7A4DF44-0D71-A678-4414-BEA92369A06F}"/>
          </ac:spMkLst>
        </pc:spChg>
        <pc:spChg chg="mod">
          <ac:chgData name="Nataliia Chornii (UA)" userId="4e4b8b3d-5f31-49bb-9f80-8a25c04abfff" providerId="ADAL" clId="{EE97D3FE-9ACA-4467-98E5-532EC45D9D1C}" dt="2024-03-01T10:01:24.265" v="9430"/>
          <ac:spMkLst>
            <pc:docMk/>
            <pc:sldMk cId="507333055" sldId="905"/>
            <ac:spMk id="41" creationId="{CDEB1028-AAF3-6EF6-5E84-3B1A7FFD23E0}"/>
          </ac:spMkLst>
        </pc:spChg>
        <pc:spChg chg="mod">
          <ac:chgData name="Nataliia Chornii (UA)" userId="4e4b8b3d-5f31-49bb-9f80-8a25c04abfff" providerId="ADAL" clId="{EE97D3FE-9ACA-4467-98E5-532EC45D9D1C}" dt="2024-03-01T10:01:24.265" v="9430"/>
          <ac:spMkLst>
            <pc:docMk/>
            <pc:sldMk cId="507333055" sldId="905"/>
            <ac:spMk id="42" creationId="{05DF2440-CC26-C228-73E4-1F40C1E120BE}"/>
          </ac:spMkLst>
        </pc:spChg>
        <pc:spChg chg="mod">
          <ac:chgData name="Nataliia Chornii (UA)" userId="4e4b8b3d-5f31-49bb-9f80-8a25c04abfff" providerId="ADAL" clId="{EE97D3FE-9ACA-4467-98E5-532EC45D9D1C}" dt="2024-03-01T10:01:24.265" v="9430"/>
          <ac:spMkLst>
            <pc:docMk/>
            <pc:sldMk cId="507333055" sldId="905"/>
            <ac:spMk id="43" creationId="{194BBA23-F0DC-42C9-270F-F9DBDE48DBF5}"/>
          </ac:spMkLst>
        </pc:spChg>
        <pc:spChg chg="mod">
          <ac:chgData name="Nataliia Chornii (UA)" userId="4e4b8b3d-5f31-49bb-9f80-8a25c04abfff" providerId="ADAL" clId="{EE97D3FE-9ACA-4467-98E5-532EC45D9D1C}" dt="2024-03-01T10:01:24.265" v="9430"/>
          <ac:spMkLst>
            <pc:docMk/>
            <pc:sldMk cId="507333055" sldId="905"/>
            <ac:spMk id="44" creationId="{A8A83BAF-46EA-9798-224E-038A0A53320A}"/>
          </ac:spMkLst>
        </pc:spChg>
        <pc:spChg chg="add del mod">
          <ac:chgData name="Nataliia Chornii (UA)" userId="4e4b8b3d-5f31-49bb-9f80-8a25c04abfff" providerId="ADAL" clId="{EE97D3FE-9ACA-4467-98E5-532EC45D9D1C}" dt="2024-03-01T10:03:20.834" v="9465" actId="478"/>
          <ac:spMkLst>
            <pc:docMk/>
            <pc:sldMk cId="507333055" sldId="905"/>
            <ac:spMk id="45" creationId="{3891F23C-4B8D-413D-231F-FB8DB24730F7}"/>
          </ac:spMkLst>
        </pc:spChg>
        <pc:spChg chg="add del mod ord">
          <ac:chgData name="Nataliia Chornii (UA)" userId="4e4b8b3d-5f31-49bb-9f80-8a25c04abfff" providerId="ADAL" clId="{EE97D3FE-9ACA-4467-98E5-532EC45D9D1C}" dt="2024-03-01T10:33:23.694" v="10231" actId="478"/>
          <ac:spMkLst>
            <pc:docMk/>
            <pc:sldMk cId="507333055" sldId="905"/>
            <ac:spMk id="46" creationId="{BEA827C9-3660-73E0-61ED-EACBEC6B3C4A}"/>
          </ac:spMkLst>
        </pc:spChg>
        <pc:spChg chg="add del mod ord">
          <ac:chgData name="Nataliia Chornii (UA)" userId="4e4b8b3d-5f31-49bb-9f80-8a25c04abfff" providerId="ADAL" clId="{EE97D3FE-9ACA-4467-98E5-532EC45D9D1C}" dt="2024-03-01T10:27:38.284" v="10155" actId="478"/>
          <ac:spMkLst>
            <pc:docMk/>
            <pc:sldMk cId="507333055" sldId="905"/>
            <ac:spMk id="47" creationId="{0528E376-71D1-DB19-6901-53D45C782110}"/>
          </ac:spMkLst>
        </pc:spChg>
        <pc:spChg chg="add del mod modVis">
          <ac:chgData name="Nataliia Chornii (UA)" userId="4e4b8b3d-5f31-49bb-9f80-8a25c04abfff" providerId="ADAL" clId="{EE97D3FE-9ACA-4467-98E5-532EC45D9D1C}" dt="2024-03-01T10:27:35.280" v="10152"/>
          <ac:spMkLst>
            <pc:docMk/>
            <pc:sldMk cId="507333055" sldId="905"/>
            <ac:spMk id="48" creationId="{EEF525B9-D895-7A11-CE9B-9FC18AD2D79B}"/>
          </ac:spMkLst>
        </pc:spChg>
        <pc:spChg chg="add mod ord">
          <ac:chgData name="Nataliia Chornii (UA)" userId="4e4b8b3d-5f31-49bb-9f80-8a25c04abfff" providerId="ADAL" clId="{EE97D3FE-9ACA-4467-98E5-532EC45D9D1C}" dt="2024-03-01T10:33:50.996" v="10279"/>
          <ac:spMkLst>
            <pc:docMk/>
            <pc:sldMk cId="507333055" sldId="905"/>
            <ac:spMk id="49" creationId="{2C40FD44-D961-01E3-E566-FEE845800AF9}"/>
          </ac:spMkLst>
        </pc:spChg>
        <pc:grpChg chg="add mod">
          <ac:chgData name="Nataliia Chornii (UA)" userId="4e4b8b3d-5f31-49bb-9f80-8a25c04abfff" providerId="ADAL" clId="{EE97D3FE-9ACA-4467-98E5-532EC45D9D1C}" dt="2024-03-11T14:22:44.866" v="24033"/>
          <ac:grpSpMkLst>
            <pc:docMk/>
            <pc:sldMk cId="507333055" sldId="905"/>
            <ac:grpSpMk id="5" creationId="{4622E805-89A5-4047-1C8F-D8F1098B5CCF}"/>
          </ac:grpSpMkLst>
        </pc:grpChg>
        <pc:grpChg chg="add mod ord">
          <ac:chgData name="Nataliia Chornii (UA)" userId="4e4b8b3d-5f31-49bb-9f80-8a25c04abfff" providerId="ADAL" clId="{EE97D3FE-9ACA-4467-98E5-532EC45D9D1C}" dt="2024-03-01T10:33:50.996" v="10285"/>
          <ac:grpSpMkLst>
            <pc:docMk/>
            <pc:sldMk cId="507333055" sldId="905"/>
            <ac:grpSpMk id="20" creationId="{32285829-6F0F-7CB7-1EB3-7D2BE58D87E4}"/>
          </ac:grpSpMkLst>
        </pc:grpChg>
        <pc:grpChg chg="add del mod">
          <ac:chgData name="Nataliia Chornii (UA)" userId="4e4b8b3d-5f31-49bb-9f80-8a25c04abfff" providerId="ADAL" clId="{EE97D3FE-9ACA-4467-98E5-532EC45D9D1C}" dt="2024-03-01T10:01:28.419" v="9431" actId="478"/>
          <ac:grpSpMkLst>
            <pc:docMk/>
            <pc:sldMk cId="507333055" sldId="905"/>
            <ac:grpSpMk id="35" creationId="{1C246A4B-4E5B-F9C8-CA76-90DC29C656E3}"/>
          </ac:grpSpMkLst>
        </pc:grpChg>
        <pc:grpChg chg="add del mod">
          <ac:chgData name="Nataliia Chornii (UA)" userId="4e4b8b3d-5f31-49bb-9f80-8a25c04abfff" providerId="ADAL" clId="{EE97D3FE-9ACA-4467-98E5-532EC45D9D1C}" dt="2024-03-01T10:01:28.419" v="9431" actId="478"/>
          <ac:grpSpMkLst>
            <pc:docMk/>
            <pc:sldMk cId="507333055" sldId="905"/>
            <ac:grpSpMk id="40" creationId="{81573D09-1AAA-3B62-81DD-235E44EF019C}"/>
          </ac:grpSpMkLst>
        </pc:grpChg>
        <pc:graphicFrameChg chg="add mod ord modVis replST">
          <ac:chgData name="Nataliia Chornii (UA)" userId="4e4b8b3d-5f31-49bb-9f80-8a25c04abfff" providerId="ADAL" clId="{EE97D3FE-9ACA-4467-98E5-532EC45D9D1C}" dt="2024-03-01T10:33:51.012" v="10307"/>
          <ac:graphicFrameMkLst>
            <pc:docMk/>
            <pc:sldMk cId="507333055" sldId="905"/>
            <ac:graphicFrameMk id="12" creationId="{DE7E1260-77C1-6B8B-40A7-CB041F0971E9}"/>
          </ac:graphicFrameMkLst>
        </pc:graphicFrameChg>
        <pc:picChg chg="add mod ord modCrop">
          <ac:chgData name="Nataliia Chornii (UA)" userId="4e4b8b3d-5f31-49bb-9f80-8a25c04abfff" providerId="ADAL" clId="{EE97D3FE-9ACA-4467-98E5-532EC45D9D1C}" dt="2024-03-01T10:33:50.996" v="10277"/>
          <ac:picMkLst>
            <pc:docMk/>
            <pc:sldMk cId="507333055" sldId="905"/>
            <ac:picMk id="51" creationId="{922F9593-A62D-AA28-4006-3500D3BEF8CC}"/>
          </ac:picMkLst>
        </pc:picChg>
      </pc:sldChg>
      <pc:sldChg chg="addSp delSp modSp mod modClrScheme chgLayout">
        <pc:chgData name="Nataliia Chornii (UA)" userId="4e4b8b3d-5f31-49bb-9f80-8a25c04abfff" providerId="ADAL" clId="{EE97D3FE-9ACA-4467-98E5-532EC45D9D1C}" dt="2024-03-11T14:28:18.244" v="24138" actId="164"/>
        <pc:sldMkLst>
          <pc:docMk/>
          <pc:sldMk cId="1164346809" sldId="906"/>
        </pc:sldMkLst>
        <pc:spChg chg="add del mod">
          <ac:chgData name="Nataliia Chornii (UA)" userId="4e4b8b3d-5f31-49bb-9f80-8a25c04abfff" providerId="ADAL" clId="{EE97D3FE-9ACA-4467-98E5-532EC45D9D1C}" dt="2024-03-11T14:20:29.664" v="23948"/>
          <ac:spMkLst>
            <pc:docMk/>
            <pc:sldMk cId="1164346809" sldId="906"/>
            <ac:spMk id="2" creationId="{46353EFC-64A5-28A6-66D4-86A725CC2FB4}"/>
          </ac:spMkLst>
        </pc:spChg>
        <pc:spChg chg="add del mod ord">
          <ac:chgData name="Nataliia Chornii (UA)" userId="4e4b8b3d-5f31-49bb-9f80-8a25c04abfff" providerId="ADAL" clId="{EE97D3FE-9ACA-4467-98E5-532EC45D9D1C}" dt="2024-03-01T09:12:06.558" v="8012" actId="478"/>
          <ac:spMkLst>
            <pc:docMk/>
            <pc:sldMk cId="1164346809" sldId="906"/>
            <ac:spMk id="2" creationId="{C4A22B0F-AF4B-A2E9-A8E1-27275AED3C0E}"/>
          </ac:spMkLst>
        </pc:spChg>
        <pc:spChg chg="mod ord">
          <ac:chgData name="Nataliia Chornii (UA)" userId="4e4b8b3d-5f31-49bb-9f80-8a25c04abfff" providerId="ADAL" clId="{EE97D3FE-9ACA-4467-98E5-532EC45D9D1C}" dt="2024-03-01T09:55:50.051" v="9390" actId="948"/>
          <ac:spMkLst>
            <pc:docMk/>
            <pc:sldMk cId="1164346809" sldId="906"/>
            <ac:spMk id="3" creationId="{686732B2-5FB3-221B-0CA8-0EE49D36265B}"/>
          </ac:spMkLst>
        </pc:spChg>
        <pc:spChg chg="mod ord">
          <ac:chgData name="Nataliia Chornii (UA)" userId="4e4b8b3d-5f31-49bb-9f80-8a25c04abfff" providerId="ADAL" clId="{EE97D3FE-9ACA-4467-98E5-532EC45D9D1C}" dt="2024-03-01T09:55:18.250" v="9375"/>
          <ac:spMkLst>
            <pc:docMk/>
            <pc:sldMk cId="1164346809" sldId="906"/>
            <ac:spMk id="4" creationId="{B15017A1-9F03-E2F0-38B2-768F2F133C21}"/>
          </ac:spMkLst>
        </pc:spChg>
        <pc:spChg chg="add del mod ord">
          <ac:chgData name="Nataliia Chornii (UA)" userId="4e4b8b3d-5f31-49bb-9f80-8a25c04abfff" providerId="ADAL" clId="{EE97D3FE-9ACA-4467-98E5-532EC45D9D1C}" dt="2024-03-01T09:12:06.722" v="8014" actId="478"/>
          <ac:spMkLst>
            <pc:docMk/>
            <pc:sldMk cId="1164346809" sldId="906"/>
            <ac:spMk id="5" creationId="{FEB32B5B-1AE8-578D-F759-C108F6FF20A5}"/>
          </ac:spMkLst>
        </pc:spChg>
        <pc:spChg chg="mod">
          <ac:chgData name="Nataliia Chornii (UA)" userId="4e4b8b3d-5f31-49bb-9f80-8a25c04abfff" providerId="ADAL" clId="{EE97D3FE-9ACA-4467-98E5-532EC45D9D1C}" dt="2024-03-11T14:20:27.269" v="23945" actId="207"/>
          <ac:spMkLst>
            <pc:docMk/>
            <pc:sldMk cId="1164346809" sldId="906"/>
            <ac:spMk id="6" creationId="{412BD736-DB83-EB4C-6597-8EA4071E1511}"/>
          </ac:spMkLst>
        </pc:spChg>
        <pc:spChg chg="add del mod ord">
          <ac:chgData name="Nataliia Chornii (UA)" userId="4e4b8b3d-5f31-49bb-9f80-8a25c04abfff" providerId="ADAL" clId="{EE97D3FE-9ACA-4467-98E5-532EC45D9D1C}" dt="2024-03-01T09:12:06.722" v="8014" actId="478"/>
          <ac:spMkLst>
            <pc:docMk/>
            <pc:sldMk cId="1164346809" sldId="906"/>
            <ac:spMk id="6" creationId="{BC6E2F76-9C0B-215C-3AA7-24AE5509480F}"/>
          </ac:spMkLst>
        </pc:spChg>
        <pc:spChg chg="mod">
          <ac:chgData name="Nataliia Chornii (UA)" userId="4e4b8b3d-5f31-49bb-9f80-8a25c04abfff" providerId="ADAL" clId="{EE97D3FE-9ACA-4467-98E5-532EC45D9D1C}" dt="2024-03-11T14:20:27.269" v="23945" actId="207"/>
          <ac:spMkLst>
            <pc:docMk/>
            <pc:sldMk cId="1164346809" sldId="906"/>
            <ac:spMk id="7" creationId="{93BCD5A9-6158-6283-FAA4-68F6CB12FA39}"/>
          </ac:spMkLst>
        </pc:spChg>
        <pc:spChg chg="add del mod modVis">
          <ac:chgData name="Nataliia Chornii (UA)" userId="4e4b8b3d-5f31-49bb-9f80-8a25c04abfff" providerId="ADAL" clId="{EE97D3FE-9ACA-4467-98E5-532EC45D9D1C}" dt="2024-03-01T08:48:58.968" v="1106"/>
          <ac:spMkLst>
            <pc:docMk/>
            <pc:sldMk cId="1164346809" sldId="906"/>
            <ac:spMk id="7" creationId="{E58BC416-BBF0-07E2-6F54-4568F2D0CEAA}"/>
          </ac:spMkLst>
        </pc:spChg>
        <pc:spChg chg="mod">
          <ac:chgData name="Nataliia Chornii (UA)" userId="4e4b8b3d-5f31-49bb-9f80-8a25c04abfff" providerId="ADAL" clId="{EE97D3FE-9ACA-4467-98E5-532EC45D9D1C}" dt="2024-03-11T14:20:28.610" v="23946" actId="207"/>
          <ac:spMkLst>
            <pc:docMk/>
            <pc:sldMk cId="1164346809" sldId="906"/>
            <ac:spMk id="9" creationId="{6EB188F6-DEFC-2DA1-31D0-B58ED462D8BD}"/>
          </ac:spMkLst>
        </pc:spChg>
        <pc:spChg chg="add del mod modVis">
          <ac:chgData name="Nataliia Chornii (UA)" userId="4e4b8b3d-5f31-49bb-9f80-8a25c04abfff" providerId="ADAL" clId="{EE97D3FE-9ACA-4467-98E5-532EC45D9D1C}" dt="2024-03-01T08:49:33.666" v="2758"/>
          <ac:spMkLst>
            <pc:docMk/>
            <pc:sldMk cId="1164346809" sldId="906"/>
            <ac:spMk id="9" creationId="{A07E66C3-E328-FA2D-9785-DEF7871D3BEA}"/>
          </ac:spMkLst>
        </pc:spChg>
        <pc:spChg chg="add del mod modVis">
          <ac:chgData name="Nataliia Chornii (UA)" userId="4e4b8b3d-5f31-49bb-9f80-8a25c04abfff" providerId="ADAL" clId="{EE97D3FE-9ACA-4467-98E5-532EC45D9D1C}" dt="2024-03-01T08:49:59.741" v="3746"/>
          <ac:spMkLst>
            <pc:docMk/>
            <pc:sldMk cId="1164346809" sldId="906"/>
            <ac:spMk id="10" creationId="{100A081B-048F-5D24-321B-FD78C5CA2153}"/>
          </ac:spMkLst>
        </pc:spChg>
        <pc:spChg chg="mod">
          <ac:chgData name="Nataliia Chornii (UA)" userId="4e4b8b3d-5f31-49bb-9f80-8a25c04abfff" providerId="ADAL" clId="{EE97D3FE-9ACA-4467-98E5-532EC45D9D1C}" dt="2024-03-11T14:20:28.610" v="23946" actId="207"/>
          <ac:spMkLst>
            <pc:docMk/>
            <pc:sldMk cId="1164346809" sldId="906"/>
            <ac:spMk id="10" creationId="{98C03DF0-D276-D243-73BC-498D3D623D87}"/>
          </ac:spMkLst>
        </pc:spChg>
        <pc:spChg chg="mod">
          <ac:chgData name="Nataliia Chornii (UA)" userId="4e4b8b3d-5f31-49bb-9f80-8a25c04abfff" providerId="ADAL" clId="{EE97D3FE-9ACA-4467-98E5-532EC45D9D1C}" dt="2024-03-11T14:20:29.066" v="23947" actId="1076"/>
          <ac:spMkLst>
            <pc:docMk/>
            <pc:sldMk cId="1164346809" sldId="906"/>
            <ac:spMk id="11" creationId="{53753A90-2C5C-8C38-C768-ADFA094EB48A}"/>
          </ac:spMkLst>
        </pc:spChg>
        <pc:spChg chg="add del mod modVis">
          <ac:chgData name="Nataliia Chornii (UA)" userId="4e4b8b3d-5f31-49bb-9f80-8a25c04abfff" providerId="ADAL" clId="{EE97D3FE-9ACA-4467-98E5-532EC45D9D1C}" dt="2024-03-01T08:51:26.043" v="4734"/>
          <ac:spMkLst>
            <pc:docMk/>
            <pc:sldMk cId="1164346809" sldId="906"/>
            <ac:spMk id="11" creationId="{75D2D98B-7E7A-ADF3-6334-8E4C8E387A7C}"/>
          </ac:spMkLst>
        </pc:spChg>
        <pc:spChg chg="add del mod modVis">
          <ac:chgData name="Nataliia Chornii (UA)" userId="4e4b8b3d-5f31-49bb-9f80-8a25c04abfff" providerId="ADAL" clId="{EE97D3FE-9ACA-4467-98E5-532EC45D9D1C}" dt="2024-03-01T08:51:56.047" v="5723"/>
          <ac:spMkLst>
            <pc:docMk/>
            <pc:sldMk cId="1164346809" sldId="906"/>
            <ac:spMk id="12" creationId="{2A317314-BDA6-5149-113D-6D8042B13ABC}"/>
          </ac:spMkLst>
        </pc:spChg>
        <pc:spChg chg="mod">
          <ac:chgData name="Nataliia Chornii (UA)" userId="4e4b8b3d-5f31-49bb-9f80-8a25c04abfff" providerId="ADAL" clId="{EE97D3FE-9ACA-4467-98E5-532EC45D9D1C}" dt="2024-03-11T14:20:29.066" v="23947" actId="1076"/>
          <ac:spMkLst>
            <pc:docMk/>
            <pc:sldMk cId="1164346809" sldId="906"/>
            <ac:spMk id="12" creationId="{BC76064A-FBA7-CA6D-E1E2-791F9EBADEEC}"/>
          </ac:spMkLst>
        </pc:spChg>
        <pc:spChg chg="add mod">
          <ac:chgData name="Nataliia Chornii (UA)" userId="4e4b8b3d-5f31-49bb-9f80-8a25c04abfff" providerId="ADAL" clId="{EE97D3FE-9ACA-4467-98E5-532EC45D9D1C}" dt="2024-03-11T14:21:05.224" v="23962"/>
          <ac:spMkLst>
            <pc:docMk/>
            <pc:sldMk cId="1164346809" sldId="906"/>
            <ac:spMk id="13" creationId="{513046AF-A675-0D25-6984-95A79FB25C75}"/>
          </ac:spMkLst>
        </pc:spChg>
        <pc:spChg chg="add del mod modVis">
          <ac:chgData name="Nataliia Chornii (UA)" userId="4e4b8b3d-5f31-49bb-9f80-8a25c04abfff" providerId="ADAL" clId="{EE97D3FE-9ACA-4467-98E5-532EC45D9D1C}" dt="2024-03-01T08:52:18.218" v="6711"/>
          <ac:spMkLst>
            <pc:docMk/>
            <pc:sldMk cId="1164346809" sldId="906"/>
            <ac:spMk id="13" creationId="{C86E51EE-F40A-D829-DEFC-9E0413B65E9D}"/>
          </ac:spMkLst>
        </pc:spChg>
        <pc:spChg chg="add del mod modVis">
          <ac:chgData name="Nataliia Chornii (UA)" userId="4e4b8b3d-5f31-49bb-9f80-8a25c04abfff" providerId="ADAL" clId="{EE97D3FE-9ACA-4467-98E5-532EC45D9D1C}" dt="2024-03-01T08:55:59.121" v="7119"/>
          <ac:spMkLst>
            <pc:docMk/>
            <pc:sldMk cId="1164346809" sldId="906"/>
            <ac:spMk id="14" creationId="{D04F3368-09CD-78BE-540A-8A37199F3B71}"/>
          </ac:spMkLst>
        </pc:spChg>
        <pc:spChg chg="mod topLvl">
          <ac:chgData name="Nataliia Chornii (UA)" userId="4e4b8b3d-5f31-49bb-9f80-8a25c04abfff" providerId="ADAL" clId="{EE97D3FE-9ACA-4467-98E5-532EC45D9D1C}" dt="2024-03-11T14:28:18.244" v="24138" actId="164"/>
          <ac:spMkLst>
            <pc:docMk/>
            <pc:sldMk cId="1164346809" sldId="906"/>
            <ac:spMk id="15" creationId="{511C2AD7-EB2A-922A-397F-0CF833477B7B}"/>
          </ac:spMkLst>
        </pc:spChg>
        <pc:spChg chg="add del mod">
          <ac:chgData name="Nataliia Chornii (UA)" userId="4e4b8b3d-5f31-49bb-9f80-8a25c04abfff" providerId="ADAL" clId="{EE97D3FE-9ACA-4467-98E5-532EC45D9D1C}" dt="2024-03-01T08:55:59.771" v="7126" actId="6264"/>
          <ac:spMkLst>
            <pc:docMk/>
            <pc:sldMk cId="1164346809" sldId="906"/>
            <ac:spMk id="15" creationId="{E0A13420-16D3-C073-78E5-53A5BBC16DB6}"/>
          </ac:spMkLst>
        </pc:spChg>
        <pc:spChg chg="mod topLvl">
          <ac:chgData name="Nataliia Chornii (UA)" userId="4e4b8b3d-5f31-49bb-9f80-8a25c04abfff" providerId="ADAL" clId="{EE97D3FE-9ACA-4467-98E5-532EC45D9D1C}" dt="2024-03-11T14:28:18.244" v="24138" actId="164"/>
          <ac:spMkLst>
            <pc:docMk/>
            <pc:sldMk cId="1164346809" sldId="906"/>
            <ac:spMk id="16" creationId="{5C955B82-DE89-FD55-C912-1FEEAA8DC3EF}"/>
          </ac:spMkLst>
        </pc:spChg>
        <pc:spChg chg="add del mod">
          <ac:chgData name="Nataliia Chornii (UA)" userId="4e4b8b3d-5f31-49bb-9f80-8a25c04abfff" providerId="ADAL" clId="{EE97D3FE-9ACA-4467-98E5-532EC45D9D1C}" dt="2024-03-01T08:55:59.771" v="7126" actId="6264"/>
          <ac:spMkLst>
            <pc:docMk/>
            <pc:sldMk cId="1164346809" sldId="906"/>
            <ac:spMk id="16" creationId="{7311ADC4-3C9D-7E23-7BFF-94BA6EBA1549}"/>
          </ac:spMkLst>
        </pc:spChg>
        <pc:spChg chg="add del mod">
          <ac:chgData name="Nataliia Chornii (UA)" userId="4e4b8b3d-5f31-49bb-9f80-8a25c04abfff" providerId="ADAL" clId="{EE97D3FE-9ACA-4467-98E5-532EC45D9D1C}" dt="2024-03-01T08:55:59.771" v="7126" actId="6264"/>
          <ac:spMkLst>
            <pc:docMk/>
            <pc:sldMk cId="1164346809" sldId="906"/>
            <ac:spMk id="17" creationId="{37A0D3DE-9098-C32F-C43E-293FDF660D5A}"/>
          </ac:spMkLst>
        </pc:spChg>
        <pc:spChg chg="mod topLvl">
          <ac:chgData name="Nataliia Chornii (UA)" userId="4e4b8b3d-5f31-49bb-9f80-8a25c04abfff" providerId="ADAL" clId="{EE97D3FE-9ACA-4467-98E5-532EC45D9D1C}" dt="2024-03-11T14:28:18.244" v="24138" actId="164"/>
          <ac:spMkLst>
            <pc:docMk/>
            <pc:sldMk cId="1164346809" sldId="906"/>
            <ac:spMk id="17" creationId="{D4E596F0-5E4A-EB69-91B9-76E94DC8627B}"/>
          </ac:spMkLst>
        </pc:spChg>
        <pc:spChg chg="add del mod">
          <ac:chgData name="Nataliia Chornii (UA)" userId="4e4b8b3d-5f31-49bb-9f80-8a25c04abfff" providerId="ADAL" clId="{EE97D3FE-9ACA-4467-98E5-532EC45D9D1C}" dt="2024-03-01T08:55:59.771" v="7126" actId="6264"/>
          <ac:spMkLst>
            <pc:docMk/>
            <pc:sldMk cId="1164346809" sldId="906"/>
            <ac:spMk id="18" creationId="{214287A9-F25E-CE0C-97B8-A98243831192}"/>
          </ac:spMkLst>
        </pc:spChg>
        <pc:spChg chg="mod topLvl">
          <ac:chgData name="Nataliia Chornii (UA)" userId="4e4b8b3d-5f31-49bb-9f80-8a25c04abfff" providerId="ADAL" clId="{EE97D3FE-9ACA-4467-98E5-532EC45D9D1C}" dt="2024-03-11T14:28:18.244" v="24138" actId="164"/>
          <ac:spMkLst>
            <pc:docMk/>
            <pc:sldMk cId="1164346809" sldId="906"/>
            <ac:spMk id="18" creationId="{F37CE017-2ADE-3C4B-87CE-08285FAE38C1}"/>
          </ac:spMkLst>
        </pc:spChg>
        <pc:spChg chg="mod topLvl">
          <ac:chgData name="Nataliia Chornii (UA)" userId="4e4b8b3d-5f31-49bb-9f80-8a25c04abfff" providerId="ADAL" clId="{EE97D3FE-9ACA-4467-98E5-532EC45D9D1C}" dt="2024-03-11T14:28:18.244" v="24138" actId="164"/>
          <ac:spMkLst>
            <pc:docMk/>
            <pc:sldMk cId="1164346809" sldId="906"/>
            <ac:spMk id="19" creationId="{339A9414-95B2-E54D-8973-154A18E76B84}"/>
          </ac:spMkLst>
        </pc:spChg>
        <pc:spChg chg="add del mod modVis">
          <ac:chgData name="Nataliia Chornii (UA)" userId="4e4b8b3d-5f31-49bb-9f80-8a25c04abfff" providerId="ADAL" clId="{EE97D3FE-9ACA-4467-98E5-532EC45D9D1C}" dt="2024-03-01T08:56:00.334" v="7150"/>
          <ac:spMkLst>
            <pc:docMk/>
            <pc:sldMk cId="1164346809" sldId="906"/>
            <ac:spMk id="19" creationId="{D3D9665C-D2D2-6069-37B2-AFA5CA9C01C7}"/>
          </ac:spMkLst>
        </pc:spChg>
        <pc:spChg chg="mod topLvl">
          <ac:chgData name="Nataliia Chornii (UA)" userId="4e4b8b3d-5f31-49bb-9f80-8a25c04abfff" providerId="ADAL" clId="{EE97D3FE-9ACA-4467-98E5-532EC45D9D1C}" dt="2024-03-11T14:28:18.244" v="24138" actId="164"/>
          <ac:spMkLst>
            <pc:docMk/>
            <pc:sldMk cId="1164346809" sldId="906"/>
            <ac:spMk id="20" creationId="{30B1C8C2-B09A-20BC-2B4C-3100FF4503CB}"/>
          </ac:spMkLst>
        </pc:spChg>
        <pc:spChg chg="add del mod ord">
          <ac:chgData name="Nataliia Chornii (UA)" userId="4e4b8b3d-5f31-49bb-9f80-8a25c04abfff" providerId="ADAL" clId="{EE97D3FE-9ACA-4467-98E5-532EC45D9D1C}" dt="2024-03-01T09:54:26.110" v="9330" actId="478"/>
          <ac:spMkLst>
            <pc:docMk/>
            <pc:sldMk cId="1164346809" sldId="906"/>
            <ac:spMk id="21" creationId="{475A2859-964D-BBC3-7345-183A5F85CA64}"/>
          </ac:spMkLst>
        </pc:spChg>
        <pc:spChg chg="add del mod modVis">
          <ac:chgData name="Nataliia Chornii (UA)" userId="4e4b8b3d-5f31-49bb-9f80-8a25c04abfff" providerId="ADAL" clId="{EE97D3FE-9ACA-4467-98E5-532EC45D9D1C}" dt="2024-03-01T09:54:04.366" v="9306"/>
          <ac:spMkLst>
            <pc:docMk/>
            <pc:sldMk cId="1164346809" sldId="906"/>
            <ac:spMk id="22" creationId="{093E38CF-E111-359F-F4BF-B98789099C8F}"/>
          </ac:spMkLst>
        </pc:spChg>
        <pc:spChg chg="add mod ord">
          <ac:chgData name="Nataliia Chornii (UA)" userId="4e4b8b3d-5f31-49bb-9f80-8a25c04abfff" providerId="ADAL" clId="{EE97D3FE-9ACA-4467-98E5-532EC45D9D1C}" dt="2024-03-01T09:57:59.646" v="9416" actId="948"/>
          <ac:spMkLst>
            <pc:docMk/>
            <pc:sldMk cId="1164346809" sldId="906"/>
            <ac:spMk id="25" creationId="{D0C17218-A0C6-A96B-4B0D-6C054C03A15C}"/>
          </ac:spMkLst>
        </pc:spChg>
        <pc:spChg chg="add mod ord">
          <ac:chgData name="Nataliia Chornii (UA)" userId="4e4b8b3d-5f31-49bb-9f80-8a25c04abfff" providerId="ADAL" clId="{EE97D3FE-9ACA-4467-98E5-532EC45D9D1C}" dt="2024-03-01T09:55:18.250" v="9369"/>
          <ac:spMkLst>
            <pc:docMk/>
            <pc:sldMk cId="1164346809" sldId="906"/>
            <ac:spMk id="26" creationId="{AB31CD91-794A-01A5-C25E-D48CF95CB5F1}"/>
          </ac:spMkLst>
        </pc:spChg>
        <pc:spChg chg="add mod">
          <ac:chgData name="Nataliia Chornii (UA)" userId="4e4b8b3d-5f31-49bb-9f80-8a25c04abfff" providerId="ADAL" clId="{EE97D3FE-9ACA-4467-98E5-532EC45D9D1C}" dt="2024-03-01T09:55:51.189" v="9399" actId="553"/>
          <ac:spMkLst>
            <pc:docMk/>
            <pc:sldMk cId="1164346809" sldId="906"/>
            <ac:spMk id="27" creationId="{D0A851C8-020D-2D8A-DE4B-611B133B1FEC}"/>
          </ac:spMkLst>
        </pc:spChg>
        <pc:spChg chg="add mod">
          <ac:chgData name="Nataliia Chornii (UA)" userId="4e4b8b3d-5f31-49bb-9f80-8a25c04abfff" providerId="ADAL" clId="{EE97D3FE-9ACA-4467-98E5-532EC45D9D1C}" dt="2024-03-01T09:55:56.635" v="9405" actId="1036"/>
          <ac:spMkLst>
            <pc:docMk/>
            <pc:sldMk cId="1164346809" sldId="906"/>
            <ac:spMk id="28" creationId="{33250D77-7690-93BB-B8A0-4CEE43B678D8}"/>
          </ac:spMkLst>
        </pc:spChg>
        <pc:grpChg chg="add del mod">
          <ac:chgData name="Nataliia Chornii (UA)" userId="4e4b8b3d-5f31-49bb-9f80-8a25c04abfff" providerId="ADAL" clId="{EE97D3FE-9ACA-4467-98E5-532EC45D9D1C}" dt="2024-03-11T14:20:29.664" v="23948"/>
          <ac:grpSpMkLst>
            <pc:docMk/>
            <pc:sldMk cId="1164346809" sldId="906"/>
            <ac:grpSpMk id="5" creationId="{E05911FF-59DC-8DA8-E8E4-469A7BE1CE3E}"/>
          </ac:grpSpMkLst>
        </pc:grpChg>
        <pc:grpChg chg="add del mod">
          <ac:chgData name="Nataliia Chornii (UA)" userId="4e4b8b3d-5f31-49bb-9f80-8a25c04abfff" providerId="ADAL" clId="{EE97D3FE-9ACA-4467-98E5-532EC45D9D1C}" dt="2024-03-11T14:21:09.829" v="23963" actId="165"/>
          <ac:grpSpMkLst>
            <pc:docMk/>
            <pc:sldMk cId="1164346809" sldId="906"/>
            <ac:grpSpMk id="14" creationId="{7A11E0FD-9293-8273-6308-A8472E798A24}"/>
          </ac:grpSpMkLst>
        </pc:grpChg>
        <pc:grpChg chg="add del mod">
          <ac:chgData name="Nataliia Chornii (UA)" userId="4e4b8b3d-5f31-49bb-9f80-8a25c04abfff" providerId="ADAL" clId="{EE97D3FE-9ACA-4467-98E5-532EC45D9D1C}" dt="2024-03-11T14:28:07.338" v="24135" actId="165"/>
          <ac:grpSpMkLst>
            <pc:docMk/>
            <pc:sldMk cId="1164346809" sldId="906"/>
            <ac:grpSpMk id="21" creationId="{532AA836-86C3-3D74-03CD-F146B885D9A9}"/>
          </ac:grpSpMkLst>
        </pc:grpChg>
        <pc:grpChg chg="add mod">
          <ac:chgData name="Nataliia Chornii (UA)" userId="4e4b8b3d-5f31-49bb-9f80-8a25c04abfff" providerId="ADAL" clId="{EE97D3FE-9ACA-4467-98E5-532EC45D9D1C}" dt="2024-03-11T14:28:18.244" v="24138" actId="164"/>
          <ac:grpSpMkLst>
            <pc:docMk/>
            <pc:sldMk cId="1164346809" sldId="906"/>
            <ac:grpSpMk id="22" creationId="{DF781B44-6703-AECB-AB7D-1E00FC248F25}"/>
          </ac:grpSpMkLst>
        </pc:grpChg>
        <pc:graphicFrameChg chg="add mod ord modVis replST">
          <ac:chgData name="Nataliia Chornii (UA)" userId="4e4b8b3d-5f31-49bb-9f80-8a25c04abfff" providerId="ADAL" clId="{EE97D3FE-9ACA-4467-98E5-532EC45D9D1C}" dt="2024-03-01T09:55:50.051" v="9398"/>
          <ac:graphicFrameMkLst>
            <pc:docMk/>
            <pc:sldMk cId="1164346809" sldId="906"/>
            <ac:graphicFrameMk id="8" creationId="{A92857C6-2061-3379-B3C3-55A440E4568C}"/>
          </ac:graphicFrameMkLst>
        </pc:graphicFrameChg>
        <pc:picChg chg="add mod ord modCrop">
          <ac:chgData name="Nataliia Chornii (UA)" userId="4e4b8b3d-5f31-49bb-9f80-8a25c04abfff" providerId="ADAL" clId="{EE97D3FE-9ACA-4467-98E5-532EC45D9D1C}" dt="2024-03-01T09:55:18.244" v="9367"/>
          <ac:picMkLst>
            <pc:docMk/>
            <pc:sldMk cId="1164346809" sldId="906"/>
            <ac:picMk id="24" creationId="{F8F64E5E-A437-00D3-A26C-9572A5268065}"/>
          </ac:picMkLst>
        </pc:picChg>
      </pc:sldChg>
      <pc:sldChg chg="addSp delSp modSp del mod">
        <pc:chgData name="Nataliia Chornii (UA)" userId="4e4b8b3d-5f31-49bb-9f80-8a25c04abfff" providerId="ADAL" clId="{EE97D3FE-9ACA-4467-98E5-532EC45D9D1C}" dt="2024-03-01T09:12:52.634" v="8066" actId="47"/>
        <pc:sldMkLst>
          <pc:docMk/>
          <pc:sldMk cId="1763387258" sldId="907"/>
        </pc:sldMkLst>
        <pc:spChg chg="mod">
          <ac:chgData name="Nataliia Chornii (UA)" userId="4e4b8b3d-5f31-49bb-9f80-8a25c04abfff" providerId="ADAL" clId="{EE97D3FE-9ACA-4467-98E5-532EC45D9D1C}" dt="2024-03-01T08:52:17.587" v="6247" actId="948"/>
          <ac:spMkLst>
            <pc:docMk/>
            <pc:sldMk cId="1763387258" sldId="907"/>
            <ac:spMk id="2" creationId="{A60D9000-B106-EBC6-D720-BB2BD8542F11}"/>
          </ac:spMkLst>
        </pc:spChg>
        <pc:spChg chg="add del mod modVis">
          <ac:chgData name="Nataliia Chornii (UA)" userId="4e4b8b3d-5f31-49bb-9f80-8a25c04abfff" providerId="ADAL" clId="{EE97D3FE-9ACA-4467-98E5-532EC45D9D1C}" dt="2024-03-01T08:48:59.566" v="1410"/>
          <ac:spMkLst>
            <pc:docMk/>
            <pc:sldMk cId="1763387258" sldId="907"/>
            <ac:spMk id="4" creationId="{3DFB8162-AEB4-A78A-77E6-88F01946C195}"/>
          </ac:spMkLst>
        </pc:spChg>
        <pc:spChg chg="add del mod modVis">
          <ac:chgData name="Nataliia Chornii (UA)" userId="4e4b8b3d-5f31-49bb-9f80-8a25c04abfff" providerId="ADAL" clId="{EE97D3FE-9ACA-4467-98E5-532EC45D9D1C}" dt="2024-03-01T08:49:33.770" v="2828"/>
          <ac:spMkLst>
            <pc:docMk/>
            <pc:sldMk cId="1763387258" sldId="907"/>
            <ac:spMk id="6" creationId="{9580857B-14AA-DE03-3185-4D8F1740186C}"/>
          </ac:spMkLst>
        </pc:spChg>
        <pc:spChg chg="add del mod modVis">
          <ac:chgData name="Nataliia Chornii (UA)" userId="4e4b8b3d-5f31-49bb-9f80-8a25c04abfff" providerId="ADAL" clId="{EE97D3FE-9ACA-4467-98E5-532EC45D9D1C}" dt="2024-03-01T08:49:59.804" v="3816"/>
          <ac:spMkLst>
            <pc:docMk/>
            <pc:sldMk cId="1763387258" sldId="907"/>
            <ac:spMk id="7" creationId="{DA51122C-5D74-885D-4842-F1891ECEC57B}"/>
          </ac:spMkLst>
        </pc:spChg>
        <pc:spChg chg="add del mod modVis">
          <ac:chgData name="Nataliia Chornii (UA)" userId="4e4b8b3d-5f31-49bb-9f80-8a25c04abfff" providerId="ADAL" clId="{EE97D3FE-9ACA-4467-98E5-532EC45D9D1C}" dt="2024-03-01T08:51:26.124" v="4804"/>
          <ac:spMkLst>
            <pc:docMk/>
            <pc:sldMk cId="1763387258" sldId="907"/>
            <ac:spMk id="8" creationId="{A12A5D64-88E3-5BC7-3102-02656701B3ED}"/>
          </ac:spMkLst>
        </pc:spChg>
        <pc:spChg chg="add del mod modVis">
          <ac:chgData name="Nataliia Chornii (UA)" userId="4e4b8b3d-5f31-49bb-9f80-8a25c04abfff" providerId="ADAL" clId="{EE97D3FE-9ACA-4467-98E5-532EC45D9D1C}" dt="2024-03-01T08:51:56.110" v="5793"/>
          <ac:spMkLst>
            <pc:docMk/>
            <pc:sldMk cId="1763387258" sldId="907"/>
            <ac:spMk id="9" creationId="{CA17963F-F963-9DD5-28C2-E27DEBC9CA7C}"/>
          </ac:spMkLst>
        </pc:spChg>
        <pc:spChg chg="add del mod modVis">
          <ac:chgData name="Nataliia Chornii (UA)" userId="4e4b8b3d-5f31-49bb-9f80-8a25c04abfff" providerId="ADAL" clId="{EE97D3FE-9ACA-4467-98E5-532EC45D9D1C}" dt="2024-03-01T08:52:18.284" v="6781"/>
          <ac:spMkLst>
            <pc:docMk/>
            <pc:sldMk cId="1763387258" sldId="907"/>
            <ac:spMk id="10" creationId="{F6EB9B75-8C74-8816-95D3-4A3E9F764882}"/>
          </ac:spMkLst>
        </pc:spChg>
        <pc:graphicFrameChg chg="add mod ord modVis replST">
          <ac:chgData name="Nataliia Chornii (UA)" userId="4e4b8b3d-5f31-49bb-9f80-8a25c04abfff" providerId="ADAL" clId="{EE97D3FE-9ACA-4467-98E5-532EC45D9D1C}" dt="2024-03-01T08:52:18.284" v="6783"/>
          <ac:graphicFrameMkLst>
            <pc:docMk/>
            <pc:sldMk cId="1763387258" sldId="907"/>
            <ac:graphicFrameMk id="5" creationId="{862D6B3D-CCE5-2EBC-4A67-DB490ADD39AB}"/>
          </ac:graphicFrameMkLst>
        </pc:graphicFrameChg>
      </pc:sldChg>
      <pc:sldChg chg="addSp delSp modSp mod">
        <pc:chgData name="Nataliia Chornii (UA)" userId="4e4b8b3d-5f31-49bb-9f80-8a25c04abfff" providerId="ADAL" clId="{EE97D3FE-9ACA-4467-98E5-532EC45D9D1C}" dt="2024-03-11T14:24:36.656" v="24060" actId="164"/>
        <pc:sldMkLst>
          <pc:docMk/>
          <pc:sldMk cId="2300626159" sldId="908"/>
        </pc:sldMkLst>
        <pc:spChg chg="add del mod modVis">
          <ac:chgData name="Nataliia Chornii (UA)" userId="4e4b8b3d-5f31-49bb-9f80-8a25c04abfff" providerId="ADAL" clId="{EE97D3FE-9ACA-4467-98E5-532EC45D9D1C}" dt="2024-03-01T08:48:59.310" v="1276"/>
          <ac:spMkLst>
            <pc:docMk/>
            <pc:sldMk cId="2300626159" sldId="908"/>
            <ac:spMk id="2" creationId="{83B58534-9D66-8A00-56BA-0F2C3484A056}"/>
          </ac:spMkLst>
        </pc:spChg>
        <pc:spChg chg="mod">
          <ac:chgData name="Nataliia Chornii (UA)" userId="4e4b8b3d-5f31-49bb-9f80-8a25c04abfff" providerId="ADAL" clId="{EE97D3FE-9ACA-4467-98E5-532EC45D9D1C}" dt="2024-03-11T14:16:35.516" v="23738" actId="14100"/>
          <ac:spMkLst>
            <pc:docMk/>
            <pc:sldMk cId="2300626159" sldId="908"/>
            <ac:spMk id="2" creationId="{B3B9B40C-89D0-00A8-E1FD-6C775139BEFB}"/>
          </ac:spMkLst>
        </pc:spChg>
        <pc:spChg chg="mod ord">
          <ac:chgData name="Nataliia Chornii (UA)" userId="4e4b8b3d-5f31-49bb-9f80-8a25c04abfff" providerId="ADAL" clId="{EE97D3FE-9ACA-4467-98E5-532EC45D9D1C}" dt="2024-03-11T14:15:35.198" v="23665" actId="948"/>
          <ac:spMkLst>
            <pc:docMk/>
            <pc:sldMk cId="2300626159" sldId="908"/>
            <ac:spMk id="3" creationId="{18D846C5-0FE1-0722-5504-7D4D452EA64C}"/>
          </ac:spMkLst>
        </pc:spChg>
        <pc:spChg chg="mod ord">
          <ac:chgData name="Nataliia Chornii (UA)" userId="4e4b8b3d-5f31-49bb-9f80-8a25c04abfff" providerId="ADAL" clId="{EE97D3FE-9ACA-4467-98E5-532EC45D9D1C}" dt="2024-03-01T10:24:05.559" v="9879"/>
          <ac:spMkLst>
            <pc:docMk/>
            <pc:sldMk cId="2300626159" sldId="908"/>
            <ac:spMk id="4" creationId="{1D0816AF-800B-D4B3-9F92-EA9CA8F47531}"/>
          </ac:spMkLst>
        </pc:spChg>
        <pc:spChg chg="del">
          <ac:chgData name="Nataliia Chornii (UA)" userId="4e4b8b3d-5f31-49bb-9f80-8a25c04abfff" providerId="ADAL" clId="{EE97D3FE-9ACA-4467-98E5-532EC45D9D1C}" dt="2024-03-01T10:12:57.095" v="9482" actId="478"/>
          <ac:spMkLst>
            <pc:docMk/>
            <pc:sldMk cId="2300626159" sldId="908"/>
            <ac:spMk id="5" creationId="{2186E193-AF17-420F-E248-E3683251A6FA}"/>
          </ac:spMkLst>
        </pc:spChg>
        <pc:spChg chg="mod">
          <ac:chgData name="Nataliia Chornii (UA)" userId="4e4b8b3d-5f31-49bb-9f80-8a25c04abfff" providerId="ADAL" clId="{EE97D3FE-9ACA-4467-98E5-532EC45D9D1C}" dt="2024-03-11T14:16:23.453" v="23736" actId="1076"/>
          <ac:spMkLst>
            <pc:docMk/>
            <pc:sldMk cId="2300626159" sldId="908"/>
            <ac:spMk id="5" creationId="{9B9A4561-429C-6EAE-F170-E90F8BD220FB}"/>
          </ac:spMkLst>
        </pc:spChg>
        <pc:spChg chg="del">
          <ac:chgData name="Nataliia Chornii (UA)" userId="4e4b8b3d-5f31-49bb-9f80-8a25c04abfff" providerId="ADAL" clId="{EE97D3FE-9ACA-4467-98E5-532EC45D9D1C}" dt="2024-03-11T14:16:26.517" v="23737" actId="478"/>
          <ac:spMkLst>
            <pc:docMk/>
            <pc:sldMk cId="2300626159" sldId="908"/>
            <ac:spMk id="6" creationId="{0AFC7914-6E3C-A739-5002-91A3B8F51557}"/>
          </ac:spMkLst>
        </pc:spChg>
        <pc:spChg chg="del">
          <ac:chgData name="Nataliia Chornii (UA)" userId="4e4b8b3d-5f31-49bb-9f80-8a25c04abfff" providerId="ADAL" clId="{EE97D3FE-9ACA-4467-98E5-532EC45D9D1C}" dt="2024-03-01T10:12:57.095" v="9482" actId="478"/>
          <ac:spMkLst>
            <pc:docMk/>
            <pc:sldMk cId="2300626159" sldId="908"/>
            <ac:spMk id="6" creationId="{C48D78C5-B6FD-229A-6E80-F07805DA8E16}"/>
          </ac:spMkLst>
        </pc:spChg>
        <pc:spChg chg="add del mod modVis">
          <ac:chgData name="Nataliia Chornii (UA)" userId="4e4b8b3d-5f31-49bb-9f80-8a25c04abfff" providerId="ADAL" clId="{EE97D3FE-9ACA-4467-98E5-532EC45D9D1C}" dt="2024-03-11T14:15:35.232" v="23692"/>
          <ac:spMkLst>
            <pc:docMk/>
            <pc:sldMk cId="2300626159" sldId="908"/>
            <ac:spMk id="7" creationId="{3274846D-0236-AA9E-A2EF-60778D839D6C}"/>
          </ac:spMkLst>
        </pc:spChg>
        <pc:spChg chg="add mod">
          <ac:chgData name="Nataliia Chornii (UA)" userId="4e4b8b3d-5f31-49bb-9f80-8a25c04abfff" providerId="ADAL" clId="{EE97D3FE-9ACA-4467-98E5-532EC45D9D1C}" dt="2024-03-11T14:22:48.047" v="24034"/>
          <ac:spMkLst>
            <pc:docMk/>
            <pc:sldMk cId="2300626159" sldId="908"/>
            <ac:spMk id="8" creationId="{2CA7E931-5A39-E16F-287D-26D8CB80F058}"/>
          </ac:spMkLst>
        </pc:spChg>
        <pc:spChg chg="mod ord topLvl">
          <ac:chgData name="Nataliia Chornii (UA)" userId="4e4b8b3d-5f31-49bb-9f80-8a25c04abfff" providerId="ADAL" clId="{EE97D3FE-9ACA-4467-98E5-532EC45D9D1C}" dt="2024-03-01T10:24:05.559" v="9905"/>
          <ac:spMkLst>
            <pc:docMk/>
            <pc:sldMk cId="2300626159" sldId="908"/>
            <ac:spMk id="9" creationId="{A2B233A5-ED06-3246-BD46-B7B39150B709}"/>
          </ac:spMkLst>
        </pc:spChg>
        <pc:spChg chg="mod ord topLvl">
          <ac:chgData name="Nataliia Chornii (UA)" userId="4e4b8b3d-5f31-49bb-9f80-8a25c04abfff" providerId="ADAL" clId="{EE97D3FE-9ACA-4467-98E5-532EC45D9D1C}" dt="2024-03-01T10:24:05.559" v="9881"/>
          <ac:spMkLst>
            <pc:docMk/>
            <pc:sldMk cId="2300626159" sldId="908"/>
            <ac:spMk id="10" creationId="{C3DFDFF4-18D2-A047-B0B2-4C063F2C571A}"/>
          </ac:spMkLst>
        </pc:spChg>
        <pc:spChg chg="mod ord topLvl">
          <ac:chgData name="Nataliia Chornii (UA)" userId="4e4b8b3d-5f31-49bb-9f80-8a25c04abfff" providerId="ADAL" clId="{EE97D3FE-9ACA-4467-98E5-532EC45D9D1C}" dt="2024-03-01T10:24:05.559" v="9883"/>
          <ac:spMkLst>
            <pc:docMk/>
            <pc:sldMk cId="2300626159" sldId="908"/>
            <ac:spMk id="11" creationId="{ABB70BD2-60C1-064D-95BB-38DE736A1572}"/>
          </ac:spMkLst>
        </pc:spChg>
        <pc:spChg chg="mod ord topLvl">
          <ac:chgData name="Nataliia Chornii (UA)" userId="4e4b8b3d-5f31-49bb-9f80-8a25c04abfff" providerId="ADAL" clId="{EE97D3FE-9ACA-4467-98E5-532EC45D9D1C}" dt="2024-03-01T10:24:05.559" v="9885"/>
          <ac:spMkLst>
            <pc:docMk/>
            <pc:sldMk cId="2300626159" sldId="908"/>
            <ac:spMk id="12" creationId="{90E04B7C-9E41-4641-A5D6-FF34530482E0}"/>
          </ac:spMkLst>
        </pc:spChg>
        <pc:spChg chg="mod ord topLvl">
          <ac:chgData name="Nataliia Chornii (UA)" userId="4e4b8b3d-5f31-49bb-9f80-8a25c04abfff" providerId="ADAL" clId="{EE97D3FE-9ACA-4467-98E5-532EC45D9D1C}" dt="2024-03-01T10:24:05.559" v="9887"/>
          <ac:spMkLst>
            <pc:docMk/>
            <pc:sldMk cId="2300626159" sldId="908"/>
            <ac:spMk id="13" creationId="{FFA0AA22-B08B-7F4A-B365-587EEE2D842D}"/>
          </ac:spMkLst>
        </pc:spChg>
        <pc:spChg chg="mod ord topLvl">
          <ac:chgData name="Nataliia Chornii (UA)" userId="4e4b8b3d-5f31-49bb-9f80-8a25c04abfff" providerId="ADAL" clId="{EE97D3FE-9ACA-4467-98E5-532EC45D9D1C}" dt="2024-03-01T10:24:05.559" v="9889"/>
          <ac:spMkLst>
            <pc:docMk/>
            <pc:sldMk cId="2300626159" sldId="908"/>
            <ac:spMk id="15" creationId="{817192BF-33DA-6E42-944F-7B2F09E52C43}"/>
          </ac:spMkLst>
        </pc:spChg>
        <pc:spChg chg="mod ord topLvl">
          <ac:chgData name="Nataliia Chornii (UA)" userId="4e4b8b3d-5f31-49bb-9f80-8a25c04abfff" providerId="ADAL" clId="{EE97D3FE-9ACA-4467-98E5-532EC45D9D1C}" dt="2024-03-01T10:24:05.559" v="9891"/>
          <ac:spMkLst>
            <pc:docMk/>
            <pc:sldMk cId="2300626159" sldId="908"/>
            <ac:spMk id="16" creationId="{2AA0056B-1B3F-9647-9399-DD6B5207FA3B}"/>
          </ac:spMkLst>
        </pc:spChg>
        <pc:spChg chg="mod ord topLvl">
          <ac:chgData name="Nataliia Chornii (UA)" userId="4e4b8b3d-5f31-49bb-9f80-8a25c04abfff" providerId="ADAL" clId="{EE97D3FE-9ACA-4467-98E5-532EC45D9D1C}" dt="2024-03-01T10:24:05.559" v="9893"/>
          <ac:spMkLst>
            <pc:docMk/>
            <pc:sldMk cId="2300626159" sldId="908"/>
            <ac:spMk id="17" creationId="{C1683A97-5B75-9940-AD67-614A9DFD6627}"/>
          </ac:spMkLst>
        </pc:spChg>
        <pc:spChg chg="mod ord topLvl">
          <ac:chgData name="Nataliia Chornii (UA)" userId="4e4b8b3d-5f31-49bb-9f80-8a25c04abfff" providerId="ADAL" clId="{EE97D3FE-9ACA-4467-98E5-532EC45D9D1C}" dt="2024-03-01T10:24:05.559" v="9895"/>
          <ac:spMkLst>
            <pc:docMk/>
            <pc:sldMk cId="2300626159" sldId="908"/>
            <ac:spMk id="18" creationId="{E4C5F8F0-E4BD-274A-8190-28583D21E512}"/>
          </ac:spMkLst>
        </pc:spChg>
        <pc:spChg chg="mod topLvl">
          <ac:chgData name="Nataliia Chornii (UA)" userId="4e4b8b3d-5f31-49bb-9f80-8a25c04abfff" providerId="ADAL" clId="{EE97D3FE-9ACA-4467-98E5-532EC45D9D1C}" dt="2024-03-11T14:24:36.656" v="24060" actId="164"/>
          <ac:spMkLst>
            <pc:docMk/>
            <pc:sldMk cId="2300626159" sldId="908"/>
            <ac:spMk id="19" creationId="{DE96E661-5736-8C3F-255F-9D2374B7F0FB}"/>
          </ac:spMkLst>
        </pc:spChg>
        <pc:spChg chg="mod topLvl">
          <ac:chgData name="Nataliia Chornii (UA)" userId="4e4b8b3d-5f31-49bb-9f80-8a25c04abfff" providerId="ADAL" clId="{EE97D3FE-9ACA-4467-98E5-532EC45D9D1C}" dt="2024-03-11T14:24:36.656" v="24060" actId="164"/>
          <ac:spMkLst>
            <pc:docMk/>
            <pc:sldMk cId="2300626159" sldId="908"/>
            <ac:spMk id="20" creationId="{36C24187-730C-71DC-948E-6236097A3FCE}"/>
          </ac:spMkLst>
        </pc:spChg>
        <pc:spChg chg="mod topLvl">
          <ac:chgData name="Nataliia Chornii (UA)" userId="4e4b8b3d-5f31-49bb-9f80-8a25c04abfff" providerId="ADAL" clId="{EE97D3FE-9ACA-4467-98E5-532EC45D9D1C}" dt="2024-03-11T14:24:36.656" v="24060" actId="164"/>
          <ac:spMkLst>
            <pc:docMk/>
            <pc:sldMk cId="2300626159" sldId="908"/>
            <ac:spMk id="21" creationId="{9DDA2F8A-B421-783A-8697-99B26276333A}"/>
          </ac:spMkLst>
        </pc:spChg>
        <pc:spChg chg="mod topLvl">
          <ac:chgData name="Nataliia Chornii (UA)" userId="4e4b8b3d-5f31-49bb-9f80-8a25c04abfff" providerId="ADAL" clId="{EE97D3FE-9ACA-4467-98E5-532EC45D9D1C}" dt="2024-03-11T14:24:36.656" v="24060" actId="164"/>
          <ac:spMkLst>
            <pc:docMk/>
            <pc:sldMk cId="2300626159" sldId="908"/>
            <ac:spMk id="22" creationId="{8E63E40A-7AB1-B534-4B2C-02E4311BEF4F}"/>
          </ac:spMkLst>
        </pc:spChg>
        <pc:spChg chg="mod ord topLvl">
          <ac:chgData name="Nataliia Chornii (UA)" userId="4e4b8b3d-5f31-49bb-9f80-8a25c04abfff" providerId="ADAL" clId="{EE97D3FE-9ACA-4467-98E5-532EC45D9D1C}" dt="2024-03-01T10:24:05.559" v="9897"/>
          <ac:spMkLst>
            <pc:docMk/>
            <pc:sldMk cId="2300626159" sldId="908"/>
            <ac:spMk id="23" creationId="{1DFA226E-CAF3-2D42-AC96-11A51BD07541}"/>
          </ac:spMkLst>
        </pc:spChg>
        <pc:spChg chg="mod ord topLvl">
          <ac:chgData name="Nataliia Chornii (UA)" userId="4e4b8b3d-5f31-49bb-9f80-8a25c04abfff" providerId="ADAL" clId="{EE97D3FE-9ACA-4467-98E5-532EC45D9D1C}" dt="2024-03-01T10:24:05.559" v="9899"/>
          <ac:spMkLst>
            <pc:docMk/>
            <pc:sldMk cId="2300626159" sldId="908"/>
            <ac:spMk id="24" creationId="{10B15265-346F-0349-AF94-74C872CA65DD}"/>
          </ac:spMkLst>
        </pc:spChg>
        <pc:spChg chg="mod ord topLvl">
          <ac:chgData name="Nataliia Chornii (UA)" userId="4e4b8b3d-5f31-49bb-9f80-8a25c04abfff" providerId="ADAL" clId="{EE97D3FE-9ACA-4467-98E5-532EC45D9D1C}" dt="2024-03-01T10:24:05.559" v="9901"/>
          <ac:spMkLst>
            <pc:docMk/>
            <pc:sldMk cId="2300626159" sldId="908"/>
            <ac:spMk id="25" creationId="{73F30B4C-A440-674A-9472-8F1EB39DA9F2}"/>
          </ac:spMkLst>
        </pc:spChg>
        <pc:spChg chg="mod ord topLvl">
          <ac:chgData name="Nataliia Chornii (UA)" userId="4e4b8b3d-5f31-49bb-9f80-8a25c04abfff" providerId="ADAL" clId="{EE97D3FE-9ACA-4467-98E5-532EC45D9D1C}" dt="2024-03-01T10:24:05.559" v="9903"/>
          <ac:spMkLst>
            <pc:docMk/>
            <pc:sldMk cId="2300626159" sldId="908"/>
            <ac:spMk id="26" creationId="{8B070493-BB90-AA4F-AE2F-427F4E058BD7}"/>
          </ac:spMkLst>
        </pc:spChg>
        <pc:spChg chg="mod topLvl">
          <ac:chgData name="Nataliia Chornii (UA)" userId="4e4b8b3d-5f31-49bb-9f80-8a25c04abfff" providerId="ADAL" clId="{EE97D3FE-9ACA-4467-98E5-532EC45D9D1C}" dt="2024-03-11T14:24:36.656" v="24060" actId="164"/>
          <ac:spMkLst>
            <pc:docMk/>
            <pc:sldMk cId="2300626159" sldId="908"/>
            <ac:spMk id="28" creationId="{D47F3DC6-4280-EA23-4A05-CF43D4483198}"/>
          </ac:spMkLst>
        </pc:spChg>
        <pc:spChg chg="del">
          <ac:chgData name="Nataliia Chornii (UA)" userId="4e4b8b3d-5f31-49bb-9f80-8a25c04abfff" providerId="ADAL" clId="{EE97D3FE-9ACA-4467-98E5-532EC45D9D1C}" dt="2024-03-01T10:12:38.456" v="9476" actId="478"/>
          <ac:spMkLst>
            <pc:docMk/>
            <pc:sldMk cId="2300626159" sldId="908"/>
            <ac:spMk id="29" creationId="{1C1F5916-342D-144A-EBAF-E126E12E2DB7}"/>
          </ac:spMkLst>
        </pc:spChg>
        <pc:spChg chg="mod topLvl">
          <ac:chgData name="Nataliia Chornii (UA)" userId="4e4b8b3d-5f31-49bb-9f80-8a25c04abfff" providerId="ADAL" clId="{EE97D3FE-9ACA-4467-98E5-532EC45D9D1C}" dt="2024-03-11T14:24:36.656" v="24060" actId="164"/>
          <ac:spMkLst>
            <pc:docMk/>
            <pc:sldMk cId="2300626159" sldId="908"/>
            <ac:spMk id="29" creationId="{43CABCC0-76A5-0C3F-920C-D7B1C1522A25}"/>
          </ac:spMkLst>
        </pc:spChg>
        <pc:spChg chg="add del mod modVis">
          <ac:chgData name="Nataliia Chornii (UA)" userId="4e4b8b3d-5f31-49bb-9f80-8a25c04abfff" providerId="ADAL" clId="{EE97D3FE-9ACA-4467-98E5-532EC45D9D1C}" dt="2024-03-01T08:49:33.717" v="2798"/>
          <ac:spMkLst>
            <pc:docMk/>
            <pc:sldMk cId="2300626159" sldId="908"/>
            <ac:spMk id="30" creationId="{AD21B1B5-B1BA-1159-77ED-97D5EF6BC978}"/>
          </ac:spMkLst>
        </pc:spChg>
        <pc:spChg chg="add del mod modVis">
          <ac:chgData name="Nataliia Chornii (UA)" userId="4e4b8b3d-5f31-49bb-9f80-8a25c04abfff" providerId="ADAL" clId="{EE97D3FE-9ACA-4467-98E5-532EC45D9D1C}" dt="2024-03-01T08:49:59.773" v="3786"/>
          <ac:spMkLst>
            <pc:docMk/>
            <pc:sldMk cId="2300626159" sldId="908"/>
            <ac:spMk id="31" creationId="{C28F0B23-0E47-F80E-807A-75DCA6CECDCC}"/>
          </ac:spMkLst>
        </pc:spChg>
        <pc:spChg chg="add del mod modVis">
          <ac:chgData name="Nataliia Chornii (UA)" userId="4e4b8b3d-5f31-49bb-9f80-8a25c04abfff" providerId="ADAL" clId="{EE97D3FE-9ACA-4467-98E5-532EC45D9D1C}" dt="2024-03-01T08:51:26.094" v="4774"/>
          <ac:spMkLst>
            <pc:docMk/>
            <pc:sldMk cId="2300626159" sldId="908"/>
            <ac:spMk id="32" creationId="{9B6765C7-7855-4EE3-3D71-34CA29623EC5}"/>
          </ac:spMkLst>
        </pc:spChg>
        <pc:spChg chg="add del mod modVis">
          <ac:chgData name="Nataliia Chornii (UA)" userId="4e4b8b3d-5f31-49bb-9f80-8a25c04abfff" providerId="ADAL" clId="{EE97D3FE-9ACA-4467-98E5-532EC45D9D1C}" dt="2024-03-01T08:51:56.079" v="5763"/>
          <ac:spMkLst>
            <pc:docMk/>
            <pc:sldMk cId="2300626159" sldId="908"/>
            <ac:spMk id="33" creationId="{9C9A2D52-CE20-FC51-3B34-6D9493057D65}"/>
          </ac:spMkLst>
        </pc:spChg>
        <pc:spChg chg="add del mod modVis">
          <ac:chgData name="Nataliia Chornii (UA)" userId="4e4b8b3d-5f31-49bb-9f80-8a25c04abfff" providerId="ADAL" clId="{EE97D3FE-9ACA-4467-98E5-532EC45D9D1C}" dt="2024-03-01T08:52:18.257" v="6751"/>
          <ac:spMkLst>
            <pc:docMk/>
            <pc:sldMk cId="2300626159" sldId="908"/>
            <ac:spMk id="34" creationId="{06C2B7E8-4E11-04F6-96E2-E2F29B45FFE7}"/>
          </ac:spMkLst>
        </pc:spChg>
        <pc:spChg chg="add del mod modVis">
          <ac:chgData name="Nataliia Chornii (UA)" userId="4e4b8b3d-5f31-49bb-9f80-8a25c04abfff" providerId="ADAL" clId="{EE97D3FE-9ACA-4467-98E5-532EC45D9D1C}" dt="2024-03-01T10:14:42.610" v="9564"/>
          <ac:spMkLst>
            <pc:docMk/>
            <pc:sldMk cId="2300626159" sldId="908"/>
            <ac:spMk id="35" creationId="{0829507E-BCEF-5DB8-1FE6-9CEE7293D4AA}"/>
          </ac:spMkLst>
        </pc:spChg>
        <pc:spChg chg="add mod ord">
          <ac:chgData name="Nataliia Chornii (UA)" userId="4e4b8b3d-5f31-49bb-9f80-8a25c04abfff" providerId="ADAL" clId="{EE97D3FE-9ACA-4467-98E5-532EC45D9D1C}" dt="2024-03-01T10:24:05.573" v="9933"/>
          <ac:spMkLst>
            <pc:docMk/>
            <pc:sldMk cId="2300626159" sldId="908"/>
            <ac:spMk id="80" creationId="{33F3258F-AFEA-7716-88A9-DEF866DBB873}"/>
          </ac:spMkLst>
        </pc:spChg>
        <pc:spChg chg="add mod ord">
          <ac:chgData name="Nataliia Chornii (UA)" userId="4e4b8b3d-5f31-49bb-9f80-8a25c04abfff" providerId="ADAL" clId="{EE97D3FE-9ACA-4467-98E5-532EC45D9D1C}" dt="2024-03-01T10:24:05.573" v="9935"/>
          <ac:spMkLst>
            <pc:docMk/>
            <pc:sldMk cId="2300626159" sldId="908"/>
            <ac:spMk id="81" creationId="{03A635FF-A78F-8735-A808-281BDB5E3F81}"/>
          </ac:spMkLst>
        </pc:spChg>
        <pc:spChg chg="add mod ord">
          <ac:chgData name="Nataliia Chornii (UA)" userId="4e4b8b3d-5f31-49bb-9f80-8a25c04abfff" providerId="ADAL" clId="{EE97D3FE-9ACA-4467-98E5-532EC45D9D1C}" dt="2024-03-01T10:24:05.573" v="9937"/>
          <ac:spMkLst>
            <pc:docMk/>
            <pc:sldMk cId="2300626159" sldId="908"/>
            <ac:spMk id="82" creationId="{65B4A675-6657-816B-877E-77046FB90EDE}"/>
          </ac:spMkLst>
        </pc:spChg>
        <pc:spChg chg="add mod ord">
          <ac:chgData name="Nataliia Chornii (UA)" userId="4e4b8b3d-5f31-49bb-9f80-8a25c04abfff" providerId="ADAL" clId="{EE97D3FE-9ACA-4467-98E5-532EC45D9D1C}" dt="2024-03-01T10:24:05.573" v="9939"/>
          <ac:spMkLst>
            <pc:docMk/>
            <pc:sldMk cId="2300626159" sldId="908"/>
            <ac:spMk id="83" creationId="{54F0AA69-8303-66A6-6FF1-F4A9B799A601}"/>
          </ac:spMkLst>
        </pc:spChg>
        <pc:spChg chg="add mod ord">
          <ac:chgData name="Nataliia Chornii (UA)" userId="4e4b8b3d-5f31-49bb-9f80-8a25c04abfff" providerId="ADAL" clId="{EE97D3FE-9ACA-4467-98E5-532EC45D9D1C}" dt="2024-03-11T14:15:36.583" v="23696" actId="555"/>
          <ac:spMkLst>
            <pc:docMk/>
            <pc:sldMk cId="2300626159" sldId="908"/>
            <ac:spMk id="86" creationId="{FAE45AAF-2F8E-201A-3A04-5A013ADD89B9}"/>
          </ac:spMkLst>
        </pc:spChg>
        <pc:spChg chg="add mod ord">
          <ac:chgData name="Nataliia Chornii (UA)" userId="4e4b8b3d-5f31-49bb-9f80-8a25c04abfff" providerId="ADAL" clId="{EE97D3FE-9ACA-4467-98E5-532EC45D9D1C}" dt="2024-03-01T10:23:09.103" v="9865" actId="164"/>
          <ac:spMkLst>
            <pc:docMk/>
            <pc:sldMk cId="2300626159" sldId="908"/>
            <ac:spMk id="87" creationId="{07B4B979-AFC3-C368-66E1-76AC98E806F0}"/>
          </ac:spMkLst>
        </pc:spChg>
        <pc:spChg chg="add mod ord">
          <ac:chgData name="Nataliia Chornii (UA)" userId="4e4b8b3d-5f31-49bb-9f80-8a25c04abfff" providerId="ADAL" clId="{EE97D3FE-9ACA-4467-98E5-532EC45D9D1C}" dt="2024-03-01T10:23:09.103" v="9865" actId="164"/>
          <ac:spMkLst>
            <pc:docMk/>
            <pc:sldMk cId="2300626159" sldId="908"/>
            <ac:spMk id="88" creationId="{20985D74-922A-3DAE-98C5-AF51EE93AFD1}"/>
          </ac:spMkLst>
        </pc:spChg>
        <pc:spChg chg="add del mod ord">
          <ac:chgData name="Nataliia Chornii (UA)" userId="4e4b8b3d-5f31-49bb-9f80-8a25c04abfff" providerId="ADAL" clId="{EE97D3FE-9ACA-4467-98E5-532EC45D9D1C}" dt="2024-03-01T10:24:10.502" v="9948" actId="478"/>
          <ac:spMkLst>
            <pc:docMk/>
            <pc:sldMk cId="2300626159" sldId="908"/>
            <ac:spMk id="90" creationId="{F9D5E472-93B1-1BEA-B30B-7E7F2EB08E62}"/>
          </ac:spMkLst>
        </pc:spChg>
        <pc:grpChg chg="del mod">
          <ac:chgData name="Nataliia Chornii (UA)" userId="4e4b8b3d-5f31-49bb-9f80-8a25c04abfff" providerId="ADAL" clId="{EE97D3FE-9ACA-4467-98E5-532EC45D9D1C}" dt="2024-03-01T10:13:05.223" v="9483" actId="165"/>
          <ac:grpSpMkLst>
            <pc:docMk/>
            <pc:sldMk cId="2300626159" sldId="908"/>
            <ac:grpSpMk id="7" creationId="{D6EAC053-21F2-E444-83CB-A1A2DC51780B}"/>
          </ac:grpSpMkLst>
        </pc:grpChg>
        <pc:grpChg chg="del mod topLvl">
          <ac:chgData name="Nataliia Chornii (UA)" userId="4e4b8b3d-5f31-49bb-9f80-8a25c04abfff" providerId="ADAL" clId="{EE97D3FE-9ACA-4467-98E5-532EC45D9D1C}" dt="2024-03-01T10:13:07.597" v="9484" actId="165"/>
          <ac:grpSpMkLst>
            <pc:docMk/>
            <pc:sldMk cId="2300626159" sldId="908"/>
            <ac:grpSpMk id="8" creationId="{86977D4D-C135-A840-81B7-0E87940ADF9D}"/>
          </ac:grpSpMkLst>
        </pc:grpChg>
        <pc:grpChg chg="add del mod">
          <ac:chgData name="Nataliia Chornii (UA)" userId="4e4b8b3d-5f31-49bb-9f80-8a25c04abfff" providerId="ADAL" clId="{EE97D3FE-9ACA-4467-98E5-532EC45D9D1C}" dt="2024-03-11T14:22:55.100" v="24035" actId="165"/>
          <ac:grpSpMkLst>
            <pc:docMk/>
            <pc:sldMk cId="2300626159" sldId="908"/>
            <ac:grpSpMk id="14" creationId="{BBFB35E1-E59A-9576-E24B-DC7909F22ED8}"/>
          </ac:grpSpMkLst>
        </pc:grpChg>
        <pc:grpChg chg="del mod topLvl">
          <ac:chgData name="Nataliia Chornii (UA)" userId="4e4b8b3d-5f31-49bb-9f80-8a25c04abfff" providerId="ADAL" clId="{EE97D3FE-9ACA-4467-98E5-532EC45D9D1C}" dt="2024-03-01T10:13:45.093" v="9492" actId="165"/>
          <ac:grpSpMkLst>
            <pc:docMk/>
            <pc:sldMk cId="2300626159" sldId="908"/>
            <ac:grpSpMk id="22" creationId="{B4EA56F4-F992-AF49-B00A-59645909B400}"/>
          </ac:grpSpMkLst>
        </pc:grpChg>
        <pc:grpChg chg="add del mod">
          <ac:chgData name="Nataliia Chornii (UA)" userId="4e4b8b3d-5f31-49bb-9f80-8a25c04abfff" providerId="ADAL" clId="{EE97D3FE-9ACA-4467-98E5-532EC45D9D1C}" dt="2024-03-11T14:23:31.820" v="24047" actId="165"/>
          <ac:grpSpMkLst>
            <pc:docMk/>
            <pc:sldMk cId="2300626159" sldId="908"/>
            <ac:grpSpMk id="30" creationId="{1A80C2AD-3AEF-00CE-1EC8-803375096FFE}"/>
          </ac:grpSpMkLst>
        </pc:grpChg>
        <pc:grpChg chg="add del mod">
          <ac:chgData name="Nataliia Chornii (UA)" userId="4e4b8b3d-5f31-49bb-9f80-8a25c04abfff" providerId="ADAL" clId="{EE97D3FE-9ACA-4467-98E5-532EC45D9D1C}" dt="2024-03-11T14:23:43.982" v="24049" actId="165"/>
          <ac:grpSpMkLst>
            <pc:docMk/>
            <pc:sldMk cId="2300626159" sldId="908"/>
            <ac:grpSpMk id="31" creationId="{543349DE-1505-8579-5321-4D3BC44BA54D}"/>
          </ac:grpSpMkLst>
        </pc:grpChg>
        <pc:grpChg chg="add del mod">
          <ac:chgData name="Nataliia Chornii (UA)" userId="4e4b8b3d-5f31-49bb-9f80-8a25c04abfff" providerId="ADAL" clId="{EE97D3FE-9ACA-4467-98E5-532EC45D9D1C}" dt="2024-03-11T14:24:20.425" v="24057" actId="165"/>
          <ac:grpSpMkLst>
            <pc:docMk/>
            <pc:sldMk cId="2300626159" sldId="908"/>
            <ac:grpSpMk id="32" creationId="{E608E4A7-6DE4-44A0-CD15-166F7502175D}"/>
          </ac:grpSpMkLst>
        </pc:grpChg>
        <pc:grpChg chg="add mod">
          <ac:chgData name="Nataliia Chornii (UA)" userId="4e4b8b3d-5f31-49bb-9f80-8a25c04abfff" providerId="ADAL" clId="{EE97D3FE-9ACA-4467-98E5-532EC45D9D1C}" dt="2024-03-11T14:24:36.656" v="24060" actId="164"/>
          <ac:grpSpMkLst>
            <pc:docMk/>
            <pc:sldMk cId="2300626159" sldId="908"/>
            <ac:grpSpMk id="33" creationId="{ABFF8037-8EB5-4B17-670B-F756F01C5E53}"/>
          </ac:grpSpMkLst>
        </pc:grpChg>
        <pc:grpChg chg="add del mod ord">
          <ac:chgData name="Nataliia Chornii (UA)" userId="4e4b8b3d-5f31-49bb-9f80-8a25c04abfff" providerId="ADAL" clId="{EE97D3FE-9ACA-4467-98E5-532EC45D9D1C}" dt="2024-03-11T14:15:45.491" v="23699" actId="478"/>
          <ac:grpSpMkLst>
            <pc:docMk/>
            <pc:sldMk cId="2300626159" sldId="908"/>
            <ac:grpSpMk id="89" creationId="{26DAFDD5-00C4-A2C0-7430-29B1265411CD}"/>
          </ac:grpSpMkLst>
        </pc:grpChg>
        <pc:graphicFrameChg chg="add mod ord modVis replST">
          <ac:chgData name="Nataliia Chornii (UA)" userId="4e4b8b3d-5f31-49bb-9f80-8a25c04abfff" providerId="ADAL" clId="{EE97D3FE-9ACA-4467-98E5-532EC45D9D1C}" dt="2024-03-11T14:15:35.232" v="23694"/>
          <ac:graphicFrameMkLst>
            <pc:docMk/>
            <pc:sldMk cId="2300626159" sldId="908"/>
            <ac:graphicFrameMk id="27" creationId="{2FC370B2-2DA5-53E8-AA4E-CE67427065F6}"/>
          </ac:graphicFrameMkLst>
        </pc:graphicFrameChg>
        <pc:picChg chg="mod ord">
          <ac:chgData name="Nataliia Chornii (UA)" userId="4e4b8b3d-5f31-49bb-9f80-8a25c04abfff" providerId="ADAL" clId="{EE97D3FE-9ACA-4467-98E5-532EC45D9D1C}" dt="2024-03-01T10:24:05.559" v="9907"/>
          <ac:picMkLst>
            <pc:docMk/>
            <pc:sldMk cId="2300626159" sldId="908"/>
            <ac:picMk id="28" creationId="{AD222C1E-263F-07AF-2E47-D775770A7384}"/>
          </ac:picMkLst>
        </pc:picChg>
        <pc:picChg chg="add mod ord modCrop">
          <ac:chgData name="Nataliia Chornii (UA)" userId="4e4b8b3d-5f31-49bb-9f80-8a25c04abfff" providerId="ADAL" clId="{EE97D3FE-9ACA-4467-98E5-532EC45D9D1C}" dt="2024-03-01T10:24:05.557" v="9875"/>
          <ac:picMkLst>
            <pc:docMk/>
            <pc:sldMk cId="2300626159" sldId="908"/>
            <ac:picMk id="85" creationId="{1A4AA579-AB1A-3855-190A-DAD2FE00F873}"/>
          </ac:picMkLst>
        </pc:picChg>
        <pc:cxnChg chg="del mod topLvl">
          <ac:chgData name="Nataliia Chornii (UA)" userId="4e4b8b3d-5f31-49bb-9f80-8a25c04abfff" providerId="ADAL" clId="{EE97D3FE-9ACA-4467-98E5-532EC45D9D1C}" dt="2024-03-01T10:13:35.858" v="9490" actId="478"/>
          <ac:cxnSpMkLst>
            <pc:docMk/>
            <pc:sldMk cId="2300626159" sldId="908"/>
            <ac:cxnSpMk id="14" creationId="{E144EF51-9752-2643-8FD1-0B2B33AE78C8}"/>
          </ac:cxnSpMkLst>
        </pc:cxnChg>
        <pc:cxnChg chg="del mod topLvl">
          <ac:chgData name="Nataliia Chornii (UA)" userId="4e4b8b3d-5f31-49bb-9f80-8a25c04abfff" providerId="ADAL" clId="{EE97D3FE-9ACA-4467-98E5-532EC45D9D1C}" dt="2024-03-01T10:13:35.858" v="9490" actId="478"/>
          <ac:cxnSpMkLst>
            <pc:docMk/>
            <pc:sldMk cId="2300626159" sldId="908"/>
            <ac:cxnSpMk id="19" creationId="{9284D3D4-0D07-EA44-BBB7-4997056954EB}"/>
          </ac:cxnSpMkLst>
        </pc:cxnChg>
        <pc:cxnChg chg="del mod topLvl">
          <ac:chgData name="Nataliia Chornii (UA)" userId="4e4b8b3d-5f31-49bb-9f80-8a25c04abfff" providerId="ADAL" clId="{EE97D3FE-9ACA-4467-98E5-532EC45D9D1C}" dt="2024-03-01T10:13:35.858" v="9490" actId="478"/>
          <ac:cxnSpMkLst>
            <pc:docMk/>
            <pc:sldMk cId="2300626159" sldId="908"/>
            <ac:cxnSpMk id="20" creationId="{7E5909C4-5B13-6F4C-A109-9212461D0EC8}"/>
          </ac:cxnSpMkLst>
        </pc:cxnChg>
        <pc:cxnChg chg="del mod topLvl">
          <ac:chgData name="Nataliia Chornii (UA)" userId="4e4b8b3d-5f31-49bb-9f80-8a25c04abfff" providerId="ADAL" clId="{EE97D3FE-9ACA-4467-98E5-532EC45D9D1C}" dt="2024-03-01T10:13:35.858" v="9490" actId="478"/>
          <ac:cxnSpMkLst>
            <pc:docMk/>
            <pc:sldMk cId="2300626159" sldId="908"/>
            <ac:cxnSpMk id="21" creationId="{3F449FC9-9CBC-9C40-9884-03C02B0890C5}"/>
          </ac:cxnSpMkLst>
        </pc:cxnChg>
        <pc:cxnChg chg="add mod ord">
          <ac:chgData name="Nataliia Chornii (UA)" userId="4e4b8b3d-5f31-49bb-9f80-8a25c04abfff" providerId="ADAL" clId="{EE97D3FE-9ACA-4467-98E5-532EC45D9D1C}" dt="2024-03-01T10:24:05.559" v="9909"/>
          <ac:cxnSpMkLst>
            <pc:docMk/>
            <pc:sldMk cId="2300626159" sldId="908"/>
            <ac:cxnSpMk id="37" creationId="{7C7236BE-4ADF-8153-6B39-AEF796CC913C}"/>
          </ac:cxnSpMkLst>
        </pc:cxnChg>
        <pc:cxnChg chg="add del mod">
          <ac:chgData name="Nataliia Chornii (UA)" userId="4e4b8b3d-5f31-49bb-9f80-8a25c04abfff" providerId="ADAL" clId="{EE97D3FE-9ACA-4467-98E5-532EC45D9D1C}" dt="2024-03-01T10:15:59.746" v="9586" actId="478"/>
          <ac:cxnSpMkLst>
            <pc:docMk/>
            <pc:sldMk cId="2300626159" sldId="908"/>
            <ac:cxnSpMk id="39" creationId="{654C3263-15FC-D9FF-87E8-5D8E1711068C}"/>
          </ac:cxnSpMkLst>
        </pc:cxnChg>
        <pc:cxnChg chg="add del mod">
          <ac:chgData name="Nataliia Chornii (UA)" userId="4e4b8b3d-5f31-49bb-9f80-8a25c04abfff" providerId="ADAL" clId="{EE97D3FE-9ACA-4467-98E5-532EC45D9D1C}" dt="2024-03-01T10:17:48.012" v="9624" actId="478"/>
          <ac:cxnSpMkLst>
            <pc:docMk/>
            <pc:sldMk cId="2300626159" sldId="908"/>
            <ac:cxnSpMk id="41" creationId="{0A5447B1-0674-81F5-152A-78988136F1FF}"/>
          </ac:cxnSpMkLst>
        </pc:cxnChg>
        <pc:cxnChg chg="add mod ord">
          <ac:chgData name="Nataliia Chornii (UA)" userId="4e4b8b3d-5f31-49bb-9f80-8a25c04abfff" providerId="ADAL" clId="{EE97D3FE-9ACA-4467-98E5-532EC45D9D1C}" dt="2024-03-01T10:24:05.559" v="9911"/>
          <ac:cxnSpMkLst>
            <pc:docMk/>
            <pc:sldMk cId="2300626159" sldId="908"/>
            <ac:cxnSpMk id="43" creationId="{72A0F912-B6F6-C429-1D73-5F944261C21E}"/>
          </ac:cxnSpMkLst>
        </pc:cxnChg>
        <pc:cxnChg chg="add mod ord">
          <ac:chgData name="Nataliia Chornii (UA)" userId="4e4b8b3d-5f31-49bb-9f80-8a25c04abfff" providerId="ADAL" clId="{EE97D3FE-9ACA-4467-98E5-532EC45D9D1C}" dt="2024-03-01T10:24:05.559" v="9913"/>
          <ac:cxnSpMkLst>
            <pc:docMk/>
            <pc:sldMk cId="2300626159" sldId="908"/>
            <ac:cxnSpMk id="45" creationId="{98FC76CB-92CA-79EB-0FCC-0279B07E4868}"/>
          </ac:cxnSpMkLst>
        </pc:cxnChg>
        <pc:cxnChg chg="add mod ord">
          <ac:chgData name="Nataliia Chornii (UA)" userId="4e4b8b3d-5f31-49bb-9f80-8a25c04abfff" providerId="ADAL" clId="{EE97D3FE-9ACA-4467-98E5-532EC45D9D1C}" dt="2024-03-01T10:24:05.559" v="9915"/>
          <ac:cxnSpMkLst>
            <pc:docMk/>
            <pc:sldMk cId="2300626159" sldId="908"/>
            <ac:cxnSpMk id="47" creationId="{8B8F284E-EAB2-AD04-A11A-3A260CFADB81}"/>
          </ac:cxnSpMkLst>
        </pc:cxnChg>
        <pc:cxnChg chg="add mod ord">
          <ac:chgData name="Nataliia Chornii (UA)" userId="4e4b8b3d-5f31-49bb-9f80-8a25c04abfff" providerId="ADAL" clId="{EE97D3FE-9ACA-4467-98E5-532EC45D9D1C}" dt="2024-03-01T10:24:05.559" v="9917"/>
          <ac:cxnSpMkLst>
            <pc:docMk/>
            <pc:sldMk cId="2300626159" sldId="908"/>
            <ac:cxnSpMk id="49" creationId="{21BD98F9-4C54-5F05-8131-645F83133AD1}"/>
          </ac:cxnSpMkLst>
        </pc:cxnChg>
        <pc:cxnChg chg="add mod ord">
          <ac:chgData name="Nataliia Chornii (UA)" userId="4e4b8b3d-5f31-49bb-9f80-8a25c04abfff" providerId="ADAL" clId="{EE97D3FE-9ACA-4467-98E5-532EC45D9D1C}" dt="2024-03-01T10:24:05.559" v="9919"/>
          <ac:cxnSpMkLst>
            <pc:docMk/>
            <pc:sldMk cId="2300626159" sldId="908"/>
            <ac:cxnSpMk id="51" creationId="{A247581D-B16A-3BCD-B844-5699CF8A122C}"/>
          </ac:cxnSpMkLst>
        </pc:cxnChg>
        <pc:cxnChg chg="add mod ord">
          <ac:chgData name="Nataliia Chornii (UA)" userId="4e4b8b3d-5f31-49bb-9f80-8a25c04abfff" providerId="ADAL" clId="{EE97D3FE-9ACA-4467-98E5-532EC45D9D1C}" dt="2024-03-01T10:24:05.559" v="9921"/>
          <ac:cxnSpMkLst>
            <pc:docMk/>
            <pc:sldMk cId="2300626159" sldId="908"/>
            <ac:cxnSpMk id="53" creationId="{AC15A7FB-62D3-912B-C6CE-5B0703B74AC4}"/>
          </ac:cxnSpMkLst>
        </pc:cxnChg>
        <pc:cxnChg chg="add mod ord">
          <ac:chgData name="Nataliia Chornii (UA)" userId="4e4b8b3d-5f31-49bb-9f80-8a25c04abfff" providerId="ADAL" clId="{EE97D3FE-9ACA-4467-98E5-532EC45D9D1C}" dt="2024-03-01T10:24:05.559" v="9923"/>
          <ac:cxnSpMkLst>
            <pc:docMk/>
            <pc:sldMk cId="2300626159" sldId="908"/>
            <ac:cxnSpMk id="55" creationId="{3F9B2E66-F81E-035C-3417-93CBB049A98A}"/>
          </ac:cxnSpMkLst>
        </pc:cxnChg>
        <pc:cxnChg chg="add mod ord">
          <ac:chgData name="Nataliia Chornii (UA)" userId="4e4b8b3d-5f31-49bb-9f80-8a25c04abfff" providerId="ADAL" clId="{EE97D3FE-9ACA-4467-98E5-532EC45D9D1C}" dt="2024-03-01T10:24:05.573" v="9925"/>
          <ac:cxnSpMkLst>
            <pc:docMk/>
            <pc:sldMk cId="2300626159" sldId="908"/>
            <ac:cxnSpMk id="57" creationId="{F235514F-D8B3-0248-2D25-0B8582D92491}"/>
          </ac:cxnSpMkLst>
        </pc:cxnChg>
        <pc:cxnChg chg="add mod ord">
          <ac:chgData name="Nataliia Chornii (UA)" userId="4e4b8b3d-5f31-49bb-9f80-8a25c04abfff" providerId="ADAL" clId="{EE97D3FE-9ACA-4467-98E5-532EC45D9D1C}" dt="2024-03-01T10:24:05.573" v="9927"/>
          <ac:cxnSpMkLst>
            <pc:docMk/>
            <pc:sldMk cId="2300626159" sldId="908"/>
            <ac:cxnSpMk id="59" creationId="{20A81309-2578-4335-8652-0E400C879DBE}"/>
          </ac:cxnSpMkLst>
        </pc:cxnChg>
        <pc:cxnChg chg="add mod ord">
          <ac:chgData name="Nataliia Chornii (UA)" userId="4e4b8b3d-5f31-49bb-9f80-8a25c04abfff" providerId="ADAL" clId="{EE97D3FE-9ACA-4467-98E5-532EC45D9D1C}" dt="2024-03-01T10:24:05.573" v="9929"/>
          <ac:cxnSpMkLst>
            <pc:docMk/>
            <pc:sldMk cId="2300626159" sldId="908"/>
            <ac:cxnSpMk id="61" creationId="{FCB0AFCF-B4F3-24DA-9277-A13964EAFAC5}"/>
          </ac:cxnSpMkLst>
        </pc:cxnChg>
        <pc:cxnChg chg="add mod ord">
          <ac:chgData name="Nataliia Chornii (UA)" userId="4e4b8b3d-5f31-49bb-9f80-8a25c04abfff" providerId="ADAL" clId="{EE97D3FE-9ACA-4467-98E5-532EC45D9D1C}" dt="2024-03-01T10:24:05.573" v="9931"/>
          <ac:cxnSpMkLst>
            <pc:docMk/>
            <pc:sldMk cId="2300626159" sldId="908"/>
            <ac:cxnSpMk id="62" creationId="{B56D4A98-332F-9244-0753-E78F9E7502E4}"/>
          </ac:cxnSpMkLst>
        </pc:cxnChg>
      </pc:sldChg>
      <pc:sldChg chg="addSp delSp modSp mod">
        <pc:chgData name="Nataliia Chornii (UA)" userId="4e4b8b3d-5f31-49bb-9f80-8a25c04abfff" providerId="ADAL" clId="{EE97D3FE-9ACA-4467-98E5-532EC45D9D1C}" dt="2024-03-11T14:24:08.878" v="24055"/>
        <pc:sldMkLst>
          <pc:docMk/>
          <pc:sldMk cId="1764034675" sldId="909"/>
        </pc:sldMkLst>
        <pc:spChg chg="add mod">
          <ac:chgData name="Nataliia Chornii (UA)" userId="4e4b8b3d-5f31-49bb-9f80-8a25c04abfff" providerId="ADAL" clId="{EE97D3FE-9ACA-4467-98E5-532EC45D9D1C}" dt="2024-03-11T14:24:08.878" v="24055"/>
          <ac:spMkLst>
            <pc:docMk/>
            <pc:sldMk cId="1764034675" sldId="909"/>
            <ac:spMk id="2" creationId="{2B9BA7A9-23FD-2573-72ED-860A236A3F30}"/>
          </ac:spMkLst>
        </pc:spChg>
        <pc:spChg chg="add del mod modVis">
          <ac:chgData name="Nataliia Chornii (UA)" userId="4e4b8b3d-5f31-49bb-9f80-8a25c04abfff" providerId="ADAL" clId="{EE97D3FE-9ACA-4467-98E5-532EC45D9D1C}" dt="2024-03-01T08:48:59.355" v="1293"/>
          <ac:spMkLst>
            <pc:docMk/>
            <pc:sldMk cId="1764034675" sldId="909"/>
            <ac:spMk id="2" creationId="{99199F0A-09C7-99B1-CB83-65DB6A251DE9}"/>
          </ac:spMkLst>
        </pc:spChg>
        <pc:spChg chg="mod ord">
          <ac:chgData name="Nataliia Chornii (UA)" userId="4e4b8b3d-5f31-49bb-9f80-8a25c04abfff" providerId="ADAL" clId="{EE97D3FE-9ACA-4467-98E5-532EC45D9D1C}" dt="2024-03-01T15:35:09.124" v="17437"/>
          <ac:spMkLst>
            <pc:docMk/>
            <pc:sldMk cId="1764034675" sldId="909"/>
            <ac:spMk id="3" creationId="{18D846C5-0FE1-0722-5504-7D4D452EA64C}"/>
          </ac:spMkLst>
        </pc:spChg>
        <pc:spChg chg="mod ord">
          <ac:chgData name="Nataliia Chornii (UA)" userId="4e4b8b3d-5f31-49bb-9f80-8a25c04abfff" providerId="ADAL" clId="{EE97D3FE-9ACA-4467-98E5-532EC45D9D1C}" dt="2024-03-01T15:35:12.358" v="17466" actId="207"/>
          <ac:spMkLst>
            <pc:docMk/>
            <pc:sldMk cId="1764034675" sldId="909"/>
            <ac:spMk id="4" creationId="{1D0816AF-800B-D4B3-9F92-EA9CA8F47531}"/>
          </ac:spMkLst>
        </pc:spChg>
        <pc:spChg chg="del">
          <ac:chgData name="Nataliia Chornii (UA)" userId="4e4b8b3d-5f31-49bb-9f80-8a25c04abfff" providerId="ADAL" clId="{EE97D3FE-9ACA-4467-98E5-532EC45D9D1C}" dt="2024-03-01T10:09:40.249" v="9471" actId="478"/>
          <ac:spMkLst>
            <pc:docMk/>
            <pc:sldMk cId="1764034675" sldId="909"/>
            <ac:spMk id="5" creationId="{2186E193-AF17-420F-E248-E3683251A6FA}"/>
          </ac:spMkLst>
        </pc:spChg>
        <pc:spChg chg="del">
          <ac:chgData name="Nataliia Chornii (UA)" userId="4e4b8b3d-5f31-49bb-9f80-8a25c04abfff" providerId="ADAL" clId="{EE97D3FE-9ACA-4467-98E5-532EC45D9D1C}" dt="2024-03-01T10:09:40.249" v="9471" actId="478"/>
          <ac:spMkLst>
            <pc:docMk/>
            <pc:sldMk cId="1764034675" sldId="909"/>
            <ac:spMk id="6" creationId="{C48D78C5-B6FD-229A-6E80-F07805DA8E16}"/>
          </ac:spMkLst>
        </pc:spChg>
        <pc:spChg chg="mod">
          <ac:chgData name="Nataliia Chornii (UA)" userId="4e4b8b3d-5f31-49bb-9f80-8a25c04abfff" providerId="ADAL" clId="{EE97D3FE-9ACA-4467-98E5-532EC45D9D1C}" dt="2024-03-11T14:24:08.878" v="24055"/>
          <ac:spMkLst>
            <pc:docMk/>
            <pc:sldMk cId="1764034675" sldId="909"/>
            <ac:spMk id="6" creationId="{C8D7855B-C4BC-06B4-A9FB-86B49F01A715}"/>
          </ac:spMkLst>
        </pc:spChg>
        <pc:spChg chg="mod">
          <ac:chgData name="Nataliia Chornii (UA)" userId="4e4b8b3d-5f31-49bb-9f80-8a25c04abfff" providerId="ADAL" clId="{EE97D3FE-9ACA-4467-98E5-532EC45D9D1C}" dt="2024-03-11T14:24:08.878" v="24055"/>
          <ac:spMkLst>
            <pc:docMk/>
            <pc:sldMk cId="1764034675" sldId="909"/>
            <ac:spMk id="8" creationId="{37D5BE3F-18D6-DD05-0367-C91F017049E3}"/>
          </ac:spMkLst>
        </pc:spChg>
        <pc:spChg chg="add del mod modVis">
          <ac:chgData name="Nataliia Chornii (UA)" userId="4e4b8b3d-5f31-49bb-9f80-8a25c04abfff" providerId="ADAL" clId="{EE97D3FE-9ACA-4467-98E5-532EC45D9D1C}" dt="2024-03-01T08:49:33.717" v="2802"/>
          <ac:spMkLst>
            <pc:docMk/>
            <pc:sldMk cId="1764034675" sldId="909"/>
            <ac:spMk id="8" creationId="{E642C1E3-CBC4-1433-C759-25C19EF187C0}"/>
          </ac:spMkLst>
        </pc:spChg>
        <pc:spChg chg="mod">
          <ac:chgData name="Nataliia Chornii (UA)" userId="4e4b8b3d-5f31-49bb-9f80-8a25c04abfff" providerId="ADAL" clId="{EE97D3FE-9ACA-4467-98E5-532EC45D9D1C}" dt="2024-03-11T14:24:08.878" v="24055"/>
          <ac:spMkLst>
            <pc:docMk/>
            <pc:sldMk cId="1764034675" sldId="909"/>
            <ac:spMk id="9" creationId="{042F7F57-C3DB-78B2-066E-6302BF0DEEE0}"/>
          </ac:spMkLst>
        </pc:spChg>
        <pc:spChg chg="add del mod modVis">
          <ac:chgData name="Nataliia Chornii (UA)" userId="4e4b8b3d-5f31-49bb-9f80-8a25c04abfff" providerId="ADAL" clId="{EE97D3FE-9ACA-4467-98E5-532EC45D9D1C}" dt="2024-03-01T08:49:59.785" v="3790"/>
          <ac:spMkLst>
            <pc:docMk/>
            <pc:sldMk cId="1764034675" sldId="909"/>
            <ac:spMk id="9" creationId="{596E4141-5343-6571-9721-4ABE76DC58AA}"/>
          </ac:spMkLst>
        </pc:spChg>
        <pc:spChg chg="add del mod modVis">
          <ac:chgData name="Nataliia Chornii (UA)" userId="4e4b8b3d-5f31-49bb-9f80-8a25c04abfff" providerId="ADAL" clId="{EE97D3FE-9ACA-4467-98E5-532EC45D9D1C}" dt="2024-03-01T08:51:26.094" v="4778"/>
          <ac:spMkLst>
            <pc:docMk/>
            <pc:sldMk cId="1764034675" sldId="909"/>
            <ac:spMk id="10" creationId="{04443C4A-4D8D-4AB1-E4DE-F6E072A7470B}"/>
          </ac:spMkLst>
        </pc:spChg>
        <pc:spChg chg="mod">
          <ac:chgData name="Nataliia Chornii (UA)" userId="4e4b8b3d-5f31-49bb-9f80-8a25c04abfff" providerId="ADAL" clId="{EE97D3FE-9ACA-4467-98E5-532EC45D9D1C}" dt="2024-03-11T14:24:08.878" v="24055"/>
          <ac:spMkLst>
            <pc:docMk/>
            <pc:sldMk cId="1764034675" sldId="909"/>
            <ac:spMk id="10" creationId="{20345E51-09E1-1CEB-A766-A744F93833CC}"/>
          </ac:spMkLst>
        </pc:spChg>
        <pc:spChg chg="add del mod modVis">
          <ac:chgData name="Nataliia Chornii (UA)" userId="4e4b8b3d-5f31-49bb-9f80-8a25c04abfff" providerId="ADAL" clId="{EE97D3FE-9ACA-4467-98E5-532EC45D9D1C}" dt="2024-03-01T08:51:56.094" v="5767"/>
          <ac:spMkLst>
            <pc:docMk/>
            <pc:sldMk cId="1764034675" sldId="909"/>
            <ac:spMk id="11" creationId="{2795AB9A-E802-6E81-A57E-9D01245A306F}"/>
          </ac:spMkLst>
        </pc:spChg>
        <pc:spChg chg="mod">
          <ac:chgData name="Nataliia Chornii (UA)" userId="4e4b8b3d-5f31-49bb-9f80-8a25c04abfff" providerId="ADAL" clId="{EE97D3FE-9ACA-4467-98E5-532EC45D9D1C}" dt="2024-03-11T14:24:08.878" v="24055"/>
          <ac:spMkLst>
            <pc:docMk/>
            <pc:sldMk cId="1764034675" sldId="909"/>
            <ac:spMk id="11" creationId="{A52C158C-22BB-32AB-43D5-33AAD9EA72D7}"/>
          </ac:spMkLst>
        </pc:spChg>
        <pc:spChg chg="mod">
          <ac:chgData name="Nataliia Chornii (UA)" userId="4e4b8b3d-5f31-49bb-9f80-8a25c04abfff" providerId="ADAL" clId="{EE97D3FE-9ACA-4467-98E5-532EC45D9D1C}" dt="2024-03-11T14:24:08.878" v="24055"/>
          <ac:spMkLst>
            <pc:docMk/>
            <pc:sldMk cId="1764034675" sldId="909"/>
            <ac:spMk id="12" creationId="{37F5013C-E4F5-45BB-96D2-6D555FC6D74B}"/>
          </ac:spMkLst>
        </pc:spChg>
        <pc:spChg chg="add del mod modVis">
          <ac:chgData name="Nataliia Chornii (UA)" userId="4e4b8b3d-5f31-49bb-9f80-8a25c04abfff" providerId="ADAL" clId="{EE97D3FE-9ACA-4467-98E5-532EC45D9D1C}" dt="2024-03-01T08:52:18.257" v="6755"/>
          <ac:spMkLst>
            <pc:docMk/>
            <pc:sldMk cId="1764034675" sldId="909"/>
            <ac:spMk id="12" creationId="{4BF21DAA-66AC-B6BE-3941-6668BD9BAA4B}"/>
          </ac:spMkLst>
        </pc:spChg>
        <pc:spChg chg="add mod topLvl">
          <ac:chgData name="Nataliia Chornii (UA)" userId="4e4b8b3d-5f31-49bb-9f80-8a25c04abfff" providerId="ADAL" clId="{EE97D3FE-9ACA-4467-98E5-532EC45D9D1C}" dt="2024-03-01T15:34:12.525" v="17340" actId="164"/>
          <ac:spMkLst>
            <pc:docMk/>
            <pc:sldMk cId="1764034675" sldId="909"/>
            <ac:spMk id="13" creationId="{1588DCB6-1F9C-1843-FD40-E691CF6FB0A3}"/>
          </ac:spMkLst>
        </pc:spChg>
        <pc:spChg chg="add mod ord topLvl">
          <ac:chgData name="Nataliia Chornii (UA)" userId="4e4b8b3d-5f31-49bb-9f80-8a25c04abfff" providerId="ADAL" clId="{EE97D3FE-9ACA-4467-98E5-532EC45D9D1C}" dt="2024-03-01T15:34:12.525" v="17340" actId="164"/>
          <ac:spMkLst>
            <pc:docMk/>
            <pc:sldMk cId="1764034675" sldId="909"/>
            <ac:spMk id="14" creationId="{1F342EFB-A975-1F78-C00D-526000C5D015}"/>
          </ac:spMkLst>
        </pc:spChg>
        <pc:spChg chg="mod">
          <ac:chgData name="Nataliia Chornii (UA)" userId="4e4b8b3d-5f31-49bb-9f80-8a25c04abfff" providerId="ADAL" clId="{EE97D3FE-9ACA-4467-98E5-532EC45D9D1C}" dt="2024-03-01T15:31:18.625" v="17257" actId="571"/>
          <ac:spMkLst>
            <pc:docMk/>
            <pc:sldMk cId="1764034675" sldId="909"/>
            <ac:spMk id="17" creationId="{9E2CC898-7180-F5E3-C37D-20BE95B52F0B}"/>
          </ac:spMkLst>
        </pc:spChg>
        <pc:spChg chg="mod">
          <ac:chgData name="Nataliia Chornii (UA)" userId="4e4b8b3d-5f31-49bb-9f80-8a25c04abfff" providerId="ADAL" clId="{EE97D3FE-9ACA-4467-98E5-532EC45D9D1C}" dt="2024-03-01T15:31:18.625" v="17257" actId="571"/>
          <ac:spMkLst>
            <pc:docMk/>
            <pc:sldMk cId="1764034675" sldId="909"/>
            <ac:spMk id="18" creationId="{A7F8346E-D32A-6C65-9889-B32825E1F4FC}"/>
          </ac:spMkLst>
        </pc:spChg>
        <pc:spChg chg="add mod ord topLvl">
          <ac:chgData name="Nataliia Chornii (UA)" userId="4e4b8b3d-5f31-49bb-9f80-8a25c04abfff" providerId="ADAL" clId="{EE97D3FE-9ACA-4467-98E5-532EC45D9D1C}" dt="2024-03-01T15:35:09.124" v="17425"/>
          <ac:spMkLst>
            <pc:docMk/>
            <pc:sldMk cId="1764034675" sldId="909"/>
            <ac:spMk id="19" creationId="{EF4D8BEF-8566-D43D-9B28-E036D42EE6BC}"/>
          </ac:spMkLst>
        </pc:spChg>
        <pc:spChg chg="del mod topLvl">
          <ac:chgData name="Nataliia Chornii (UA)" userId="4e4b8b3d-5f31-49bb-9f80-8a25c04abfff" providerId="ADAL" clId="{EE97D3FE-9ACA-4467-98E5-532EC45D9D1C}" dt="2024-03-01T15:34:10.943" v="17339" actId="478"/>
          <ac:spMkLst>
            <pc:docMk/>
            <pc:sldMk cId="1764034675" sldId="909"/>
            <ac:spMk id="23" creationId="{B0809109-7222-3BF2-8FEF-D0518FA16F39}"/>
          </ac:spMkLst>
        </pc:spChg>
        <pc:spChg chg="mod ord topLvl">
          <ac:chgData name="Nataliia Chornii (UA)" userId="4e4b8b3d-5f31-49bb-9f80-8a25c04abfff" providerId="ADAL" clId="{EE97D3FE-9ACA-4467-98E5-532EC45D9D1C}" dt="2024-03-01T15:35:09.124" v="17427"/>
          <ac:spMkLst>
            <pc:docMk/>
            <pc:sldMk cId="1764034675" sldId="909"/>
            <ac:spMk id="24" creationId="{239B8622-318D-D173-F478-CF1A7EC16B5E}"/>
          </ac:spMkLst>
        </pc:spChg>
        <pc:spChg chg="del mod topLvl">
          <ac:chgData name="Nataliia Chornii (UA)" userId="4e4b8b3d-5f31-49bb-9f80-8a25c04abfff" providerId="ADAL" clId="{EE97D3FE-9ACA-4467-98E5-532EC45D9D1C}" dt="2024-03-01T15:34:10.943" v="17339" actId="478"/>
          <ac:spMkLst>
            <pc:docMk/>
            <pc:sldMk cId="1764034675" sldId="909"/>
            <ac:spMk id="26" creationId="{03E9E34A-8738-D603-CFC2-1BFFEAD7770C}"/>
          </ac:spMkLst>
        </pc:spChg>
        <pc:spChg chg="del mod ord">
          <ac:chgData name="Nataliia Chornii (UA)" userId="4e4b8b3d-5f31-49bb-9f80-8a25c04abfff" providerId="ADAL" clId="{EE97D3FE-9ACA-4467-98E5-532EC45D9D1C}" dt="2024-03-01T15:33:57.964" v="17337" actId="478"/>
          <ac:spMkLst>
            <pc:docMk/>
            <pc:sldMk cId="1764034675" sldId="909"/>
            <ac:spMk id="27" creationId="{1268ADC1-4788-3BD9-6185-9FFA4639C3A2}"/>
          </ac:spMkLst>
        </pc:spChg>
        <pc:spChg chg="mod ord topLvl">
          <ac:chgData name="Nataliia Chornii (UA)" userId="4e4b8b3d-5f31-49bb-9f80-8a25c04abfff" providerId="ADAL" clId="{EE97D3FE-9ACA-4467-98E5-532EC45D9D1C}" dt="2024-03-01T15:35:09.124" v="17429"/>
          <ac:spMkLst>
            <pc:docMk/>
            <pc:sldMk cId="1764034675" sldId="909"/>
            <ac:spMk id="28" creationId="{A914D302-8B7D-1F34-FE6F-2FA8E18E28AD}"/>
          </ac:spMkLst>
        </pc:spChg>
        <pc:spChg chg="del mod topLvl">
          <ac:chgData name="Nataliia Chornii (UA)" userId="4e4b8b3d-5f31-49bb-9f80-8a25c04abfff" providerId="ADAL" clId="{EE97D3FE-9ACA-4467-98E5-532EC45D9D1C}" dt="2024-03-01T15:34:10.943" v="17339" actId="478"/>
          <ac:spMkLst>
            <pc:docMk/>
            <pc:sldMk cId="1764034675" sldId="909"/>
            <ac:spMk id="30" creationId="{FD29AF2D-187F-D878-2A5A-BB7B30C514F2}"/>
          </ac:spMkLst>
        </pc:spChg>
        <pc:spChg chg="mod">
          <ac:chgData name="Nataliia Chornii (UA)" userId="4e4b8b3d-5f31-49bb-9f80-8a25c04abfff" providerId="ADAL" clId="{EE97D3FE-9ACA-4467-98E5-532EC45D9D1C}" dt="2024-03-01T10:09:32.741" v="9469" actId="255"/>
          <ac:spMkLst>
            <pc:docMk/>
            <pc:sldMk cId="1764034675" sldId="909"/>
            <ac:spMk id="32" creationId="{07B47C77-2929-B899-4FE7-A074A3441532}"/>
          </ac:spMkLst>
        </pc:spChg>
        <pc:spChg chg="mod">
          <ac:chgData name="Nataliia Chornii (UA)" userId="4e4b8b3d-5f31-49bb-9f80-8a25c04abfff" providerId="ADAL" clId="{EE97D3FE-9ACA-4467-98E5-532EC45D9D1C}" dt="2024-03-01T10:09:32.741" v="9469" actId="255"/>
          <ac:spMkLst>
            <pc:docMk/>
            <pc:sldMk cId="1764034675" sldId="909"/>
            <ac:spMk id="33" creationId="{58A662B3-2A79-7B9A-8B47-853A3D730B8F}"/>
          </ac:spMkLst>
        </pc:spChg>
        <pc:spChg chg="mod ord topLvl">
          <ac:chgData name="Nataliia Chornii (UA)" userId="4e4b8b3d-5f31-49bb-9f80-8a25c04abfff" providerId="ADAL" clId="{EE97D3FE-9ACA-4467-98E5-532EC45D9D1C}" dt="2024-03-01T15:35:09.124" v="17431"/>
          <ac:spMkLst>
            <pc:docMk/>
            <pc:sldMk cId="1764034675" sldId="909"/>
            <ac:spMk id="34" creationId="{2E292E14-80B0-C799-DCA3-1B141B1D2C6D}"/>
          </ac:spMkLst>
        </pc:spChg>
        <pc:spChg chg="del mod topLvl">
          <ac:chgData name="Nataliia Chornii (UA)" userId="4e4b8b3d-5f31-49bb-9f80-8a25c04abfff" providerId="ADAL" clId="{EE97D3FE-9ACA-4467-98E5-532EC45D9D1C}" dt="2024-03-01T15:34:10.943" v="17339" actId="478"/>
          <ac:spMkLst>
            <pc:docMk/>
            <pc:sldMk cId="1764034675" sldId="909"/>
            <ac:spMk id="36" creationId="{243C98FA-1FCD-9E8B-778E-4DFD010C7DD7}"/>
          </ac:spMkLst>
        </pc:spChg>
        <pc:spChg chg="mod ord topLvl">
          <ac:chgData name="Nataliia Chornii (UA)" userId="4e4b8b3d-5f31-49bb-9f80-8a25c04abfff" providerId="ADAL" clId="{EE97D3FE-9ACA-4467-98E5-532EC45D9D1C}" dt="2024-03-01T15:35:09.124" v="17433"/>
          <ac:spMkLst>
            <pc:docMk/>
            <pc:sldMk cId="1764034675" sldId="909"/>
            <ac:spMk id="37" creationId="{94812D46-A915-8FCC-CF16-5E3844875EA5}"/>
          </ac:spMkLst>
        </pc:spChg>
        <pc:spChg chg="del mod topLvl">
          <ac:chgData name="Nataliia Chornii (UA)" userId="4e4b8b3d-5f31-49bb-9f80-8a25c04abfff" providerId="ADAL" clId="{EE97D3FE-9ACA-4467-98E5-532EC45D9D1C}" dt="2024-03-01T15:34:10.943" v="17339" actId="478"/>
          <ac:spMkLst>
            <pc:docMk/>
            <pc:sldMk cId="1764034675" sldId="909"/>
            <ac:spMk id="39" creationId="{A25C56BB-28A9-9F9D-6221-25EEC9FE6DFE}"/>
          </ac:spMkLst>
        </pc:spChg>
        <pc:spChg chg="mod ord topLvl">
          <ac:chgData name="Nataliia Chornii (UA)" userId="4e4b8b3d-5f31-49bb-9f80-8a25c04abfff" providerId="ADAL" clId="{EE97D3FE-9ACA-4467-98E5-532EC45D9D1C}" dt="2024-03-01T15:35:09.124" v="17435"/>
          <ac:spMkLst>
            <pc:docMk/>
            <pc:sldMk cId="1764034675" sldId="909"/>
            <ac:spMk id="40" creationId="{D1B7C728-9ECB-FC52-795D-8049E21F1FC0}"/>
          </ac:spMkLst>
        </pc:spChg>
        <pc:spChg chg="add del mod modVis">
          <ac:chgData name="Nataliia Chornii (UA)" userId="4e4b8b3d-5f31-49bb-9f80-8a25c04abfff" providerId="ADAL" clId="{EE97D3FE-9ACA-4467-98E5-532EC45D9D1C}" dt="2024-03-01T15:31:54.823" v="17319"/>
          <ac:spMkLst>
            <pc:docMk/>
            <pc:sldMk cId="1764034675" sldId="909"/>
            <ac:spMk id="41" creationId="{A6558D17-6740-272D-F592-ED9553B0C5EF}"/>
          </ac:spMkLst>
        </pc:spChg>
        <pc:spChg chg="mod topLvl">
          <ac:chgData name="Nataliia Chornii (UA)" userId="4e4b8b3d-5f31-49bb-9f80-8a25c04abfff" providerId="ADAL" clId="{EE97D3FE-9ACA-4467-98E5-532EC45D9D1C}" dt="2024-03-01T15:35:28.864" v="17468" actId="207"/>
          <ac:spMkLst>
            <pc:docMk/>
            <pc:sldMk cId="1764034675" sldId="909"/>
            <ac:spMk id="54" creationId="{2160E887-D72A-001F-55FA-3C1960A19D7C}"/>
          </ac:spMkLst>
        </pc:spChg>
        <pc:spChg chg="mod topLvl">
          <ac:chgData name="Nataliia Chornii (UA)" userId="4e4b8b3d-5f31-49bb-9f80-8a25c04abfff" providerId="ADAL" clId="{EE97D3FE-9ACA-4467-98E5-532EC45D9D1C}" dt="2024-03-01T15:35:24.592" v="17467" actId="165"/>
          <ac:spMkLst>
            <pc:docMk/>
            <pc:sldMk cId="1764034675" sldId="909"/>
            <ac:spMk id="55" creationId="{97D298FE-57D3-750E-007D-3E91DB407BCA}"/>
          </ac:spMkLst>
        </pc:spChg>
        <pc:spChg chg="mod">
          <ac:chgData name="Nataliia Chornii (UA)" userId="4e4b8b3d-5f31-49bb-9f80-8a25c04abfff" providerId="ADAL" clId="{EE97D3FE-9ACA-4467-98E5-532EC45D9D1C}" dt="2024-03-01T15:34:14.084" v="17342" actId="571"/>
          <ac:spMkLst>
            <pc:docMk/>
            <pc:sldMk cId="1764034675" sldId="909"/>
            <ac:spMk id="57" creationId="{A4B9D62A-0580-D635-828C-DFE7D404846C}"/>
          </ac:spMkLst>
        </pc:spChg>
        <pc:spChg chg="mod">
          <ac:chgData name="Nataliia Chornii (UA)" userId="4e4b8b3d-5f31-49bb-9f80-8a25c04abfff" providerId="ADAL" clId="{EE97D3FE-9ACA-4467-98E5-532EC45D9D1C}" dt="2024-03-01T15:34:14.084" v="17342" actId="571"/>
          <ac:spMkLst>
            <pc:docMk/>
            <pc:sldMk cId="1764034675" sldId="909"/>
            <ac:spMk id="58" creationId="{89C4D8B3-0F3A-1A5E-0D82-091517C65C55}"/>
          </ac:spMkLst>
        </pc:spChg>
        <pc:spChg chg="mod topLvl">
          <ac:chgData name="Nataliia Chornii (UA)" userId="4e4b8b3d-5f31-49bb-9f80-8a25c04abfff" providerId="ADAL" clId="{EE97D3FE-9ACA-4467-98E5-532EC45D9D1C}" dt="2024-03-01T15:35:28.864" v="17468" actId="207"/>
          <ac:spMkLst>
            <pc:docMk/>
            <pc:sldMk cId="1764034675" sldId="909"/>
            <ac:spMk id="60" creationId="{313FE6F6-6F21-C667-EDDD-64858C966282}"/>
          </ac:spMkLst>
        </pc:spChg>
        <pc:spChg chg="mod topLvl">
          <ac:chgData name="Nataliia Chornii (UA)" userId="4e4b8b3d-5f31-49bb-9f80-8a25c04abfff" providerId="ADAL" clId="{EE97D3FE-9ACA-4467-98E5-532EC45D9D1C}" dt="2024-03-01T15:35:24.592" v="17467" actId="165"/>
          <ac:spMkLst>
            <pc:docMk/>
            <pc:sldMk cId="1764034675" sldId="909"/>
            <ac:spMk id="61" creationId="{02353164-8215-8965-7A2D-8903AA8FD6FD}"/>
          </ac:spMkLst>
        </pc:spChg>
        <pc:spChg chg="mod">
          <ac:chgData name="Nataliia Chornii (UA)" userId="4e4b8b3d-5f31-49bb-9f80-8a25c04abfff" providerId="ADAL" clId="{EE97D3FE-9ACA-4467-98E5-532EC45D9D1C}" dt="2024-03-01T15:34:15.211" v="17344" actId="571"/>
          <ac:spMkLst>
            <pc:docMk/>
            <pc:sldMk cId="1764034675" sldId="909"/>
            <ac:spMk id="63" creationId="{6492D47D-1173-7C35-7619-D81D6BC50BC9}"/>
          </ac:spMkLst>
        </pc:spChg>
        <pc:spChg chg="mod">
          <ac:chgData name="Nataliia Chornii (UA)" userId="4e4b8b3d-5f31-49bb-9f80-8a25c04abfff" providerId="ADAL" clId="{EE97D3FE-9ACA-4467-98E5-532EC45D9D1C}" dt="2024-03-01T15:34:15.211" v="17344" actId="571"/>
          <ac:spMkLst>
            <pc:docMk/>
            <pc:sldMk cId="1764034675" sldId="909"/>
            <ac:spMk id="64" creationId="{66F14979-CEB3-45D3-8A84-E0FF8E9A8906}"/>
          </ac:spMkLst>
        </pc:spChg>
        <pc:spChg chg="mod topLvl">
          <ac:chgData name="Nataliia Chornii (UA)" userId="4e4b8b3d-5f31-49bb-9f80-8a25c04abfff" providerId="ADAL" clId="{EE97D3FE-9ACA-4467-98E5-532EC45D9D1C}" dt="2024-03-01T15:35:28.864" v="17468" actId="207"/>
          <ac:spMkLst>
            <pc:docMk/>
            <pc:sldMk cId="1764034675" sldId="909"/>
            <ac:spMk id="66" creationId="{EAE439AD-F0F2-443E-41B6-0463B5B0AB20}"/>
          </ac:spMkLst>
        </pc:spChg>
        <pc:spChg chg="mod topLvl">
          <ac:chgData name="Nataliia Chornii (UA)" userId="4e4b8b3d-5f31-49bb-9f80-8a25c04abfff" providerId="ADAL" clId="{EE97D3FE-9ACA-4467-98E5-532EC45D9D1C}" dt="2024-03-01T15:35:24.592" v="17467" actId="165"/>
          <ac:spMkLst>
            <pc:docMk/>
            <pc:sldMk cId="1764034675" sldId="909"/>
            <ac:spMk id="67" creationId="{DD92AC09-30B3-CCED-D1FD-071AD8EA9D45}"/>
          </ac:spMkLst>
        </pc:spChg>
        <pc:spChg chg="add mod ord">
          <ac:chgData name="Nataliia Chornii (UA)" userId="4e4b8b3d-5f31-49bb-9f80-8a25c04abfff" providerId="ADAL" clId="{EE97D3FE-9ACA-4467-98E5-532EC45D9D1C}" dt="2024-03-01T15:35:09.109" v="17423"/>
          <ac:spMkLst>
            <pc:docMk/>
            <pc:sldMk cId="1764034675" sldId="909"/>
            <ac:spMk id="70" creationId="{3CC43F94-C99A-EECA-2911-653D73FDABA5}"/>
          </ac:spMkLst>
        </pc:spChg>
        <pc:grpChg chg="add mod">
          <ac:chgData name="Nataliia Chornii (UA)" userId="4e4b8b3d-5f31-49bb-9f80-8a25c04abfff" providerId="ADAL" clId="{EE97D3FE-9ACA-4467-98E5-532EC45D9D1C}" dt="2024-03-11T14:24:08.878" v="24055"/>
          <ac:grpSpMkLst>
            <pc:docMk/>
            <pc:sldMk cId="1764034675" sldId="909"/>
            <ac:grpSpMk id="5" creationId="{A4207745-BCF4-4C81-51AF-F6F44F1F4B4F}"/>
          </ac:grpSpMkLst>
        </pc:grpChg>
        <pc:grpChg chg="add del mod">
          <ac:chgData name="Nataliia Chornii (UA)" userId="4e4b8b3d-5f31-49bb-9f80-8a25c04abfff" providerId="ADAL" clId="{EE97D3FE-9ACA-4467-98E5-532EC45D9D1C}" dt="2024-03-01T15:31:19.773" v="17258" actId="165"/>
          <ac:grpSpMkLst>
            <pc:docMk/>
            <pc:sldMk cId="1764034675" sldId="909"/>
            <ac:grpSpMk id="15" creationId="{ED276712-4C32-BA58-5CCD-2BAC51F7EFE9}"/>
          </ac:grpSpMkLst>
        </pc:grpChg>
        <pc:grpChg chg="add mod">
          <ac:chgData name="Nataliia Chornii (UA)" userId="4e4b8b3d-5f31-49bb-9f80-8a25c04abfff" providerId="ADAL" clId="{EE97D3FE-9ACA-4467-98E5-532EC45D9D1C}" dt="2024-03-01T15:31:18.625" v="17257" actId="571"/>
          <ac:grpSpMkLst>
            <pc:docMk/>
            <pc:sldMk cId="1764034675" sldId="909"/>
            <ac:grpSpMk id="16" creationId="{5740A4E7-FBED-E6A6-07A0-43F9515B14C1}"/>
          </ac:grpSpMkLst>
        </pc:grpChg>
        <pc:grpChg chg="add del mod ord">
          <ac:chgData name="Nataliia Chornii (UA)" userId="4e4b8b3d-5f31-49bb-9f80-8a25c04abfff" providerId="ADAL" clId="{EE97D3FE-9ACA-4467-98E5-532EC45D9D1C}" dt="2024-03-01T15:31:56.501" v="17322" actId="165"/>
          <ac:grpSpMkLst>
            <pc:docMk/>
            <pc:sldMk cId="1764034675" sldId="909"/>
            <ac:grpSpMk id="21" creationId="{AA73995D-B3A8-C0E7-C026-D4C24F90928D}"/>
          </ac:grpSpMkLst>
        </pc:grpChg>
        <pc:grpChg chg="add del mod ord">
          <ac:chgData name="Nataliia Chornii (UA)" userId="4e4b8b3d-5f31-49bb-9f80-8a25c04abfff" providerId="ADAL" clId="{EE97D3FE-9ACA-4467-98E5-532EC45D9D1C}" dt="2024-03-01T15:31:56.501" v="17322" actId="165"/>
          <ac:grpSpMkLst>
            <pc:docMk/>
            <pc:sldMk cId="1764034675" sldId="909"/>
            <ac:grpSpMk id="22" creationId="{6A4E71BA-5FE6-EB36-A272-6F0837B7C03A}"/>
          </ac:grpSpMkLst>
        </pc:grpChg>
        <pc:grpChg chg="add del mod ord">
          <ac:chgData name="Nataliia Chornii (UA)" userId="4e4b8b3d-5f31-49bb-9f80-8a25c04abfff" providerId="ADAL" clId="{EE97D3FE-9ACA-4467-98E5-532EC45D9D1C}" dt="2024-03-01T15:31:56.501" v="17322" actId="165"/>
          <ac:grpSpMkLst>
            <pc:docMk/>
            <pc:sldMk cId="1764034675" sldId="909"/>
            <ac:grpSpMk id="25" creationId="{1F9501AC-229F-7D86-EDBD-12D91EF552BE}"/>
          </ac:grpSpMkLst>
        </pc:grpChg>
        <pc:grpChg chg="add del mod ord">
          <ac:chgData name="Nataliia Chornii (UA)" userId="4e4b8b3d-5f31-49bb-9f80-8a25c04abfff" providerId="ADAL" clId="{EE97D3FE-9ACA-4467-98E5-532EC45D9D1C}" dt="2024-03-01T15:31:56.501" v="17322" actId="165"/>
          <ac:grpSpMkLst>
            <pc:docMk/>
            <pc:sldMk cId="1764034675" sldId="909"/>
            <ac:grpSpMk id="29" creationId="{E4D1AD63-A2D1-9377-A08D-FCC5AD512FF8}"/>
          </ac:grpSpMkLst>
        </pc:grpChg>
        <pc:grpChg chg="add del mod ord">
          <ac:chgData name="Nataliia Chornii (UA)" userId="4e4b8b3d-5f31-49bb-9f80-8a25c04abfff" providerId="ADAL" clId="{EE97D3FE-9ACA-4467-98E5-532EC45D9D1C}" dt="2024-03-01T15:31:56.501" v="17322" actId="165"/>
          <ac:grpSpMkLst>
            <pc:docMk/>
            <pc:sldMk cId="1764034675" sldId="909"/>
            <ac:grpSpMk id="35" creationId="{CB8296FC-6977-8D8C-C89B-DCCAF73452F4}"/>
          </ac:grpSpMkLst>
        </pc:grpChg>
        <pc:grpChg chg="add del mod ord">
          <ac:chgData name="Nataliia Chornii (UA)" userId="4e4b8b3d-5f31-49bb-9f80-8a25c04abfff" providerId="ADAL" clId="{EE97D3FE-9ACA-4467-98E5-532EC45D9D1C}" dt="2024-03-01T15:31:56.501" v="17322" actId="165"/>
          <ac:grpSpMkLst>
            <pc:docMk/>
            <pc:sldMk cId="1764034675" sldId="909"/>
            <ac:grpSpMk id="38" creationId="{7CAAA823-C52A-E69B-66E4-CEC33B19EC5E}"/>
          </ac:grpSpMkLst>
        </pc:grpChg>
        <pc:grpChg chg="add mod ord">
          <ac:chgData name="Nataliia Chornii (UA)" userId="4e4b8b3d-5f31-49bb-9f80-8a25c04abfff" providerId="ADAL" clId="{EE97D3FE-9ACA-4467-98E5-532EC45D9D1C}" dt="2024-03-01T15:35:09.124" v="17441"/>
          <ac:grpSpMkLst>
            <pc:docMk/>
            <pc:sldMk cId="1764034675" sldId="909"/>
            <ac:grpSpMk id="52" creationId="{361826EC-5A31-6F60-E34A-C417419DBE52}"/>
          </ac:grpSpMkLst>
        </pc:grpChg>
        <pc:grpChg chg="add del mod ord">
          <ac:chgData name="Nataliia Chornii (UA)" userId="4e4b8b3d-5f31-49bb-9f80-8a25c04abfff" providerId="ADAL" clId="{EE97D3FE-9ACA-4467-98E5-532EC45D9D1C}" dt="2024-03-01T15:35:24.592" v="17467" actId="165"/>
          <ac:grpSpMkLst>
            <pc:docMk/>
            <pc:sldMk cId="1764034675" sldId="909"/>
            <ac:grpSpMk id="53" creationId="{15FA3864-3DEE-F491-FF98-AEB7F94E1880}"/>
          </ac:grpSpMkLst>
        </pc:grpChg>
        <pc:grpChg chg="add mod ord">
          <ac:chgData name="Nataliia Chornii (UA)" userId="4e4b8b3d-5f31-49bb-9f80-8a25c04abfff" providerId="ADAL" clId="{EE97D3FE-9ACA-4467-98E5-532EC45D9D1C}" dt="2024-03-01T15:35:09.140" v="17455"/>
          <ac:grpSpMkLst>
            <pc:docMk/>
            <pc:sldMk cId="1764034675" sldId="909"/>
            <ac:grpSpMk id="56" creationId="{B283AB5C-9A0D-B1DC-E633-C1CC380D0603}"/>
          </ac:grpSpMkLst>
        </pc:grpChg>
        <pc:grpChg chg="add del mod ord">
          <ac:chgData name="Nataliia Chornii (UA)" userId="4e4b8b3d-5f31-49bb-9f80-8a25c04abfff" providerId="ADAL" clId="{EE97D3FE-9ACA-4467-98E5-532EC45D9D1C}" dt="2024-03-01T15:35:24.592" v="17467" actId="165"/>
          <ac:grpSpMkLst>
            <pc:docMk/>
            <pc:sldMk cId="1764034675" sldId="909"/>
            <ac:grpSpMk id="59" creationId="{2F4E3AAA-2620-9976-8DA9-64AC35A29920}"/>
          </ac:grpSpMkLst>
        </pc:grpChg>
        <pc:grpChg chg="add mod ord">
          <ac:chgData name="Nataliia Chornii (UA)" userId="4e4b8b3d-5f31-49bb-9f80-8a25c04abfff" providerId="ADAL" clId="{EE97D3FE-9ACA-4467-98E5-532EC45D9D1C}" dt="2024-03-01T15:35:09.140" v="17459"/>
          <ac:grpSpMkLst>
            <pc:docMk/>
            <pc:sldMk cId="1764034675" sldId="909"/>
            <ac:grpSpMk id="62" creationId="{C1EA6D93-8DB7-F1C4-5C88-78889B57D726}"/>
          </ac:grpSpMkLst>
        </pc:grpChg>
        <pc:grpChg chg="add del mod ord">
          <ac:chgData name="Nataliia Chornii (UA)" userId="4e4b8b3d-5f31-49bb-9f80-8a25c04abfff" providerId="ADAL" clId="{EE97D3FE-9ACA-4467-98E5-532EC45D9D1C}" dt="2024-03-01T15:35:24.592" v="17467" actId="165"/>
          <ac:grpSpMkLst>
            <pc:docMk/>
            <pc:sldMk cId="1764034675" sldId="909"/>
            <ac:grpSpMk id="65" creationId="{25E2DED7-5243-17F4-A5F0-A2A258BD36C6}"/>
          </ac:grpSpMkLst>
        </pc:grpChg>
        <pc:graphicFrameChg chg="add mod ord modVis replST">
          <ac:chgData name="Nataliia Chornii (UA)" userId="4e4b8b3d-5f31-49bb-9f80-8a25c04abfff" providerId="ADAL" clId="{EE97D3FE-9ACA-4467-98E5-532EC45D9D1C}" dt="2024-03-01T15:35:09.156" v="17465"/>
          <ac:graphicFrameMkLst>
            <pc:docMk/>
            <pc:sldMk cId="1764034675" sldId="909"/>
            <ac:graphicFrameMk id="7" creationId="{BD9B4EB0-FA92-4CA3-9E1E-68FD78E7072D}"/>
          </ac:graphicFrameMkLst>
        </pc:graphicFrameChg>
        <pc:picChg chg="add mod ord modCrop">
          <ac:chgData name="Nataliia Chornii (UA)" userId="4e4b8b3d-5f31-49bb-9f80-8a25c04abfff" providerId="ADAL" clId="{EE97D3FE-9ACA-4467-98E5-532EC45D9D1C}" dt="2024-03-01T15:35:09.109" v="17421"/>
          <ac:picMkLst>
            <pc:docMk/>
            <pc:sldMk cId="1764034675" sldId="909"/>
            <ac:picMk id="69" creationId="{64F7D8A2-66DC-ADBA-BEC3-1BCF56394367}"/>
          </ac:picMkLst>
        </pc:picChg>
        <pc:cxnChg chg="add mod ord">
          <ac:chgData name="Nataliia Chornii (UA)" userId="4e4b8b3d-5f31-49bb-9f80-8a25c04abfff" providerId="ADAL" clId="{EE97D3FE-9ACA-4467-98E5-532EC45D9D1C}" dt="2024-03-01T15:35:09.140" v="17443"/>
          <ac:cxnSpMkLst>
            <pc:docMk/>
            <pc:sldMk cId="1764034675" sldId="909"/>
            <ac:cxnSpMk id="20" creationId="{92C24E3D-6F40-B1E5-DBC1-2BE00414047A}"/>
          </ac:cxnSpMkLst>
        </pc:cxnChg>
        <pc:cxnChg chg="add mod ord">
          <ac:chgData name="Nataliia Chornii (UA)" userId="4e4b8b3d-5f31-49bb-9f80-8a25c04abfff" providerId="ADAL" clId="{EE97D3FE-9ACA-4467-98E5-532EC45D9D1C}" dt="2024-03-01T15:35:09.140" v="17445"/>
          <ac:cxnSpMkLst>
            <pc:docMk/>
            <pc:sldMk cId="1764034675" sldId="909"/>
            <ac:cxnSpMk id="43" creationId="{59E75C4B-5949-DF88-AD9A-8033C3D4774D}"/>
          </ac:cxnSpMkLst>
        </pc:cxnChg>
        <pc:cxnChg chg="add mod ord">
          <ac:chgData name="Nataliia Chornii (UA)" userId="4e4b8b3d-5f31-49bb-9f80-8a25c04abfff" providerId="ADAL" clId="{EE97D3FE-9ACA-4467-98E5-532EC45D9D1C}" dt="2024-03-01T15:35:09.140" v="17447"/>
          <ac:cxnSpMkLst>
            <pc:docMk/>
            <pc:sldMk cId="1764034675" sldId="909"/>
            <ac:cxnSpMk id="44" creationId="{8889C8BE-E758-9763-FA51-DA257DC99FA3}"/>
          </ac:cxnSpMkLst>
        </pc:cxnChg>
        <pc:cxnChg chg="add mod ord">
          <ac:chgData name="Nataliia Chornii (UA)" userId="4e4b8b3d-5f31-49bb-9f80-8a25c04abfff" providerId="ADAL" clId="{EE97D3FE-9ACA-4467-98E5-532EC45D9D1C}" dt="2024-03-01T15:35:09.140" v="17449"/>
          <ac:cxnSpMkLst>
            <pc:docMk/>
            <pc:sldMk cId="1764034675" sldId="909"/>
            <ac:cxnSpMk id="45" creationId="{A300680A-200E-FF28-E0BC-1F1EC5EAE1F2}"/>
          </ac:cxnSpMkLst>
        </pc:cxnChg>
        <pc:cxnChg chg="add mod ord">
          <ac:chgData name="Nataliia Chornii (UA)" userId="4e4b8b3d-5f31-49bb-9f80-8a25c04abfff" providerId="ADAL" clId="{EE97D3FE-9ACA-4467-98E5-532EC45D9D1C}" dt="2024-03-01T15:35:09.140" v="17451"/>
          <ac:cxnSpMkLst>
            <pc:docMk/>
            <pc:sldMk cId="1764034675" sldId="909"/>
            <ac:cxnSpMk id="46" creationId="{6E9EAA9E-3B17-EFD6-CB33-84C28033B236}"/>
          </ac:cxnSpMkLst>
        </pc:cxnChg>
      </pc:sldChg>
      <pc:sldChg chg="addSp delSp modSp del mod">
        <pc:chgData name="Nataliia Chornii (UA)" userId="4e4b8b3d-5f31-49bb-9f80-8a25c04abfff" providerId="ADAL" clId="{EE97D3FE-9ACA-4467-98E5-532EC45D9D1C}" dt="2024-03-01T10:38:59.867" v="10341" actId="47"/>
        <pc:sldMkLst>
          <pc:docMk/>
          <pc:sldMk cId="3199894501" sldId="910"/>
        </pc:sldMkLst>
        <pc:spChg chg="mod">
          <ac:chgData name="Nataliia Chornii (UA)" userId="4e4b8b3d-5f31-49bb-9f80-8a25c04abfff" providerId="ADAL" clId="{EE97D3FE-9ACA-4467-98E5-532EC45D9D1C}" dt="2024-03-01T08:52:17.356" v="6086" actId="948"/>
          <ac:spMkLst>
            <pc:docMk/>
            <pc:sldMk cId="3199894501" sldId="910"/>
            <ac:spMk id="2" creationId="{A60D9000-B106-EBC6-D720-BB2BD8542F11}"/>
          </ac:spMkLst>
        </pc:spChg>
        <pc:spChg chg="add del mod modVis">
          <ac:chgData name="Nataliia Chornii (UA)" userId="4e4b8b3d-5f31-49bb-9f80-8a25c04abfff" providerId="ADAL" clId="{EE97D3FE-9ACA-4467-98E5-532EC45D9D1C}" dt="2024-03-01T08:48:59.283" v="1259"/>
          <ac:spMkLst>
            <pc:docMk/>
            <pc:sldMk cId="3199894501" sldId="910"/>
            <ac:spMk id="4" creationId="{27266E07-BFFF-863F-7D7B-B01E624A1B63}"/>
          </ac:spMkLst>
        </pc:spChg>
        <pc:spChg chg="add del mod modVis">
          <ac:chgData name="Nataliia Chornii (UA)" userId="4e4b8b3d-5f31-49bb-9f80-8a25c04abfff" providerId="ADAL" clId="{EE97D3FE-9ACA-4467-98E5-532EC45D9D1C}" dt="2024-03-01T08:49:33.713" v="2794"/>
          <ac:spMkLst>
            <pc:docMk/>
            <pc:sldMk cId="3199894501" sldId="910"/>
            <ac:spMk id="6" creationId="{21329667-16ED-9783-2A68-AEA1F419DF72}"/>
          </ac:spMkLst>
        </pc:spChg>
        <pc:spChg chg="add del mod modVis">
          <ac:chgData name="Nataliia Chornii (UA)" userId="4e4b8b3d-5f31-49bb-9f80-8a25c04abfff" providerId="ADAL" clId="{EE97D3FE-9ACA-4467-98E5-532EC45D9D1C}" dt="2024-03-01T08:49:59.773" v="3782"/>
          <ac:spMkLst>
            <pc:docMk/>
            <pc:sldMk cId="3199894501" sldId="910"/>
            <ac:spMk id="7" creationId="{9170516B-67E2-6C0C-2C70-6BA657DBCFDE}"/>
          </ac:spMkLst>
        </pc:spChg>
        <pc:spChg chg="add del mod modVis">
          <ac:chgData name="Nataliia Chornii (UA)" userId="4e4b8b3d-5f31-49bb-9f80-8a25c04abfff" providerId="ADAL" clId="{EE97D3FE-9ACA-4467-98E5-532EC45D9D1C}" dt="2024-03-01T08:51:26.075" v="4770"/>
          <ac:spMkLst>
            <pc:docMk/>
            <pc:sldMk cId="3199894501" sldId="910"/>
            <ac:spMk id="8" creationId="{BA0F6CA3-6D84-567C-6247-6B82D9DED3E2}"/>
          </ac:spMkLst>
        </pc:spChg>
        <pc:spChg chg="add del mod modVis">
          <ac:chgData name="Nataliia Chornii (UA)" userId="4e4b8b3d-5f31-49bb-9f80-8a25c04abfff" providerId="ADAL" clId="{EE97D3FE-9ACA-4467-98E5-532EC45D9D1C}" dt="2024-03-01T08:51:56.079" v="5759"/>
          <ac:spMkLst>
            <pc:docMk/>
            <pc:sldMk cId="3199894501" sldId="910"/>
            <ac:spMk id="9" creationId="{13063DBE-9641-907C-3CD5-A39FADEC3F52}"/>
          </ac:spMkLst>
        </pc:spChg>
        <pc:spChg chg="add del mod modVis">
          <ac:chgData name="Nataliia Chornii (UA)" userId="4e4b8b3d-5f31-49bb-9f80-8a25c04abfff" providerId="ADAL" clId="{EE97D3FE-9ACA-4467-98E5-532EC45D9D1C}" dt="2024-03-01T08:52:18.249" v="6747"/>
          <ac:spMkLst>
            <pc:docMk/>
            <pc:sldMk cId="3199894501" sldId="910"/>
            <ac:spMk id="10" creationId="{EEA066F1-4A7D-B68F-34DF-6F1D18C4E56F}"/>
          </ac:spMkLst>
        </pc:spChg>
        <pc:graphicFrameChg chg="add mod ord modVis replST">
          <ac:chgData name="Nataliia Chornii (UA)" userId="4e4b8b3d-5f31-49bb-9f80-8a25c04abfff" providerId="ADAL" clId="{EE97D3FE-9ACA-4467-98E5-532EC45D9D1C}" dt="2024-03-01T08:52:18.249" v="6749"/>
          <ac:graphicFrameMkLst>
            <pc:docMk/>
            <pc:sldMk cId="3199894501" sldId="910"/>
            <ac:graphicFrameMk id="5" creationId="{4A20AA20-F2D3-9614-7722-B09E0DE4ECC0}"/>
          </ac:graphicFrameMkLst>
        </pc:graphicFrameChg>
      </pc:sldChg>
      <pc:sldChg chg="addSp delSp modSp mod modClrScheme chgLayout">
        <pc:chgData name="Nataliia Chornii (UA)" userId="4e4b8b3d-5f31-49bb-9f80-8a25c04abfff" providerId="ADAL" clId="{EE97D3FE-9ACA-4467-98E5-532EC45D9D1C}" dt="2024-03-11T14:29:22.321" v="24227"/>
        <pc:sldMkLst>
          <pc:docMk/>
          <pc:sldMk cId="2040534611" sldId="911"/>
        </pc:sldMkLst>
        <pc:spChg chg="add mod">
          <ac:chgData name="Nataliia Chornii (UA)" userId="4e4b8b3d-5f31-49bb-9f80-8a25c04abfff" providerId="ADAL" clId="{EE97D3FE-9ACA-4467-98E5-532EC45D9D1C}" dt="2024-03-11T14:25:48.340" v="24082"/>
          <ac:spMkLst>
            <pc:docMk/>
            <pc:sldMk cId="2040534611" sldId="911"/>
            <ac:spMk id="2" creationId="{9E458C61-554D-06B9-D7BB-AE586E6578F7}"/>
          </ac:spMkLst>
        </pc:spChg>
        <pc:spChg chg="del mod ord">
          <ac:chgData name="Nataliia Chornii (UA)" userId="4e4b8b3d-5f31-49bb-9f80-8a25c04abfff" providerId="ADAL" clId="{EE97D3FE-9ACA-4467-98E5-532EC45D9D1C}" dt="2024-03-01T14:34:40.274" v="15208" actId="478"/>
          <ac:spMkLst>
            <pc:docMk/>
            <pc:sldMk cId="2040534611" sldId="911"/>
            <ac:spMk id="2" creationId="{A1EA5253-E431-DFFC-E94A-6F8E087CC2C0}"/>
          </ac:spMkLst>
        </pc:spChg>
        <pc:spChg chg="mod ord">
          <ac:chgData name="Nataliia Chornii (UA)" userId="4e4b8b3d-5f31-49bb-9f80-8a25c04abfff" providerId="ADAL" clId="{EE97D3FE-9ACA-4467-98E5-532EC45D9D1C}" dt="2024-03-01T14:36:12.593" v="15364" actId="948"/>
          <ac:spMkLst>
            <pc:docMk/>
            <pc:sldMk cId="2040534611" sldId="911"/>
            <ac:spMk id="3" creationId="{F4CCF02E-F3C4-C376-8F56-61BD85A2E74B}"/>
          </ac:spMkLst>
        </pc:spChg>
        <pc:spChg chg="mod ord">
          <ac:chgData name="Nataliia Chornii (UA)" userId="4e4b8b3d-5f31-49bb-9f80-8a25c04abfff" providerId="ADAL" clId="{EE97D3FE-9ACA-4467-98E5-532EC45D9D1C}" dt="2024-03-01T14:36:03.362" v="15240"/>
          <ac:spMkLst>
            <pc:docMk/>
            <pc:sldMk cId="2040534611" sldId="911"/>
            <ac:spMk id="4" creationId="{872966CD-924A-B939-E655-A6BAF817DCBF}"/>
          </ac:spMkLst>
        </pc:spChg>
        <pc:spChg chg="del">
          <ac:chgData name="Nataliia Chornii (UA)" userId="4e4b8b3d-5f31-49bb-9f80-8a25c04abfff" providerId="ADAL" clId="{EE97D3FE-9ACA-4467-98E5-532EC45D9D1C}" dt="2024-03-01T14:34:32.903" v="15179" actId="478"/>
          <ac:spMkLst>
            <pc:docMk/>
            <pc:sldMk cId="2040534611" sldId="911"/>
            <ac:spMk id="5" creationId="{FF11D90A-8D15-0E43-4C2E-D42257331C13}"/>
          </ac:spMkLst>
        </pc:spChg>
        <pc:spChg chg="del">
          <ac:chgData name="Nataliia Chornii (UA)" userId="4e4b8b3d-5f31-49bb-9f80-8a25c04abfff" providerId="ADAL" clId="{EE97D3FE-9ACA-4467-98E5-532EC45D9D1C}" dt="2024-03-01T14:34:32.903" v="15179" actId="478"/>
          <ac:spMkLst>
            <pc:docMk/>
            <pc:sldMk cId="2040534611" sldId="911"/>
            <ac:spMk id="6" creationId="{0F377277-EC46-FAC5-F379-194FCD82679C}"/>
          </ac:spMkLst>
        </pc:spChg>
        <pc:spChg chg="mod">
          <ac:chgData name="Nataliia Chornii (UA)" userId="4e4b8b3d-5f31-49bb-9f80-8a25c04abfff" providerId="ADAL" clId="{EE97D3FE-9ACA-4467-98E5-532EC45D9D1C}" dt="2024-03-11T14:25:48.340" v="24082"/>
          <ac:spMkLst>
            <pc:docMk/>
            <pc:sldMk cId="2040534611" sldId="911"/>
            <ac:spMk id="6" creationId="{B16CEE4A-5A1D-1C50-F676-262AFCC2B5D6}"/>
          </ac:spMkLst>
        </pc:spChg>
        <pc:spChg chg="mod ord">
          <ac:chgData name="Nataliia Chornii (UA)" userId="4e4b8b3d-5f31-49bb-9f80-8a25c04abfff" providerId="ADAL" clId="{EE97D3FE-9ACA-4467-98E5-532EC45D9D1C}" dt="2024-03-01T14:36:03.362" v="15242"/>
          <ac:spMkLst>
            <pc:docMk/>
            <pc:sldMk cId="2040534611" sldId="911"/>
            <ac:spMk id="7" creationId="{C808DA25-FA14-FF3C-E908-05869001F803}"/>
          </ac:spMkLst>
        </pc:spChg>
        <pc:spChg chg="add del mod modVis">
          <ac:chgData name="Nataliia Chornii (UA)" userId="4e4b8b3d-5f31-49bb-9f80-8a25c04abfff" providerId="ADAL" clId="{EE97D3FE-9ACA-4467-98E5-532EC45D9D1C}" dt="2024-03-01T08:48:59.510" v="1378"/>
          <ac:spMkLst>
            <pc:docMk/>
            <pc:sldMk cId="2040534611" sldId="911"/>
            <ac:spMk id="8" creationId="{4F83B753-9A06-EA81-347B-36923A8CF7D0}"/>
          </ac:spMkLst>
        </pc:spChg>
        <pc:spChg chg="mod">
          <ac:chgData name="Nataliia Chornii (UA)" userId="4e4b8b3d-5f31-49bb-9f80-8a25c04abfff" providerId="ADAL" clId="{EE97D3FE-9ACA-4467-98E5-532EC45D9D1C}" dt="2024-03-11T14:25:48.340" v="24082"/>
          <ac:spMkLst>
            <pc:docMk/>
            <pc:sldMk cId="2040534611" sldId="911"/>
            <ac:spMk id="8" creationId="{80DA1EB8-C2A5-1767-FB72-EE0D8D275CE6}"/>
          </ac:spMkLst>
        </pc:spChg>
        <pc:spChg chg="del mod">
          <ac:chgData name="Nataliia Chornii (UA)" userId="4e4b8b3d-5f31-49bb-9f80-8a25c04abfff" providerId="ADAL" clId="{EE97D3FE-9ACA-4467-98E5-532EC45D9D1C}" dt="2024-03-01T14:35:01.182" v="15216" actId="478"/>
          <ac:spMkLst>
            <pc:docMk/>
            <pc:sldMk cId="2040534611" sldId="911"/>
            <ac:spMk id="9" creationId="{87836C41-8052-C603-D229-3FB1E5E9CE1A}"/>
          </ac:spMkLst>
        </pc:spChg>
        <pc:spChg chg="mod">
          <ac:chgData name="Nataliia Chornii (UA)" userId="4e4b8b3d-5f31-49bb-9f80-8a25c04abfff" providerId="ADAL" clId="{EE97D3FE-9ACA-4467-98E5-532EC45D9D1C}" dt="2024-03-11T14:25:48.340" v="24082"/>
          <ac:spMkLst>
            <pc:docMk/>
            <pc:sldMk cId="2040534611" sldId="911"/>
            <ac:spMk id="9" creationId="{C301C69D-29D4-8E46-8F5D-861EE5283AA0}"/>
          </ac:spMkLst>
        </pc:spChg>
        <pc:spChg chg="del mod ord">
          <ac:chgData name="Nataliia Chornii (UA)" userId="4e4b8b3d-5f31-49bb-9f80-8a25c04abfff" providerId="ADAL" clId="{EE97D3FE-9ACA-4467-98E5-532EC45D9D1C}" dt="2024-03-01T14:36:07.811" v="15335" actId="478"/>
          <ac:spMkLst>
            <pc:docMk/>
            <pc:sldMk cId="2040534611" sldId="911"/>
            <ac:spMk id="10" creationId="{489B7680-E5EE-2A50-7733-37F2F144B869}"/>
          </ac:spMkLst>
        </pc:spChg>
        <pc:spChg chg="mod">
          <ac:chgData name="Nataliia Chornii (UA)" userId="4e4b8b3d-5f31-49bb-9f80-8a25c04abfff" providerId="ADAL" clId="{EE97D3FE-9ACA-4467-98E5-532EC45D9D1C}" dt="2024-03-11T14:25:48.340" v="24082"/>
          <ac:spMkLst>
            <pc:docMk/>
            <pc:sldMk cId="2040534611" sldId="911"/>
            <ac:spMk id="10" creationId="{C4455AA2-7A71-7F41-7FCB-FE466701C9F4}"/>
          </ac:spMkLst>
        </pc:spChg>
        <pc:spChg chg="del">
          <ac:chgData name="Nataliia Chornii (UA)" userId="4e4b8b3d-5f31-49bb-9f80-8a25c04abfff" providerId="ADAL" clId="{EE97D3FE-9ACA-4467-98E5-532EC45D9D1C}" dt="2024-03-01T14:34:25.926" v="15151" actId="478"/>
          <ac:spMkLst>
            <pc:docMk/>
            <pc:sldMk cId="2040534611" sldId="911"/>
            <ac:spMk id="11" creationId="{597D3F9D-B1C1-4C06-C77E-3378939A3472}"/>
          </ac:spMkLst>
        </pc:spChg>
        <pc:spChg chg="mod">
          <ac:chgData name="Nataliia Chornii (UA)" userId="4e4b8b3d-5f31-49bb-9f80-8a25c04abfff" providerId="ADAL" clId="{EE97D3FE-9ACA-4467-98E5-532EC45D9D1C}" dt="2024-03-11T14:25:48.340" v="24082"/>
          <ac:spMkLst>
            <pc:docMk/>
            <pc:sldMk cId="2040534611" sldId="911"/>
            <ac:spMk id="11" creationId="{8B085F7F-EECD-F386-B4A0-E478373322D9}"/>
          </ac:spMkLst>
        </pc:spChg>
        <pc:spChg chg="add del mod modVis">
          <ac:chgData name="Nataliia Chornii (UA)" userId="4e4b8b3d-5f31-49bb-9f80-8a25c04abfff" providerId="ADAL" clId="{EE97D3FE-9ACA-4467-98E5-532EC45D9D1C}" dt="2024-03-01T08:49:33.761" v="2822"/>
          <ac:spMkLst>
            <pc:docMk/>
            <pc:sldMk cId="2040534611" sldId="911"/>
            <ac:spMk id="13" creationId="{763C3487-549D-87B0-924C-5B74DBD48FCD}"/>
          </ac:spMkLst>
        </pc:spChg>
        <pc:spChg chg="mod">
          <ac:chgData name="Nataliia Chornii (UA)" userId="4e4b8b3d-5f31-49bb-9f80-8a25c04abfff" providerId="ADAL" clId="{EE97D3FE-9ACA-4467-98E5-532EC45D9D1C}" dt="2024-03-11T14:25:48.340" v="24082"/>
          <ac:spMkLst>
            <pc:docMk/>
            <pc:sldMk cId="2040534611" sldId="911"/>
            <ac:spMk id="13" creationId="{7C842237-BEA9-F85C-0298-E88B05249BC1}"/>
          </ac:spMkLst>
        </pc:spChg>
        <pc:spChg chg="add del mod modVis">
          <ac:chgData name="Nataliia Chornii (UA)" userId="4e4b8b3d-5f31-49bb-9f80-8a25c04abfff" providerId="ADAL" clId="{EE97D3FE-9ACA-4467-98E5-532EC45D9D1C}" dt="2024-03-01T08:49:59.804" v="3810"/>
          <ac:spMkLst>
            <pc:docMk/>
            <pc:sldMk cId="2040534611" sldId="911"/>
            <ac:spMk id="14" creationId="{112CD9F2-1C56-959E-3001-365FC743847C}"/>
          </ac:spMkLst>
        </pc:spChg>
        <pc:spChg chg="add mod">
          <ac:chgData name="Nataliia Chornii (UA)" userId="4e4b8b3d-5f31-49bb-9f80-8a25c04abfff" providerId="ADAL" clId="{EE97D3FE-9ACA-4467-98E5-532EC45D9D1C}" dt="2024-03-11T14:29:22.321" v="24227"/>
          <ac:spMkLst>
            <pc:docMk/>
            <pc:sldMk cId="2040534611" sldId="911"/>
            <ac:spMk id="14" creationId="{701D06DD-CC74-FC08-A012-A28782C73BD3}"/>
          </ac:spMkLst>
        </pc:spChg>
        <pc:spChg chg="add del mod modVis">
          <ac:chgData name="Nataliia Chornii (UA)" userId="4e4b8b3d-5f31-49bb-9f80-8a25c04abfff" providerId="ADAL" clId="{EE97D3FE-9ACA-4467-98E5-532EC45D9D1C}" dt="2024-03-01T08:51:26.106" v="4798"/>
          <ac:spMkLst>
            <pc:docMk/>
            <pc:sldMk cId="2040534611" sldId="911"/>
            <ac:spMk id="15" creationId="{9567CB72-2ECD-25FF-4BB1-A6FBAB13BB6F}"/>
          </ac:spMkLst>
        </pc:spChg>
        <pc:spChg chg="add del mod modVis">
          <ac:chgData name="Nataliia Chornii (UA)" userId="4e4b8b3d-5f31-49bb-9f80-8a25c04abfff" providerId="ADAL" clId="{EE97D3FE-9ACA-4467-98E5-532EC45D9D1C}" dt="2024-03-01T08:51:56.110" v="5787"/>
          <ac:spMkLst>
            <pc:docMk/>
            <pc:sldMk cId="2040534611" sldId="911"/>
            <ac:spMk id="16" creationId="{9E3FDEF1-3FB5-4664-F4C3-21DFFC06AADB}"/>
          </ac:spMkLst>
        </pc:spChg>
        <pc:spChg chg="add del mod modVis">
          <ac:chgData name="Nataliia Chornii (UA)" userId="4e4b8b3d-5f31-49bb-9f80-8a25c04abfff" providerId="ADAL" clId="{EE97D3FE-9ACA-4467-98E5-532EC45D9D1C}" dt="2024-03-01T08:52:18.281" v="6775"/>
          <ac:spMkLst>
            <pc:docMk/>
            <pc:sldMk cId="2040534611" sldId="911"/>
            <ac:spMk id="17" creationId="{AD5DF035-7C76-3E5E-851C-E04130CEE42D}"/>
          </ac:spMkLst>
        </pc:spChg>
        <pc:spChg chg="add del mod modVis">
          <ac:chgData name="Nataliia Chornii (UA)" userId="4e4b8b3d-5f31-49bb-9f80-8a25c04abfff" providerId="ADAL" clId="{EE97D3FE-9ACA-4467-98E5-532EC45D9D1C}" dt="2024-03-01T14:34:30.409" v="15176"/>
          <ac:spMkLst>
            <pc:docMk/>
            <pc:sldMk cId="2040534611" sldId="911"/>
            <ac:spMk id="18" creationId="{7EC4C6AC-A0AE-E189-277F-C4A1C81F3D45}"/>
          </ac:spMkLst>
        </pc:spChg>
        <pc:spChg chg="add del mod modVis">
          <ac:chgData name="Nataliia Chornii (UA)" userId="4e4b8b3d-5f31-49bb-9f80-8a25c04abfff" providerId="ADAL" clId="{EE97D3FE-9ACA-4467-98E5-532EC45D9D1C}" dt="2024-03-01T14:34:36.725" v="15204"/>
          <ac:spMkLst>
            <pc:docMk/>
            <pc:sldMk cId="2040534611" sldId="911"/>
            <ac:spMk id="19" creationId="{96166626-ECB1-A597-8A6C-14809743E8B1}"/>
          </ac:spMkLst>
        </pc:spChg>
        <pc:spChg chg="add del mod">
          <ac:chgData name="Nataliia Chornii (UA)" userId="4e4b8b3d-5f31-49bb-9f80-8a25c04abfff" providerId="ADAL" clId="{EE97D3FE-9ACA-4467-98E5-532EC45D9D1C}" dt="2024-03-01T14:35:48.920" v="15224" actId="478"/>
          <ac:spMkLst>
            <pc:docMk/>
            <pc:sldMk cId="2040534611" sldId="911"/>
            <ac:spMk id="21" creationId="{09BE8A4A-7DB9-2874-D1F6-736E02973254}"/>
          </ac:spMkLst>
        </pc:spChg>
        <pc:spChg chg="add mod ord">
          <ac:chgData name="Nataliia Chornii (UA)" userId="4e4b8b3d-5f31-49bb-9f80-8a25c04abfff" providerId="ADAL" clId="{EE97D3FE-9ACA-4467-98E5-532EC45D9D1C}" dt="2024-03-01T14:50:02.277" v="15785" actId="14100"/>
          <ac:spMkLst>
            <pc:docMk/>
            <pc:sldMk cId="2040534611" sldId="911"/>
            <ac:spMk id="22" creationId="{138C1537-B2D2-8CD4-AB9A-7BDF4C5BA5B6}"/>
          </ac:spMkLst>
        </pc:spChg>
        <pc:spChg chg="add mod ord">
          <ac:chgData name="Nataliia Chornii (UA)" userId="4e4b8b3d-5f31-49bb-9f80-8a25c04abfff" providerId="ADAL" clId="{EE97D3FE-9ACA-4467-98E5-532EC45D9D1C}" dt="2024-03-01T14:52:55.335" v="15836" actId="554"/>
          <ac:spMkLst>
            <pc:docMk/>
            <pc:sldMk cId="2040534611" sldId="911"/>
            <ac:spMk id="23" creationId="{2B31A048-71F3-36BF-C023-498023B6C82B}"/>
          </ac:spMkLst>
        </pc:spChg>
        <pc:spChg chg="add del mod ord">
          <ac:chgData name="Nataliia Chornii (UA)" userId="4e4b8b3d-5f31-49bb-9f80-8a25c04abfff" providerId="ADAL" clId="{EE97D3FE-9ACA-4467-98E5-532EC45D9D1C}" dt="2024-03-01T14:49:59.297" v="15783" actId="478"/>
          <ac:spMkLst>
            <pc:docMk/>
            <pc:sldMk cId="2040534611" sldId="911"/>
            <ac:spMk id="24" creationId="{EBD0208C-25C6-A560-5828-A73D1E2D281D}"/>
          </ac:spMkLst>
        </pc:spChg>
        <pc:spChg chg="add del mod ord">
          <ac:chgData name="Nataliia Chornii (UA)" userId="4e4b8b3d-5f31-49bb-9f80-8a25c04abfff" providerId="ADAL" clId="{EE97D3FE-9ACA-4467-98E5-532EC45D9D1C}" dt="2024-03-01T14:49:59.297" v="15783" actId="478"/>
          <ac:spMkLst>
            <pc:docMk/>
            <pc:sldMk cId="2040534611" sldId="911"/>
            <ac:spMk id="25" creationId="{CC03C91D-ED8C-FBDC-7827-F7F42FEE41B5}"/>
          </ac:spMkLst>
        </pc:spChg>
        <pc:spChg chg="add del mod ord">
          <ac:chgData name="Nataliia Chornii (UA)" userId="4e4b8b3d-5f31-49bb-9f80-8a25c04abfff" providerId="ADAL" clId="{EE97D3FE-9ACA-4467-98E5-532EC45D9D1C}" dt="2024-03-01T14:49:59.297" v="15783" actId="478"/>
          <ac:spMkLst>
            <pc:docMk/>
            <pc:sldMk cId="2040534611" sldId="911"/>
            <ac:spMk id="26" creationId="{E27C182D-3521-2469-CB38-BE9FB5B96DB6}"/>
          </ac:spMkLst>
        </pc:spChg>
        <pc:spChg chg="add del mod ord">
          <ac:chgData name="Nataliia Chornii (UA)" userId="4e4b8b3d-5f31-49bb-9f80-8a25c04abfff" providerId="ADAL" clId="{EE97D3FE-9ACA-4467-98E5-532EC45D9D1C}" dt="2024-03-01T14:49:59.297" v="15783" actId="478"/>
          <ac:spMkLst>
            <pc:docMk/>
            <pc:sldMk cId="2040534611" sldId="911"/>
            <ac:spMk id="27" creationId="{F0CFED96-812C-732C-1808-657303CAE18D}"/>
          </ac:spMkLst>
        </pc:spChg>
        <pc:spChg chg="add del mod ord">
          <ac:chgData name="Nataliia Chornii (UA)" userId="4e4b8b3d-5f31-49bb-9f80-8a25c04abfff" providerId="ADAL" clId="{EE97D3FE-9ACA-4467-98E5-532EC45D9D1C}" dt="2024-03-01T14:49:59.297" v="15783" actId="478"/>
          <ac:spMkLst>
            <pc:docMk/>
            <pc:sldMk cId="2040534611" sldId="911"/>
            <ac:spMk id="28" creationId="{6697E3E3-7331-8612-E136-550A62B3CCD3}"/>
          </ac:spMkLst>
        </pc:spChg>
        <pc:spChg chg="add del mod ord">
          <ac:chgData name="Nataliia Chornii (UA)" userId="4e4b8b3d-5f31-49bb-9f80-8a25c04abfff" providerId="ADAL" clId="{EE97D3FE-9ACA-4467-98E5-532EC45D9D1C}" dt="2024-03-01T14:49:59.297" v="15783" actId="478"/>
          <ac:spMkLst>
            <pc:docMk/>
            <pc:sldMk cId="2040534611" sldId="911"/>
            <ac:spMk id="29" creationId="{71094F2F-9782-6974-0410-6D145646ED3E}"/>
          </ac:spMkLst>
        </pc:spChg>
        <pc:spChg chg="add del mod ord">
          <ac:chgData name="Nataliia Chornii (UA)" userId="4e4b8b3d-5f31-49bb-9f80-8a25c04abfff" providerId="ADAL" clId="{EE97D3FE-9ACA-4467-98E5-532EC45D9D1C}" dt="2024-03-01T14:52:19.561" v="15831" actId="478"/>
          <ac:spMkLst>
            <pc:docMk/>
            <pc:sldMk cId="2040534611" sldId="911"/>
            <ac:spMk id="30" creationId="{AA5648CE-A932-9309-DBAB-9F20F31666F5}"/>
          </ac:spMkLst>
        </pc:spChg>
        <pc:spChg chg="add del mod ord">
          <ac:chgData name="Nataliia Chornii (UA)" userId="4e4b8b3d-5f31-49bb-9f80-8a25c04abfff" providerId="ADAL" clId="{EE97D3FE-9ACA-4467-98E5-532EC45D9D1C}" dt="2024-03-01T14:52:19.561" v="15831" actId="478"/>
          <ac:spMkLst>
            <pc:docMk/>
            <pc:sldMk cId="2040534611" sldId="911"/>
            <ac:spMk id="31" creationId="{F0CF7F5D-8F43-639B-F1FB-D9DD2C45FB8C}"/>
          </ac:spMkLst>
        </pc:spChg>
        <pc:spChg chg="add del mod ord">
          <ac:chgData name="Nataliia Chornii (UA)" userId="4e4b8b3d-5f31-49bb-9f80-8a25c04abfff" providerId="ADAL" clId="{EE97D3FE-9ACA-4467-98E5-532EC45D9D1C}" dt="2024-03-01T14:52:19.561" v="15831" actId="478"/>
          <ac:spMkLst>
            <pc:docMk/>
            <pc:sldMk cId="2040534611" sldId="911"/>
            <ac:spMk id="32" creationId="{6C591172-BBE0-0C20-038E-5E313C3D510E}"/>
          </ac:spMkLst>
        </pc:spChg>
        <pc:spChg chg="add del mod ord">
          <ac:chgData name="Nataliia Chornii (UA)" userId="4e4b8b3d-5f31-49bb-9f80-8a25c04abfff" providerId="ADAL" clId="{EE97D3FE-9ACA-4467-98E5-532EC45D9D1C}" dt="2024-03-01T14:52:19.561" v="15831" actId="478"/>
          <ac:spMkLst>
            <pc:docMk/>
            <pc:sldMk cId="2040534611" sldId="911"/>
            <ac:spMk id="33" creationId="{3FCF75A8-88FC-8D2B-2755-55EC3937EFC5}"/>
          </ac:spMkLst>
        </pc:spChg>
        <pc:spChg chg="add del mod ord">
          <ac:chgData name="Nataliia Chornii (UA)" userId="4e4b8b3d-5f31-49bb-9f80-8a25c04abfff" providerId="ADAL" clId="{EE97D3FE-9ACA-4467-98E5-532EC45D9D1C}" dt="2024-03-01T14:52:19.561" v="15831" actId="478"/>
          <ac:spMkLst>
            <pc:docMk/>
            <pc:sldMk cId="2040534611" sldId="911"/>
            <ac:spMk id="34" creationId="{060F3344-D739-6C91-C618-783E7E52BA12}"/>
          </ac:spMkLst>
        </pc:spChg>
        <pc:spChg chg="add del mod ord">
          <ac:chgData name="Nataliia Chornii (UA)" userId="4e4b8b3d-5f31-49bb-9f80-8a25c04abfff" providerId="ADAL" clId="{EE97D3FE-9ACA-4467-98E5-532EC45D9D1C}" dt="2024-03-01T14:52:19.561" v="15831" actId="478"/>
          <ac:spMkLst>
            <pc:docMk/>
            <pc:sldMk cId="2040534611" sldId="911"/>
            <ac:spMk id="35" creationId="{E1432C7A-7911-6AD7-71EB-553BFC12B921}"/>
          </ac:spMkLst>
        </pc:spChg>
        <pc:spChg chg="add del mod ord">
          <ac:chgData name="Nataliia Chornii (UA)" userId="4e4b8b3d-5f31-49bb-9f80-8a25c04abfff" providerId="ADAL" clId="{EE97D3FE-9ACA-4467-98E5-532EC45D9D1C}" dt="2024-03-01T14:52:19.561" v="15831" actId="478"/>
          <ac:spMkLst>
            <pc:docMk/>
            <pc:sldMk cId="2040534611" sldId="911"/>
            <ac:spMk id="36" creationId="{97FCB212-1DE2-B913-BCA0-CC35D96752FF}"/>
          </ac:spMkLst>
        </pc:spChg>
        <pc:spChg chg="add mod ord">
          <ac:chgData name="Nataliia Chornii (UA)" userId="4e4b8b3d-5f31-49bb-9f80-8a25c04abfff" providerId="ADAL" clId="{EE97D3FE-9ACA-4467-98E5-532EC45D9D1C}" dt="2024-03-01T14:53:00.592" v="15838" actId="465"/>
          <ac:spMkLst>
            <pc:docMk/>
            <pc:sldMk cId="2040534611" sldId="911"/>
            <ac:spMk id="37" creationId="{C2CA78DD-F69A-5D59-15A8-FCB689B70AC2}"/>
          </ac:spMkLst>
        </pc:spChg>
        <pc:spChg chg="add mod ord">
          <ac:chgData name="Nataliia Chornii (UA)" userId="4e4b8b3d-5f31-49bb-9f80-8a25c04abfff" providerId="ADAL" clId="{EE97D3FE-9ACA-4467-98E5-532EC45D9D1C}" dt="2024-03-01T14:53:00.592" v="15838" actId="465"/>
          <ac:spMkLst>
            <pc:docMk/>
            <pc:sldMk cId="2040534611" sldId="911"/>
            <ac:spMk id="38" creationId="{FED4070B-D467-BCBB-40C2-1A6D5681C2FA}"/>
          </ac:spMkLst>
        </pc:spChg>
        <pc:spChg chg="add mod ord">
          <ac:chgData name="Nataliia Chornii (UA)" userId="4e4b8b3d-5f31-49bb-9f80-8a25c04abfff" providerId="ADAL" clId="{EE97D3FE-9ACA-4467-98E5-532EC45D9D1C}" dt="2024-03-01T14:53:00.592" v="15838" actId="465"/>
          <ac:spMkLst>
            <pc:docMk/>
            <pc:sldMk cId="2040534611" sldId="911"/>
            <ac:spMk id="39" creationId="{A7A994A1-7F1E-6A81-8CD8-5804507EC70D}"/>
          </ac:spMkLst>
        </pc:spChg>
        <pc:spChg chg="add mod ord">
          <ac:chgData name="Nataliia Chornii (UA)" userId="4e4b8b3d-5f31-49bb-9f80-8a25c04abfff" providerId="ADAL" clId="{EE97D3FE-9ACA-4467-98E5-532EC45D9D1C}" dt="2024-03-01T14:53:00.592" v="15838" actId="465"/>
          <ac:spMkLst>
            <pc:docMk/>
            <pc:sldMk cId="2040534611" sldId="911"/>
            <ac:spMk id="40" creationId="{EB86B500-D698-3756-B7C3-C05978613A25}"/>
          </ac:spMkLst>
        </pc:spChg>
        <pc:spChg chg="add mod ord">
          <ac:chgData name="Nataliia Chornii (UA)" userId="4e4b8b3d-5f31-49bb-9f80-8a25c04abfff" providerId="ADAL" clId="{EE97D3FE-9ACA-4467-98E5-532EC45D9D1C}" dt="2024-03-01T14:52:57.254" v="15837" actId="554"/>
          <ac:spMkLst>
            <pc:docMk/>
            <pc:sldMk cId="2040534611" sldId="911"/>
            <ac:spMk id="41" creationId="{43FCA442-D4C2-FD75-2AE1-CE8B3AF7F9DF}"/>
          </ac:spMkLst>
        </pc:spChg>
        <pc:spChg chg="add mod ord">
          <ac:chgData name="Nataliia Chornii (UA)" userId="4e4b8b3d-5f31-49bb-9f80-8a25c04abfff" providerId="ADAL" clId="{EE97D3FE-9ACA-4467-98E5-532EC45D9D1C}" dt="2024-03-01T14:53:00.592" v="15838" actId="465"/>
          <ac:spMkLst>
            <pc:docMk/>
            <pc:sldMk cId="2040534611" sldId="911"/>
            <ac:spMk id="42" creationId="{54557E55-3507-1776-B43F-2BF914364CDC}"/>
          </ac:spMkLst>
        </pc:spChg>
        <pc:spChg chg="add mod ord">
          <ac:chgData name="Nataliia Chornii (UA)" userId="4e4b8b3d-5f31-49bb-9f80-8a25c04abfff" providerId="ADAL" clId="{EE97D3FE-9ACA-4467-98E5-532EC45D9D1C}" dt="2024-03-01T14:53:00.592" v="15838" actId="465"/>
          <ac:spMkLst>
            <pc:docMk/>
            <pc:sldMk cId="2040534611" sldId="911"/>
            <ac:spMk id="43" creationId="{88DB8DA6-ED94-CDC8-8ACB-3050ABC429D6}"/>
          </ac:spMkLst>
        </pc:spChg>
        <pc:spChg chg="add del mod ord">
          <ac:chgData name="Nataliia Chornii (UA)" userId="4e4b8b3d-5f31-49bb-9f80-8a25c04abfff" providerId="ADAL" clId="{EE97D3FE-9ACA-4467-98E5-532EC45D9D1C}" dt="2024-03-01T14:49:59.297" v="15783" actId="478"/>
          <ac:spMkLst>
            <pc:docMk/>
            <pc:sldMk cId="2040534611" sldId="911"/>
            <ac:spMk id="51" creationId="{F97D3BA5-6DF9-B1B2-4AA9-B39A39FB1E47}"/>
          </ac:spMkLst>
        </pc:spChg>
        <pc:spChg chg="add del mod ord">
          <ac:chgData name="Nataliia Chornii (UA)" userId="4e4b8b3d-5f31-49bb-9f80-8a25c04abfff" providerId="ADAL" clId="{EE97D3FE-9ACA-4467-98E5-532EC45D9D1C}" dt="2024-03-01T14:49:59.297" v="15783" actId="478"/>
          <ac:spMkLst>
            <pc:docMk/>
            <pc:sldMk cId="2040534611" sldId="911"/>
            <ac:spMk id="52" creationId="{4D145187-74DA-0800-7193-ED44FEDB70F3}"/>
          </ac:spMkLst>
        </pc:spChg>
        <pc:spChg chg="add del mod ord">
          <ac:chgData name="Nataliia Chornii (UA)" userId="4e4b8b3d-5f31-49bb-9f80-8a25c04abfff" providerId="ADAL" clId="{EE97D3FE-9ACA-4467-98E5-532EC45D9D1C}" dt="2024-03-01T14:52:19.561" v="15831" actId="478"/>
          <ac:spMkLst>
            <pc:docMk/>
            <pc:sldMk cId="2040534611" sldId="911"/>
            <ac:spMk id="53" creationId="{7FDF12CD-098E-00CC-1799-C0249E7F034D}"/>
          </ac:spMkLst>
        </pc:spChg>
        <pc:spChg chg="add del mod ord">
          <ac:chgData name="Nataliia Chornii (UA)" userId="4e4b8b3d-5f31-49bb-9f80-8a25c04abfff" providerId="ADAL" clId="{EE97D3FE-9ACA-4467-98E5-532EC45D9D1C}" dt="2024-03-01T14:52:19.561" v="15831" actId="478"/>
          <ac:spMkLst>
            <pc:docMk/>
            <pc:sldMk cId="2040534611" sldId="911"/>
            <ac:spMk id="55" creationId="{49FD3A09-FA23-E1A8-4401-1598D86185A8}"/>
          </ac:spMkLst>
        </pc:spChg>
        <pc:spChg chg="add del mod ord">
          <ac:chgData name="Nataliia Chornii (UA)" userId="4e4b8b3d-5f31-49bb-9f80-8a25c04abfff" providerId="ADAL" clId="{EE97D3FE-9ACA-4467-98E5-532EC45D9D1C}" dt="2024-03-01T14:52:19.561" v="15831" actId="478"/>
          <ac:spMkLst>
            <pc:docMk/>
            <pc:sldMk cId="2040534611" sldId="911"/>
            <ac:spMk id="56" creationId="{5C6B71B2-CF4C-544E-95D5-E5CD705DEA27}"/>
          </ac:spMkLst>
        </pc:spChg>
        <pc:spChg chg="add del mod ord">
          <ac:chgData name="Nataliia Chornii (UA)" userId="4e4b8b3d-5f31-49bb-9f80-8a25c04abfff" providerId="ADAL" clId="{EE97D3FE-9ACA-4467-98E5-532EC45D9D1C}" dt="2024-03-01T14:52:19.561" v="15831" actId="478"/>
          <ac:spMkLst>
            <pc:docMk/>
            <pc:sldMk cId="2040534611" sldId="911"/>
            <ac:spMk id="57" creationId="{4E465F11-4186-C870-487D-8A3FC70A92E3}"/>
          </ac:spMkLst>
        </pc:spChg>
        <pc:spChg chg="add del mod ord">
          <ac:chgData name="Nataliia Chornii (UA)" userId="4e4b8b3d-5f31-49bb-9f80-8a25c04abfff" providerId="ADAL" clId="{EE97D3FE-9ACA-4467-98E5-532EC45D9D1C}" dt="2024-03-01T14:52:19.561" v="15831" actId="478"/>
          <ac:spMkLst>
            <pc:docMk/>
            <pc:sldMk cId="2040534611" sldId="911"/>
            <ac:spMk id="58" creationId="{F13EB724-2E64-1DE3-8405-21C8E1191363}"/>
          </ac:spMkLst>
        </pc:spChg>
        <pc:spChg chg="add del mod ord">
          <ac:chgData name="Nataliia Chornii (UA)" userId="4e4b8b3d-5f31-49bb-9f80-8a25c04abfff" providerId="ADAL" clId="{EE97D3FE-9ACA-4467-98E5-532EC45D9D1C}" dt="2024-03-01T14:52:19.561" v="15831" actId="478"/>
          <ac:spMkLst>
            <pc:docMk/>
            <pc:sldMk cId="2040534611" sldId="911"/>
            <ac:spMk id="59" creationId="{19D90C8F-E462-813A-11E0-BC7609CB8110}"/>
          </ac:spMkLst>
        </pc:spChg>
        <pc:spChg chg="add del mod ord">
          <ac:chgData name="Nataliia Chornii (UA)" userId="4e4b8b3d-5f31-49bb-9f80-8a25c04abfff" providerId="ADAL" clId="{EE97D3FE-9ACA-4467-98E5-532EC45D9D1C}" dt="2024-03-01T14:52:19.561" v="15831" actId="478"/>
          <ac:spMkLst>
            <pc:docMk/>
            <pc:sldMk cId="2040534611" sldId="911"/>
            <ac:spMk id="60" creationId="{86C1C186-284F-6D08-2DE7-A918447A2320}"/>
          </ac:spMkLst>
        </pc:spChg>
        <pc:spChg chg="add del mod ord">
          <ac:chgData name="Nataliia Chornii (UA)" userId="4e4b8b3d-5f31-49bb-9f80-8a25c04abfff" providerId="ADAL" clId="{EE97D3FE-9ACA-4467-98E5-532EC45D9D1C}" dt="2024-03-01T14:52:19.561" v="15831" actId="478"/>
          <ac:spMkLst>
            <pc:docMk/>
            <pc:sldMk cId="2040534611" sldId="911"/>
            <ac:spMk id="61" creationId="{B260619E-190F-32F4-6A72-B3FBEDE2F53B}"/>
          </ac:spMkLst>
        </pc:spChg>
        <pc:spChg chg="add del mod ord">
          <ac:chgData name="Nataliia Chornii (UA)" userId="4e4b8b3d-5f31-49bb-9f80-8a25c04abfff" providerId="ADAL" clId="{EE97D3FE-9ACA-4467-98E5-532EC45D9D1C}" dt="2024-03-01T14:52:19.561" v="15831" actId="478"/>
          <ac:spMkLst>
            <pc:docMk/>
            <pc:sldMk cId="2040534611" sldId="911"/>
            <ac:spMk id="62" creationId="{6024767D-0510-BECF-7AF6-1A6CECCD4E97}"/>
          </ac:spMkLst>
        </pc:spChg>
        <pc:spChg chg="add del mod ord">
          <ac:chgData name="Nataliia Chornii (UA)" userId="4e4b8b3d-5f31-49bb-9f80-8a25c04abfff" providerId="ADAL" clId="{EE97D3FE-9ACA-4467-98E5-532EC45D9D1C}" dt="2024-03-01T14:52:19.561" v="15831" actId="478"/>
          <ac:spMkLst>
            <pc:docMk/>
            <pc:sldMk cId="2040534611" sldId="911"/>
            <ac:spMk id="63" creationId="{37D9A56B-37FE-F7E3-F8EC-5DBFE8A559A3}"/>
          </ac:spMkLst>
        </pc:spChg>
        <pc:spChg chg="add mod ord">
          <ac:chgData name="Nataliia Chornii (UA)" userId="4e4b8b3d-5f31-49bb-9f80-8a25c04abfff" providerId="ADAL" clId="{EE97D3FE-9ACA-4467-98E5-532EC45D9D1C}" dt="2024-03-01T14:36:05.600" v="15334" actId="553"/>
          <ac:spMkLst>
            <pc:docMk/>
            <pc:sldMk cId="2040534611" sldId="911"/>
            <ac:spMk id="65" creationId="{5251DA9C-70D5-D5D9-4097-7ABDC1CD630B}"/>
          </ac:spMkLst>
        </pc:spChg>
        <pc:spChg chg="add del mod ord">
          <ac:chgData name="Nataliia Chornii (UA)" userId="4e4b8b3d-5f31-49bb-9f80-8a25c04abfff" providerId="ADAL" clId="{EE97D3FE-9ACA-4467-98E5-532EC45D9D1C}" dt="2024-03-01T15:19:18.016" v="16984" actId="478"/>
          <ac:spMkLst>
            <pc:docMk/>
            <pc:sldMk cId="2040534611" sldId="911"/>
            <ac:spMk id="66" creationId="{1F744775-C00B-0E25-6908-9E732DEEDB5A}"/>
          </ac:spMkLst>
        </pc:spChg>
        <pc:spChg chg="add del mod modVis">
          <ac:chgData name="Nataliia Chornii (UA)" userId="4e4b8b3d-5f31-49bb-9f80-8a25c04abfff" providerId="ADAL" clId="{EE97D3FE-9ACA-4467-98E5-532EC45D9D1C}" dt="2024-03-01T14:36:10.336" v="15360"/>
          <ac:spMkLst>
            <pc:docMk/>
            <pc:sldMk cId="2040534611" sldId="911"/>
            <ac:spMk id="67" creationId="{A394D47B-3668-78DD-3DAD-8516BA14A086}"/>
          </ac:spMkLst>
        </pc:spChg>
        <pc:spChg chg="add del mod modVis">
          <ac:chgData name="Nataliia Chornii (UA)" userId="4e4b8b3d-5f31-49bb-9f80-8a25c04abfff" providerId="ADAL" clId="{EE97D3FE-9ACA-4467-98E5-532EC45D9D1C}" dt="2024-03-01T14:36:12.624" v="15387"/>
          <ac:spMkLst>
            <pc:docMk/>
            <pc:sldMk cId="2040534611" sldId="911"/>
            <ac:spMk id="68" creationId="{35FE566B-7E65-EBDA-D5FB-B083BEF4A98D}"/>
          </ac:spMkLst>
        </pc:spChg>
        <pc:spChg chg="add mod">
          <ac:chgData name="Nataliia Chornii (UA)" userId="4e4b8b3d-5f31-49bb-9f80-8a25c04abfff" providerId="ADAL" clId="{EE97D3FE-9ACA-4467-98E5-532EC45D9D1C}" dt="2024-03-01T14:50:00.369" v="15784"/>
          <ac:spMkLst>
            <pc:docMk/>
            <pc:sldMk cId="2040534611" sldId="911"/>
            <ac:spMk id="69" creationId="{1754B4E2-BA66-E8F8-14EA-81E58AEBD33C}"/>
          </ac:spMkLst>
        </pc:spChg>
        <pc:spChg chg="add mod">
          <ac:chgData name="Nataliia Chornii (UA)" userId="4e4b8b3d-5f31-49bb-9f80-8a25c04abfff" providerId="ADAL" clId="{EE97D3FE-9ACA-4467-98E5-532EC45D9D1C}" dt="2024-03-01T14:50:00.369" v="15784"/>
          <ac:spMkLst>
            <pc:docMk/>
            <pc:sldMk cId="2040534611" sldId="911"/>
            <ac:spMk id="70" creationId="{705A2BE6-2534-568C-D8AC-28B020789766}"/>
          </ac:spMkLst>
        </pc:spChg>
        <pc:spChg chg="add mod">
          <ac:chgData name="Nataliia Chornii (UA)" userId="4e4b8b3d-5f31-49bb-9f80-8a25c04abfff" providerId="ADAL" clId="{EE97D3FE-9ACA-4467-98E5-532EC45D9D1C}" dt="2024-03-01T14:50:00.369" v="15784"/>
          <ac:spMkLst>
            <pc:docMk/>
            <pc:sldMk cId="2040534611" sldId="911"/>
            <ac:spMk id="71" creationId="{130264A3-BC88-CC76-BE2A-96B8C1ED6604}"/>
          </ac:spMkLst>
        </pc:spChg>
        <pc:spChg chg="add mod">
          <ac:chgData name="Nataliia Chornii (UA)" userId="4e4b8b3d-5f31-49bb-9f80-8a25c04abfff" providerId="ADAL" clId="{EE97D3FE-9ACA-4467-98E5-532EC45D9D1C}" dt="2024-03-01T14:50:00.369" v="15784"/>
          <ac:spMkLst>
            <pc:docMk/>
            <pc:sldMk cId="2040534611" sldId="911"/>
            <ac:spMk id="72" creationId="{53E7A0B9-B7CF-ECFC-3C26-635AD3B8B524}"/>
          </ac:spMkLst>
        </pc:spChg>
        <pc:spChg chg="add mod">
          <ac:chgData name="Nataliia Chornii (UA)" userId="4e4b8b3d-5f31-49bb-9f80-8a25c04abfff" providerId="ADAL" clId="{EE97D3FE-9ACA-4467-98E5-532EC45D9D1C}" dt="2024-03-01T14:50:00.369" v="15784"/>
          <ac:spMkLst>
            <pc:docMk/>
            <pc:sldMk cId="2040534611" sldId="911"/>
            <ac:spMk id="73" creationId="{2B26BD32-8601-1467-322C-FF6778E2322E}"/>
          </ac:spMkLst>
        </pc:spChg>
        <pc:spChg chg="add mod">
          <ac:chgData name="Nataliia Chornii (UA)" userId="4e4b8b3d-5f31-49bb-9f80-8a25c04abfff" providerId="ADAL" clId="{EE97D3FE-9ACA-4467-98E5-532EC45D9D1C}" dt="2024-03-01T14:50:00.369" v="15784"/>
          <ac:spMkLst>
            <pc:docMk/>
            <pc:sldMk cId="2040534611" sldId="911"/>
            <ac:spMk id="74" creationId="{4EA69B3B-AA2B-1109-4D13-69B005A0B356}"/>
          </ac:spMkLst>
        </pc:spChg>
        <pc:spChg chg="add mod">
          <ac:chgData name="Nataliia Chornii (UA)" userId="4e4b8b3d-5f31-49bb-9f80-8a25c04abfff" providerId="ADAL" clId="{EE97D3FE-9ACA-4467-98E5-532EC45D9D1C}" dt="2024-03-01T14:50:00.369" v="15784"/>
          <ac:spMkLst>
            <pc:docMk/>
            <pc:sldMk cId="2040534611" sldId="911"/>
            <ac:spMk id="75" creationId="{0730373B-D43A-F431-867E-F1DE33819D4F}"/>
          </ac:spMkLst>
        </pc:spChg>
        <pc:spChg chg="add mod">
          <ac:chgData name="Nataliia Chornii (UA)" userId="4e4b8b3d-5f31-49bb-9f80-8a25c04abfff" providerId="ADAL" clId="{EE97D3FE-9ACA-4467-98E5-532EC45D9D1C}" dt="2024-03-01T14:50:00.369" v="15784"/>
          <ac:spMkLst>
            <pc:docMk/>
            <pc:sldMk cId="2040534611" sldId="911"/>
            <ac:spMk id="76" creationId="{DEC8C03A-2424-6BA6-DEF7-DA6DB86A3149}"/>
          </ac:spMkLst>
        </pc:spChg>
        <pc:spChg chg="add del mod">
          <ac:chgData name="Nataliia Chornii (UA)" userId="4e4b8b3d-5f31-49bb-9f80-8a25c04abfff" providerId="ADAL" clId="{EE97D3FE-9ACA-4467-98E5-532EC45D9D1C}" dt="2024-03-01T14:52:21.588" v="15833" actId="478"/>
          <ac:spMkLst>
            <pc:docMk/>
            <pc:sldMk cId="2040534611" sldId="911"/>
            <ac:spMk id="77" creationId="{023B2394-0AD3-1937-9655-7116865BAF59}"/>
          </ac:spMkLst>
        </pc:spChg>
        <pc:spChg chg="add mod">
          <ac:chgData name="Nataliia Chornii (UA)" userId="4e4b8b3d-5f31-49bb-9f80-8a25c04abfff" providerId="ADAL" clId="{EE97D3FE-9ACA-4467-98E5-532EC45D9D1C}" dt="2024-03-01T14:52:19.924" v="15832"/>
          <ac:spMkLst>
            <pc:docMk/>
            <pc:sldMk cId="2040534611" sldId="911"/>
            <ac:spMk id="78" creationId="{9B5A74B6-FB10-2BA0-78A1-B456635624A2}"/>
          </ac:spMkLst>
        </pc:spChg>
        <pc:spChg chg="add mod">
          <ac:chgData name="Nataliia Chornii (UA)" userId="4e4b8b3d-5f31-49bb-9f80-8a25c04abfff" providerId="ADAL" clId="{EE97D3FE-9ACA-4467-98E5-532EC45D9D1C}" dt="2024-03-01T14:52:19.924" v="15832"/>
          <ac:spMkLst>
            <pc:docMk/>
            <pc:sldMk cId="2040534611" sldId="911"/>
            <ac:spMk id="79" creationId="{D961E21E-3D2D-C986-38CE-61F71FBCFF50}"/>
          </ac:spMkLst>
        </pc:spChg>
        <pc:spChg chg="add mod">
          <ac:chgData name="Nataliia Chornii (UA)" userId="4e4b8b3d-5f31-49bb-9f80-8a25c04abfff" providerId="ADAL" clId="{EE97D3FE-9ACA-4467-98E5-532EC45D9D1C}" dt="2024-03-01T14:52:19.924" v="15832"/>
          <ac:spMkLst>
            <pc:docMk/>
            <pc:sldMk cId="2040534611" sldId="911"/>
            <ac:spMk id="80" creationId="{F866AF98-F376-21F3-55F6-697FFC7B0E11}"/>
          </ac:spMkLst>
        </pc:spChg>
        <pc:spChg chg="add mod">
          <ac:chgData name="Nataliia Chornii (UA)" userId="4e4b8b3d-5f31-49bb-9f80-8a25c04abfff" providerId="ADAL" clId="{EE97D3FE-9ACA-4467-98E5-532EC45D9D1C}" dt="2024-03-01T14:52:19.924" v="15832"/>
          <ac:spMkLst>
            <pc:docMk/>
            <pc:sldMk cId="2040534611" sldId="911"/>
            <ac:spMk id="81" creationId="{F09E0947-1C95-ED66-E901-09529C80D293}"/>
          </ac:spMkLst>
        </pc:spChg>
        <pc:spChg chg="add mod">
          <ac:chgData name="Nataliia Chornii (UA)" userId="4e4b8b3d-5f31-49bb-9f80-8a25c04abfff" providerId="ADAL" clId="{EE97D3FE-9ACA-4467-98E5-532EC45D9D1C}" dt="2024-03-01T14:52:19.924" v="15832"/>
          <ac:spMkLst>
            <pc:docMk/>
            <pc:sldMk cId="2040534611" sldId="911"/>
            <ac:spMk id="82" creationId="{75FEAD71-CE5A-45D5-40E3-0E43BE9CCEBC}"/>
          </ac:spMkLst>
        </pc:spChg>
        <pc:spChg chg="add mod">
          <ac:chgData name="Nataliia Chornii (UA)" userId="4e4b8b3d-5f31-49bb-9f80-8a25c04abfff" providerId="ADAL" clId="{EE97D3FE-9ACA-4467-98E5-532EC45D9D1C}" dt="2024-03-01T14:52:19.924" v="15832"/>
          <ac:spMkLst>
            <pc:docMk/>
            <pc:sldMk cId="2040534611" sldId="911"/>
            <ac:spMk id="83" creationId="{E20B9513-8BD3-2724-D843-7E666E9EA3D3}"/>
          </ac:spMkLst>
        </pc:spChg>
        <pc:spChg chg="add mod">
          <ac:chgData name="Nataliia Chornii (UA)" userId="4e4b8b3d-5f31-49bb-9f80-8a25c04abfff" providerId="ADAL" clId="{EE97D3FE-9ACA-4467-98E5-532EC45D9D1C}" dt="2024-03-01T14:52:57.254" v="15837" actId="554"/>
          <ac:spMkLst>
            <pc:docMk/>
            <pc:sldMk cId="2040534611" sldId="911"/>
            <ac:spMk id="84" creationId="{A3817198-39BA-8D82-E588-415D74AE79E6}"/>
          </ac:spMkLst>
        </pc:spChg>
        <pc:spChg chg="add mod">
          <ac:chgData name="Nataliia Chornii (UA)" userId="4e4b8b3d-5f31-49bb-9f80-8a25c04abfff" providerId="ADAL" clId="{EE97D3FE-9ACA-4467-98E5-532EC45D9D1C}" dt="2024-03-01T14:52:55.335" v="15836" actId="554"/>
          <ac:spMkLst>
            <pc:docMk/>
            <pc:sldMk cId="2040534611" sldId="911"/>
            <ac:spMk id="85" creationId="{709C1DD6-305F-6483-87C6-7A81A75D609F}"/>
          </ac:spMkLst>
        </pc:spChg>
        <pc:spChg chg="add mod">
          <ac:chgData name="Nataliia Chornii (UA)" userId="4e4b8b3d-5f31-49bb-9f80-8a25c04abfff" providerId="ADAL" clId="{EE97D3FE-9ACA-4467-98E5-532EC45D9D1C}" dt="2024-03-01T14:52:19.924" v="15832"/>
          <ac:spMkLst>
            <pc:docMk/>
            <pc:sldMk cId="2040534611" sldId="911"/>
            <ac:spMk id="87" creationId="{7F12CF72-4E98-AC6C-0CAA-069A7BEB7929}"/>
          </ac:spMkLst>
        </pc:spChg>
        <pc:spChg chg="add mod">
          <ac:chgData name="Nataliia Chornii (UA)" userId="4e4b8b3d-5f31-49bb-9f80-8a25c04abfff" providerId="ADAL" clId="{EE97D3FE-9ACA-4467-98E5-532EC45D9D1C}" dt="2024-03-01T14:52:19.924" v="15832"/>
          <ac:spMkLst>
            <pc:docMk/>
            <pc:sldMk cId="2040534611" sldId="911"/>
            <ac:spMk id="88" creationId="{8FDB5D70-C0CC-9736-705B-EC3C4510FADC}"/>
          </ac:spMkLst>
        </pc:spChg>
        <pc:spChg chg="add mod">
          <ac:chgData name="Nataliia Chornii (UA)" userId="4e4b8b3d-5f31-49bb-9f80-8a25c04abfff" providerId="ADAL" clId="{EE97D3FE-9ACA-4467-98E5-532EC45D9D1C}" dt="2024-03-01T14:52:19.924" v="15832"/>
          <ac:spMkLst>
            <pc:docMk/>
            <pc:sldMk cId="2040534611" sldId="911"/>
            <ac:spMk id="89" creationId="{61F01A40-A906-09F5-FA41-6FD189393CF8}"/>
          </ac:spMkLst>
        </pc:spChg>
        <pc:spChg chg="add mod">
          <ac:chgData name="Nataliia Chornii (UA)" userId="4e4b8b3d-5f31-49bb-9f80-8a25c04abfff" providerId="ADAL" clId="{EE97D3FE-9ACA-4467-98E5-532EC45D9D1C}" dt="2024-03-01T14:52:19.924" v="15832"/>
          <ac:spMkLst>
            <pc:docMk/>
            <pc:sldMk cId="2040534611" sldId="911"/>
            <ac:spMk id="90" creationId="{12611061-5823-F5D8-7807-AC0EE800FBC6}"/>
          </ac:spMkLst>
        </pc:spChg>
        <pc:spChg chg="add mod">
          <ac:chgData name="Nataliia Chornii (UA)" userId="4e4b8b3d-5f31-49bb-9f80-8a25c04abfff" providerId="ADAL" clId="{EE97D3FE-9ACA-4467-98E5-532EC45D9D1C}" dt="2024-03-01T14:52:19.924" v="15832"/>
          <ac:spMkLst>
            <pc:docMk/>
            <pc:sldMk cId="2040534611" sldId="911"/>
            <ac:spMk id="91" creationId="{CAE6B261-9C4F-844D-9AE8-75AB438102F3}"/>
          </ac:spMkLst>
        </pc:spChg>
        <pc:spChg chg="add mod">
          <ac:chgData name="Nataliia Chornii (UA)" userId="4e4b8b3d-5f31-49bb-9f80-8a25c04abfff" providerId="ADAL" clId="{EE97D3FE-9ACA-4467-98E5-532EC45D9D1C}" dt="2024-03-01T14:52:19.924" v="15832"/>
          <ac:spMkLst>
            <pc:docMk/>
            <pc:sldMk cId="2040534611" sldId="911"/>
            <ac:spMk id="92" creationId="{BBF2487C-09CA-FF67-1720-4578499D72BD}"/>
          </ac:spMkLst>
        </pc:spChg>
        <pc:spChg chg="add mod">
          <ac:chgData name="Nataliia Chornii (UA)" userId="4e4b8b3d-5f31-49bb-9f80-8a25c04abfff" providerId="ADAL" clId="{EE97D3FE-9ACA-4467-98E5-532EC45D9D1C}" dt="2024-03-01T14:52:19.924" v="15832"/>
          <ac:spMkLst>
            <pc:docMk/>
            <pc:sldMk cId="2040534611" sldId="911"/>
            <ac:spMk id="93" creationId="{987C77FD-321B-D7F5-67E2-D69EE602053F}"/>
          </ac:spMkLst>
        </pc:spChg>
        <pc:spChg chg="add mod">
          <ac:chgData name="Nataliia Chornii (UA)" userId="4e4b8b3d-5f31-49bb-9f80-8a25c04abfff" providerId="ADAL" clId="{EE97D3FE-9ACA-4467-98E5-532EC45D9D1C}" dt="2024-03-01T14:52:19.924" v="15832"/>
          <ac:spMkLst>
            <pc:docMk/>
            <pc:sldMk cId="2040534611" sldId="911"/>
            <ac:spMk id="94" creationId="{17C398B3-B4FB-856A-94D9-AD3CA433FF1B}"/>
          </ac:spMkLst>
        </pc:spChg>
        <pc:spChg chg="add mod">
          <ac:chgData name="Nataliia Chornii (UA)" userId="4e4b8b3d-5f31-49bb-9f80-8a25c04abfff" providerId="ADAL" clId="{EE97D3FE-9ACA-4467-98E5-532EC45D9D1C}" dt="2024-03-01T14:52:19.924" v="15832"/>
          <ac:spMkLst>
            <pc:docMk/>
            <pc:sldMk cId="2040534611" sldId="911"/>
            <ac:spMk id="95" creationId="{5506ED65-A6BC-3C99-F157-BBD58E1F1F32}"/>
          </ac:spMkLst>
        </pc:spChg>
        <pc:spChg chg="add del mod">
          <ac:chgData name="Nataliia Chornii (UA)" userId="4e4b8b3d-5f31-49bb-9f80-8a25c04abfff" providerId="ADAL" clId="{EE97D3FE-9ACA-4467-98E5-532EC45D9D1C}" dt="2024-03-11T14:29:21.707" v="24226" actId="478"/>
          <ac:spMkLst>
            <pc:docMk/>
            <pc:sldMk cId="2040534611" sldId="911"/>
            <ac:spMk id="96" creationId="{2DEFB647-7A4C-9C02-6A86-21F128667E96}"/>
          </ac:spMkLst>
        </pc:spChg>
        <pc:grpChg chg="add mod">
          <ac:chgData name="Nataliia Chornii (UA)" userId="4e4b8b3d-5f31-49bb-9f80-8a25c04abfff" providerId="ADAL" clId="{EE97D3FE-9ACA-4467-98E5-532EC45D9D1C}" dt="2024-03-11T14:25:48.340" v="24082"/>
          <ac:grpSpMkLst>
            <pc:docMk/>
            <pc:sldMk cId="2040534611" sldId="911"/>
            <ac:grpSpMk id="5" creationId="{1CBE48A8-B29B-B92B-CE38-ED8235AAE14D}"/>
          </ac:grpSpMkLst>
        </pc:grpChg>
        <pc:graphicFrameChg chg="add mod ord modVis replST">
          <ac:chgData name="Nataliia Chornii (UA)" userId="4e4b8b3d-5f31-49bb-9f80-8a25c04abfff" providerId="ADAL" clId="{EE97D3FE-9ACA-4467-98E5-532EC45D9D1C}" dt="2024-03-01T14:36:12.624" v="15389"/>
          <ac:graphicFrameMkLst>
            <pc:docMk/>
            <pc:sldMk cId="2040534611" sldId="911"/>
            <ac:graphicFrameMk id="12" creationId="{317D5129-C98E-0B87-735C-CE927B0DA4C9}"/>
          </ac:graphicFrameMkLst>
        </pc:graphicFrameChg>
        <pc:picChg chg="add mod ord">
          <ac:chgData name="Nataliia Chornii (UA)" userId="4e4b8b3d-5f31-49bb-9f80-8a25c04abfff" providerId="ADAL" clId="{EE97D3FE-9ACA-4467-98E5-532EC45D9D1C}" dt="2024-03-01T14:36:05.600" v="15334" actId="553"/>
          <ac:picMkLst>
            <pc:docMk/>
            <pc:sldMk cId="2040534611" sldId="911"/>
            <ac:picMk id="64" creationId="{00D7B3D6-4A21-F58A-0C43-20AB30413294}"/>
          </ac:picMkLst>
        </pc:picChg>
        <pc:cxnChg chg="add mod ord">
          <ac:chgData name="Nataliia Chornii (UA)" userId="4e4b8b3d-5f31-49bb-9f80-8a25c04abfff" providerId="ADAL" clId="{EE97D3FE-9ACA-4467-98E5-532EC45D9D1C}" dt="2024-03-01T14:53:00.592" v="15838" actId="465"/>
          <ac:cxnSpMkLst>
            <pc:docMk/>
            <pc:sldMk cId="2040534611" sldId="911"/>
            <ac:cxnSpMk id="44" creationId="{86AA3544-8078-8C8C-0759-E3DC6A24E6ED}"/>
          </ac:cxnSpMkLst>
        </pc:cxnChg>
        <pc:cxnChg chg="add mod ord">
          <ac:chgData name="Nataliia Chornii (UA)" userId="4e4b8b3d-5f31-49bb-9f80-8a25c04abfff" providerId="ADAL" clId="{EE97D3FE-9ACA-4467-98E5-532EC45D9D1C}" dt="2024-03-01T14:53:00.592" v="15838" actId="465"/>
          <ac:cxnSpMkLst>
            <pc:docMk/>
            <pc:sldMk cId="2040534611" sldId="911"/>
            <ac:cxnSpMk id="45" creationId="{9B4AE2A4-0953-2815-D272-B652E04D7D9A}"/>
          </ac:cxnSpMkLst>
        </pc:cxnChg>
        <pc:cxnChg chg="add mod ord">
          <ac:chgData name="Nataliia Chornii (UA)" userId="4e4b8b3d-5f31-49bb-9f80-8a25c04abfff" providerId="ADAL" clId="{EE97D3FE-9ACA-4467-98E5-532EC45D9D1C}" dt="2024-03-01T14:53:00.592" v="15838" actId="465"/>
          <ac:cxnSpMkLst>
            <pc:docMk/>
            <pc:sldMk cId="2040534611" sldId="911"/>
            <ac:cxnSpMk id="46" creationId="{F2BF2269-DD68-E61E-C57D-3092670F8B8E}"/>
          </ac:cxnSpMkLst>
        </pc:cxnChg>
        <pc:cxnChg chg="add mod ord">
          <ac:chgData name="Nataliia Chornii (UA)" userId="4e4b8b3d-5f31-49bb-9f80-8a25c04abfff" providerId="ADAL" clId="{EE97D3FE-9ACA-4467-98E5-532EC45D9D1C}" dt="2024-03-01T14:53:00.592" v="15838" actId="465"/>
          <ac:cxnSpMkLst>
            <pc:docMk/>
            <pc:sldMk cId="2040534611" sldId="911"/>
            <ac:cxnSpMk id="47" creationId="{302B2A6A-9855-2A91-3ECB-C9CDFD2F5290}"/>
          </ac:cxnSpMkLst>
        </pc:cxnChg>
        <pc:cxnChg chg="add mod ord">
          <ac:chgData name="Nataliia Chornii (UA)" userId="4e4b8b3d-5f31-49bb-9f80-8a25c04abfff" providerId="ADAL" clId="{EE97D3FE-9ACA-4467-98E5-532EC45D9D1C}" dt="2024-03-01T14:53:00.592" v="15838" actId="465"/>
          <ac:cxnSpMkLst>
            <pc:docMk/>
            <pc:sldMk cId="2040534611" sldId="911"/>
            <ac:cxnSpMk id="48" creationId="{960CEA53-11AD-7AFC-8199-EEAD6FADEB5A}"/>
          </ac:cxnSpMkLst>
        </pc:cxnChg>
        <pc:cxnChg chg="add mod ord">
          <ac:chgData name="Nataliia Chornii (UA)" userId="4e4b8b3d-5f31-49bb-9f80-8a25c04abfff" providerId="ADAL" clId="{EE97D3FE-9ACA-4467-98E5-532EC45D9D1C}" dt="2024-03-01T14:53:00.592" v="15838" actId="465"/>
          <ac:cxnSpMkLst>
            <pc:docMk/>
            <pc:sldMk cId="2040534611" sldId="911"/>
            <ac:cxnSpMk id="49" creationId="{45CD009F-0997-2BAB-6111-300DC415D36F}"/>
          </ac:cxnSpMkLst>
        </pc:cxnChg>
        <pc:cxnChg chg="add mod ord">
          <ac:chgData name="Nataliia Chornii (UA)" userId="4e4b8b3d-5f31-49bb-9f80-8a25c04abfff" providerId="ADAL" clId="{EE97D3FE-9ACA-4467-98E5-532EC45D9D1C}" dt="2024-03-01T14:53:00.592" v="15838" actId="465"/>
          <ac:cxnSpMkLst>
            <pc:docMk/>
            <pc:sldMk cId="2040534611" sldId="911"/>
            <ac:cxnSpMk id="50" creationId="{B4A0F0CD-ADBC-2253-5BCA-ACB10D9B55DE}"/>
          </ac:cxnSpMkLst>
        </pc:cxnChg>
        <pc:cxnChg chg="add del mod ord">
          <ac:chgData name="Nataliia Chornii (UA)" userId="4e4b8b3d-5f31-49bb-9f80-8a25c04abfff" providerId="ADAL" clId="{EE97D3FE-9ACA-4467-98E5-532EC45D9D1C}" dt="2024-03-01T14:52:19.561" v="15831" actId="478"/>
          <ac:cxnSpMkLst>
            <pc:docMk/>
            <pc:sldMk cId="2040534611" sldId="911"/>
            <ac:cxnSpMk id="54" creationId="{30253BD9-E027-47E1-80A4-EFE6ACD7D141}"/>
          </ac:cxnSpMkLst>
        </pc:cxnChg>
        <pc:cxnChg chg="add mod">
          <ac:chgData name="Nataliia Chornii (UA)" userId="4e4b8b3d-5f31-49bb-9f80-8a25c04abfff" providerId="ADAL" clId="{EE97D3FE-9ACA-4467-98E5-532EC45D9D1C}" dt="2024-03-01T14:52:19.924" v="15832"/>
          <ac:cxnSpMkLst>
            <pc:docMk/>
            <pc:sldMk cId="2040534611" sldId="911"/>
            <ac:cxnSpMk id="86" creationId="{C5E041A6-46B5-468F-88CB-37765961A408}"/>
          </ac:cxnSpMkLst>
        </pc:cxnChg>
      </pc:sldChg>
      <pc:sldChg chg="addSp delSp modSp del mod modClrScheme chgLayout">
        <pc:chgData name="Nataliia Chornii (UA)" userId="4e4b8b3d-5f31-49bb-9f80-8a25c04abfff" providerId="ADAL" clId="{EE97D3FE-9ACA-4467-98E5-532EC45D9D1C}" dt="2024-03-01T11:02:07.515" v="11101" actId="47"/>
        <pc:sldMkLst>
          <pc:docMk/>
          <pc:sldMk cId="1829617463" sldId="912"/>
        </pc:sldMkLst>
        <pc:spChg chg="del mod ord">
          <ac:chgData name="Nataliia Chornii (UA)" userId="4e4b8b3d-5f31-49bb-9f80-8a25c04abfff" providerId="ADAL" clId="{EE97D3FE-9ACA-4467-98E5-532EC45D9D1C}" dt="2024-03-01T10:42:07.546" v="10453" actId="478"/>
          <ac:spMkLst>
            <pc:docMk/>
            <pc:sldMk cId="1829617463" sldId="912"/>
            <ac:spMk id="2" creationId="{A1EA5253-E431-DFFC-E94A-6F8E087CC2C0}"/>
          </ac:spMkLst>
        </pc:spChg>
        <pc:spChg chg="mod ord">
          <ac:chgData name="Nataliia Chornii (UA)" userId="4e4b8b3d-5f31-49bb-9f80-8a25c04abfff" providerId="ADAL" clId="{EE97D3FE-9ACA-4467-98E5-532EC45D9D1C}" dt="2024-03-01T10:51:20.357" v="10831" actId="948"/>
          <ac:spMkLst>
            <pc:docMk/>
            <pc:sldMk cId="1829617463" sldId="912"/>
            <ac:spMk id="3" creationId="{F4CCF02E-F3C4-C376-8F56-61BD85A2E74B}"/>
          </ac:spMkLst>
        </pc:spChg>
        <pc:spChg chg="mod ord">
          <ac:chgData name="Nataliia Chornii (UA)" userId="4e4b8b3d-5f31-49bb-9f80-8a25c04abfff" providerId="ADAL" clId="{EE97D3FE-9ACA-4467-98E5-532EC45D9D1C}" dt="2024-03-01T10:50:53.605" v="10797"/>
          <ac:spMkLst>
            <pc:docMk/>
            <pc:sldMk cId="1829617463" sldId="912"/>
            <ac:spMk id="4" creationId="{872966CD-924A-B939-E655-A6BAF817DCBF}"/>
          </ac:spMkLst>
        </pc:spChg>
        <pc:spChg chg="del mod ord">
          <ac:chgData name="Nataliia Chornii (UA)" userId="4e4b8b3d-5f31-49bb-9f80-8a25c04abfff" providerId="ADAL" clId="{EE97D3FE-9ACA-4467-98E5-532EC45D9D1C}" dt="2024-03-01T10:42:00.110" v="10424" actId="478"/>
          <ac:spMkLst>
            <pc:docMk/>
            <pc:sldMk cId="1829617463" sldId="912"/>
            <ac:spMk id="5" creationId="{FF11D90A-8D15-0E43-4C2E-D42257331C13}"/>
          </ac:spMkLst>
        </pc:spChg>
        <pc:spChg chg="del mod ord">
          <ac:chgData name="Nataliia Chornii (UA)" userId="4e4b8b3d-5f31-49bb-9f80-8a25c04abfff" providerId="ADAL" clId="{EE97D3FE-9ACA-4467-98E5-532EC45D9D1C}" dt="2024-03-01T10:42:00.110" v="10424" actId="478"/>
          <ac:spMkLst>
            <pc:docMk/>
            <pc:sldMk cId="1829617463" sldId="912"/>
            <ac:spMk id="6" creationId="{0F377277-EC46-FAC5-F379-194FCD82679C}"/>
          </ac:spMkLst>
        </pc:spChg>
        <pc:spChg chg="del mod">
          <ac:chgData name="Nataliia Chornii (UA)" userId="4e4b8b3d-5f31-49bb-9f80-8a25c04abfff" providerId="ADAL" clId="{EE97D3FE-9ACA-4467-98E5-532EC45D9D1C}" dt="2024-03-01T10:42:30.857" v="10458" actId="478"/>
          <ac:spMkLst>
            <pc:docMk/>
            <pc:sldMk cId="1829617463" sldId="912"/>
            <ac:spMk id="7" creationId="{C808DA25-FA14-FF3C-E908-05869001F803}"/>
          </ac:spMkLst>
        </pc:spChg>
        <pc:spChg chg="mod ord">
          <ac:chgData name="Nataliia Chornii (UA)" userId="4e4b8b3d-5f31-49bb-9f80-8a25c04abfff" providerId="ADAL" clId="{EE97D3FE-9ACA-4467-98E5-532EC45D9D1C}" dt="2024-03-01T10:50:53.605" v="10799"/>
          <ac:spMkLst>
            <pc:docMk/>
            <pc:sldMk cId="1829617463" sldId="912"/>
            <ac:spMk id="8" creationId="{2292A5BD-BBCF-E009-4522-732CB9873538}"/>
          </ac:spMkLst>
        </pc:spChg>
        <pc:spChg chg="del mod ord">
          <ac:chgData name="Nataliia Chornii (UA)" userId="4e4b8b3d-5f31-49bb-9f80-8a25c04abfff" providerId="ADAL" clId="{EE97D3FE-9ACA-4467-98E5-532EC45D9D1C}" dt="2024-03-01T10:51:16.091" v="10829" actId="478"/>
          <ac:spMkLst>
            <pc:docMk/>
            <pc:sldMk cId="1829617463" sldId="912"/>
            <ac:spMk id="9" creationId="{87836C41-8052-C603-D229-3FB1E5E9CE1A}"/>
          </ac:spMkLst>
        </pc:spChg>
        <pc:spChg chg="mod ord">
          <ac:chgData name="Nataliia Chornii (UA)" userId="4e4b8b3d-5f31-49bb-9f80-8a25c04abfff" providerId="ADAL" clId="{EE97D3FE-9ACA-4467-98E5-532EC45D9D1C}" dt="2024-03-01T10:50:53.620" v="10813"/>
          <ac:spMkLst>
            <pc:docMk/>
            <pc:sldMk cId="1829617463" sldId="912"/>
            <ac:spMk id="10" creationId="{6F55AA3F-6103-110B-C367-10711AC49356}"/>
          </ac:spMkLst>
        </pc:spChg>
        <pc:spChg chg="add del mod modVis">
          <ac:chgData name="Nataliia Chornii (UA)" userId="4e4b8b3d-5f31-49bb-9f80-8a25c04abfff" providerId="ADAL" clId="{EE97D3FE-9ACA-4467-98E5-532EC45D9D1C}" dt="2024-03-01T08:48:59.377" v="1310"/>
          <ac:spMkLst>
            <pc:docMk/>
            <pc:sldMk cId="1829617463" sldId="912"/>
            <ac:spMk id="11" creationId="{C4B572B0-645D-B725-54BC-29A1A48DA65D}"/>
          </ac:spMkLst>
        </pc:spChg>
        <pc:spChg chg="add del mod modVis">
          <ac:chgData name="Nataliia Chornii (UA)" userId="4e4b8b3d-5f31-49bb-9f80-8a25c04abfff" providerId="ADAL" clId="{EE97D3FE-9ACA-4467-98E5-532EC45D9D1C}" dt="2024-03-01T08:49:33.729" v="2806"/>
          <ac:spMkLst>
            <pc:docMk/>
            <pc:sldMk cId="1829617463" sldId="912"/>
            <ac:spMk id="13" creationId="{8C4BE858-00ED-4314-466F-8B476C923DAD}"/>
          </ac:spMkLst>
        </pc:spChg>
        <pc:spChg chg="add del mod modVis">
          <ac:chgData name="Nataliia Chornii (UA)" userId="4e4b8b3d-5f31-49bb-9f80-8a25c04abfff" providerId="ADAL" clId="{EE97D3FE-9ACA-4467-98E5-532EC45D9D1C}" dt="2024-03-01T08:49:59.788" v="3794"/>
          <ac:spMkLst>
            <pc:docMk/>
            <pc:sldMk cId="1829617463" sldId="912"/>
            <ac:spMk id="14" creationId="{4C1ACB04-0F82-9BAB-7F26-03B15BC58D83}"/>
          </ac:spMkLst>
        </pc:spChg>
        <pc:spChg chg="add del mod modVis">
          <ac:chgData name="Nataliia Chornii (UA)" userId="4e4b8b3d-5f31-49bb-9f80-8a25c04abfff" providerId="ADAL" clId="{EE97D3FE-9ACA-4467-98E5-532EC45D9D1C}" dt="2024-03-01T08:51:26.094" v="4782"/>
          <ac:spMkLst>
            <pc:docMk/>
            <pc:sldMk cId="1829617463" sldId="912"/>
            <ac:spMk id="15" creationId="{4571106A-E248-56BD-298B-CB432F75A675}"/>
          </ac:spMkLst>
        </pc:spChg>
        <pc:spChg chg="add del mod modVis">
          <ac:chgData name="Nataliia Chornii (UA)" userId="4e4b8b3d-5f31-49bb-9f80-8a25c04abfff" providerId="ADAL" clId="{EE97D3FE-9ACA-4467-98E5-532EC45D9D1C}" dt="2024-03-01T08:51:56.094" v="5771"/>
          <ac:spMkLst>
            <pc:docMk/>
            <pc:sldMk cId="1829617463" sldId="912"/>
            <ac:spMk id="16" creationId="{5B188AAB-0561-1513-996D-95EDA26D8419}"/>
          </ac:spMkLst>
        </pc:spChg>
        <pc:spChg chg="add del mod modVis">
          <ac:chgData name="Nataliia Chornii (UA)" userId="4e4b8b3d-5f31-49bb-9f80-8a25c04abfff" providerId="ADAL" clId="{EE97D3FE-9ACA-4467-98E5-532EC45D9D1C}" dt="2024-03-01T08:52:18.265" v="6759"/>
          <ac:spMkLst>
            <pc:docMk/>
            <pc:sldMk cId="1829617463" sldId="912"/>
            <ac:spMk id="17" creationId="{08C0D047-94DD-F7CB-AB26-8040DE62A2BD}"/>
          </ac:spMkLst>
        </pc:spChg>
        <pc:spChg chg="add del mod modVis">
          <ac:chgData name="Nataliia Chornii (UA)" userId="4e4b8b3d-5f31-49bb-9f80-8a25c04abfff" providerId="ADAL" clId="{EE97D3FE-9ACA-4467-98E5-532EC45D9D1C}" dt="2024-03-01T10:41:54.011" v="10417" actId="962"/>
          <ac:spMkLst>
            <pc:docMk/>
            <pc:sldMk cId="1829617463" sldId="912"/>
            <ac:spMk id="18" creationId="{06437098-6012-82D8-432D-6774A312809C}"/>
          </ac:spMkLst>
        </pc:spChg>
        <pc:spChg chg="add del mod modVis">
          <ac:chgData name="Nataliia Chornii (UA)" userId="4e4b8b3d-5f31-49bb-9f80-8a25c04abfff" providerId="ADAL" clId="{EE97D3FE-9ACA-4467-98E5-532EC45D9D1C}" dt="2024-03-01T10:42:04.552" v="10449"/>
          <ac:spMkLst>
            <pc:docMk/>
            <pc:sldMk cId="1829617463" sldId="912"/>
            <ac:spMk id="19" creationId="{5E73303C-7364-4EC5-4D29-7E5F0EB0A417}"/>
          </ac:spMkLst>
        </pc:spChg>
        <pc:spChg chg="add mod ord">
          <ac:chgData name="Nataliia Chornii (UA)" userId="4e4b8b3d-5f31-49bb-9f80-8a25c04abfff" providerId="ADAL" clId="{EE97D3FE-9ACA-4467-98E5-532EC45D9D1C}" dt="2024-03-01T10:58:36.012" v="10962" actId="1076"/>
          <ac:spMkLst>
            <pc:docMk/>
            <pc:sldMk cId="1829617463" sldId="912"/>
            <ac:spMk id="21" creationId="{78DC1799-6B68-492D-BBE0-D7BECB3D58E6}"/>
          </ac:spMkLst>
        </pc:spChg>
        <pc:spChg chg="add mod ord">
          <ac:chgData name="Nataliia Chornii (UA)" userId="4e4b8b3d-5f31-49bb-9f80-8a25c04abfff" providerId="ADAL" clId="{EE97D3FE-9ACA-4467-98E5-532EC45D9D1C}" dt="2024-03-01T10:50:53.605" v="10805"/>
          <ac:spMkLst>
            <pc:docMk/>
            <pc:sldMk cId="1829617463" sldId="912"/>
            <ac:spMk id="22" creationId="{8A383B1B-1F96-C467-6BC7-1ACF6506A40E}"/>
          </ac:spMkLst>
        </pc:spChg>
        <pc:spChg chg="add del mod ord">
          <ac:chgData name="Nataliia Chornii (UA)" userId="4e4b8b3d-5f31-49bb-9f80-8a25c04abfff" providerId="ADAL" clId="{EE97D3FE-9ACA-4467-98E5-532EC45D9D1C}" dt="2024-03-01T10:49:32.519" v="10654" actId="478"/>
          <ac:spMkLst>
            <pc:docMk/>
            <pc:sldMk cId="1829617463" sldId="912"/>
            <ac:spMk id="23" creationId="{E0EFF36B-2B05-3DA6-C48D-E0D2BDB7D996}"/>
          </ac:spMkLst>
        </pc:spChg>
        <pc:spChg chg="add mod ord">
          <ac:chgData name="Nataliia Chornii (UA)" userId="4e4b8b3d-5f31-49bb-9f80-8a25c04abfff" providerId="ADAL" clId="{EE97D3FE-9ACA-4467-98E5-532EC45D9D1C}" dt="2024-03-01T10:51:38.616" v="10844" actId="14100"/>
          <ac:spMkLst>
            <pc:docMk/>
            <pc:sldMk cId="1829617463" sldId="912"/>
            <ac:spMk id="24" creationId="{348FF9D4-2615-1990-FB78-3260C32CF406}"/>
          </ac:spMkLst>
        </pc:spChg>
        <pc:spChg chg="add mod ord">
          <ac:chgData name="Nataliia Chornii (UA)" userId="4e4b8b3d-5f31-49bb-9f80-8a25c04abfff" providerId="ADAL" clId="{EE97D3FE-9ACA-4467-98E5-532EC45D9D1C}" dt="2024-03-01T10:54:25.500" v="10911" actId="3064"/>
          <ac:spMkLst>
            <pc:docMk/>
            <pc:sldMk cId="1829617463" sldId="912"/>
            <ac:spMk id="25" creationId="{2B261BF4-92C6-462D-AA95-793AE54DD688}"/>
          </ac:spMkLst>
        </pc:spChg>
        <pc:spChg chg="add mod ord">
          <ac:chgData name="Nataliia Chornii (UA)" userId="4e4b8b3d-5f31-49bb-9f80-8a25c04abfff" providerId="ADAL" clId="{EE97D3FE-9ACA-4467-98E5-532EC45D9D1C}" dt="2024-03-01T10:52:30.454" v="10863" actId="3064"/>
          <ac:spMkLst>
            <pc:docMk/>
            <pc:sldMk cId="1829617463" sldId="912"/>
            <ac:spMk id="26" creationId="{5EC1F9AE-82A4-85FE-592B-EF659F76F7EC}"/>
          </ac:spMkLst>
        </pc:spChg>
        <pc:spChg chg="add mod ord">
          <ac:chgData name="Nataliia Chornii (UA)" userId="4e4b8b3d-5f31-49bb-9f80-8a25c04abfff" providerId="ADAL" clId="{EE97D3FE-9ACA-4467-98E5-532EC45D9D1C}" dt="2024-03-01T10:54:40.314" v="10914" actId="3064"/>
          <ac:spMkLst>
            <pc:docMk/>
            <pc:sldMk cId="1829617463" sldId="912"/>
            <ac:spMk id="27" creationId="{72D802D4-B169-1594-D931-40179675E33A}"/>
          </ac:spMkLst>
        </pc:spChg>
        <pc:spChg chg="mod">
          <ac:chgData name="Nataliia Chornii (UA)" userId="4e4b8b3d-5f31-49bb-9f80-8a25c04abfff" providerId="ADAL" clId="{EE97D3FE-9ACA-4467-98E5-532EC45D9D1C}" dt="2024-03-01T10:46:39.078" v="10556" actId="207"/>
          <ac:spMkLst>
            <pc:docMk/>
            <pc:sldMk cId="1829617463" sldId="912"/>
            <ac:spMk id="29" creationId="{3915AD89-6428-4A75-0915-328643F1703C}"/>
          </ac:spMkLst>
        </pc:spChg>
        <pc:spChg chg="mod">
          <ac:chgData name="Nataliia Chornii (UA)" userId="4e4b8b3d-5f31-49bb-9f80-8a25c04abfff" providerId="ADAL" clId="{EE97D3FE-9ACA-4467-98E5-532EC45D9D1C}" dt="2024-03-01T10:46:44.710" v="10557" actId="207"/>
          <ac:spMkLst>
            <pc:docMk/>
            <pc:sldMk cId="1829617463" sldId="912"/>
            <ac:spMk id="30" creationId="{373AB206-F1F0-CC72-8C15-85605D9AF2AC}"/>
          </ac:spMkLst>
        </pc:spChg>
        <pc:spChg chg="add del mod modVis">
          <ac:chgData name="Nataliia Chornii (UA)" userId="4e4b8b3d-5f31-49bb-9f80-8a25c04abfff" providerId="ADAL" clId="{EE97D3FE-9ACA-4467-98E5-532EC45D9D1C}" dt="2024-03-01T10:49:09.988" v="10647"/>
          <ac:spMkLst>
            <pc:docMk/>
            <pc:sldMk cId="1829617463" sldId="912"/>
            <ac:spMk id="33" creationId="{EB94AD97-A91E-3CA7-BD17-4E88065BA16C}"/>
          </ac:spMkLst>
        </pc:spChg>
        <pc:spChg chg="add del mod modVis">
          <ac:chgData name="Nataliia Chornii (UA)" userId="4e4b8b3d-5f31-49bb-9f80-8a25c04abfff" providerId="ADAL" clId="{EE97D3FE-9ACA-4467-98E5-532EC45D9D1C}" dt="2024-03-01T10:49:53.196" v="10687"/>
          <ac:spMkLst>
            <pc:docMk/>
            <pc:sldMk cId="1829617463" sldId="912"/>
            <ac:spMk id="34" creationId="{5F4A3A2B-25DF-15C9-8F83-ACCEB9E1C974}"/>
          </ac:spMkLst>
        </pc:spChg>
        <pc:spChg chg="mod">
          <ac:chgData name="Nataliia Chornii (UA)" userId="4e4b8b3d-5f31-49bb-9f80-8a25c04abfff" providerId="ADAL" clId="{EE97D3FE-9ACA-4467-98E5-532EC45D9D1C}" dt="2024-03-01T10:49:59.620" v="10692" actId="571"/>
          <ac:spMkLst>
            <pc:docMk/>
            <pc:sldMk cId="1829617463" sldId="912"/>
            <ac:spMk id="36" creationId="{91B303D3-951E-5B3B-0B5B-DE6960EBDFB5}"/>
          </ac:spMkLst>
        </pc:spChg>
        <pc:spChg chg="mod">
          <ac:chgData name="Nataliia Chornii (UA)" userId="4e4b8b3d-5f31-49bb-9f80-8a25c04abfff" providerId="ADAL" clId="{EE97D3FE-9ACA-4467-98E5-532EC45D9D1C}" dt="2024-03-01T10:49:59.620" v="10692" actId="571"/>
          <ac:spMkLst>
            <pc:docMk/>
            <pc:sldMk cId="1829617463" sldId="912"/>
            <ac:spMk id="37" creationId="{CC12BB2F-5848-0AFB-0B2B-32137F06595B}"/>
          </ac:spMkLst>
        </pc:spChg>
        <pc:spChg chg="add mod ord">
          <ac:chgData name="Nataliia Chornii (UA)" userId="4e4b8b3d-5f31-49bb-9f80-8a25c04abfff" providerId="ADAL" clId="{EE97D3FE-9ACA-4467-98E5-532EC45D9D1C}" dt="2024-03-01T10:50:53.620" v="10815"/>
          <ac:spMkLst>
            <pc:docMk/>
            <pc:sldMk cId="1829617463" sldId="912"/>
            <ac:spMk id="38" creationId="{272900AC-10C3-F441-FC58-31445D62009C}"/>
          </ac:spMkLst>
        </pc:spChg>
        <pc:spChg chg="add del mod modVis">
          <ac:chgData name="Nataliia Chornii (UA)" userId="4e4b8b3d-5f31-49bb-9f80-8a25c04abfff" providerId="ADAL" clId="{EE97D3FE-9ACA-4467-98E5-532EC45D9D1C}" dt="2024-03-01T10:50:10.280" v="10722"/>
          <ac:spMkLst>
            <pc:docMk/>
            <pc:sldMk cId="1829617463" sldId="912"/>
            <ac:spMk id="39" creationId="{301FAD1F-03E6-09F6-ACAE-F9A63685915F}"/>
          </ac:spMkLst>
        </pc:spChg>
        <pc:spChg chg="add mod ord">
          <ac:chgData name="Nataliia Chornii (UA)" userId="4e4b8b3d-5f31-49bb-9f80-8a25c04abfff" providerId="ADAL" clId="{EE97D3FE-9ACA-4467-98E5-532EC45D9D1C}" dt="2024-03-01T10:50:53.605" v="10789"/>
          <ac:spMkLst>
            <pc:docMk/>
            <pc:sldMk cId="1829617463" sldId="912"/>
            <ac:spMk id="42" creationId="{50830596-224D-A11D-D251-21B0CA3EB02E}"/>
          </ac:spMkLst>
        </pc:spChg>
        <pc:spChg chg="mod">
          <ac:chgData name="Nataliia Chornii (UA)" userId="4e4b8b3d-5f31-49bb-9f80-8a25c04abfff" providerId="ADAL" clId="{EE97D3FE-9ACA-4467-98E5-532EC45D9D1C}" dt="2024-03-01T10:51:26.709" v="10842" actId="571"/>
          <ac:spMkLst>
            <pc:docMk/>
            <pc:sldMk cId="1829617463" sldId="912"/>
            <ac:spMk id="44" creationId="{37325A5C-F07F-2313-782A-18E3E98D15F0}"/>
          </ac:spMkLst>
        </pc:spChg>
        <pc:spChg chg="mod">
          <ac:chgData name="Nataliia Chornii (UA)" userId="4e4b8b3d-5f31-49bb-9f80-8a25c04abfff" providerId="ADAL" clId="{EE97D3FE-9ACA-4467-98E5-532EC45D9D1C}" dt="2024-03-01T10:51:26.709" v="10842" actId="571"/>
          <ac:spMkLst>
            <pc:docMk/>
            <pc:sldMk cId="1829617463" sldId="912"/>
            <ac:spMk id="45" creationId="{5A4A472A-422C-56F4-A0F5-AE422E82D144}"/>
          </ac:spMkLst>
        </pc:spChg>
        <pc:spChg chg="mod topLvl">
          <ac:chgData name="Nataliia Chornii (UA)" userId="4e4b8b3d-5f31-49bb-9f80-8a25c04abfff" providerId="ADAL" clId="{EE97D3FE-9ACA-4467-98E5-532EC45D9D1C}" dt="2024-03-01T10:59:17.284" v="10968" actId="165"/>
          <ac:spMkLst>
            <pc:docMk/>
            <pc:sldMk cId="1829617463" sldId="912"/>
            <ac:spMk id="47" creationId="{53CB8D3C-9648-B17B-BD59-60EED0CCD133}"/>
          </ac:spMkLst>
        </pc:spChg>
        <pc:spChg chg="mod topLvl">
          <ac:chgData name="Nataliia Chornii (UA)" userId="4e4b8b3d-5f31-49bb-9f80-8a25c04abfff" providerId="ADAL" clId="{EE97D3FE-9ACA-4467-98E5-532EC45D9D1C}" dt="2024-03-01T10:59:17.284" v="10968" actId="165"/>
          <ac:spMkLst>
            <pc:docMk/>
            <pc:sldMk cId="1829617463" sldId="912"/>
            <ac:spMk id="48" creationId="{D9C7DEB2-1AFB-BF37-B503-BDA29810C585}"/>
          </ac:spMkLst>
        </pc:spChg>
        <pc:spChg chg="mod">
          <ac:chgData name="Nataliia Chornii (UA)" userId="4e4b8b3d-5f31-49bb-9f80-8a25c04abfff" providerId="ADAL" clId="{EE97D3FE-9ACA-4467-98E5-532EC45D9D1C}" dt="2024-03-01T10:53:19.081" v="10889" actId="571"/>
          <ac:spMkLst>
            <pc:docMk/>
            <pc:sldMk cId="1829617463" sldId="912"/>
            <ac:spMk id="52" creationId="{97092DD1-25FB-7296-4811-8999EB6A13EC}"/>
          </ac:spMkLst>
        </pc:spChg>
        <pc:spChg chg="mod">
          <ac:chgData name="Nataliia Chornii (UA)" userId="4e4b8b3d-5f31-49bb-9f80-8a25c04abfff" providerId="ADAL" clId="{EE97D3FE-9ACA-4467-98E5-532EC45D9D1C}" dt="2024-03-01T10:53:19.081" v="10889" actId="571"/>
          <ac:spMkLst>
            <pc:docMk/>
            <pc:sldMk cId="1829617463" sldId="912"/>
            <ac:spMk id="53" creationId="{5CF4D5BA-0B5C-E120-1ABA-5C3010A8E2FA}"/>
          </ac:spMkLst>
        </pc:spChg>
        <pc:spChg chg="mod">
          <ac:chgData name="Nataliia Chornii (UA)" userId="4e4b8b3d-5f31-49bb-9f80-8a25c04abfff" providerId="ADAL" clId="{EE97D3FE-9ACA-4467-98E5-532EC45D9D1C}" dt="2024-03-01T10:53:18.684" v="10888" actId="571"/>
          <ac:spMkLst>
            <pc:docMk/>
            <pc:sldMk cId="1829617463" sldId="912"/>
            <ac:spMk id="55" creationId="{6A4E2BFA-F354-DE6A-5768-4D256B95B8CD}"/>
          </ac:spMkLst>
        </pc:spChg>
        <pc:spChg chg="mod">
          <ac:chgData name="Nataliia Chornii (UA)" userId="4e4b8b3d-5f31-49bb-9f80-8a25c04abfff" providerId="ADAL" clId="{EE97D3FE-9ACA-4467-98E5-532EC45D9D1C}" dt="2024-03-01T10:53:18.684" v="10888" actId="571"/>
          <ac:spMkLst>
            <pc:docMk/>
            <pc:sldMk cId="1829617463" sldId="912"/>
            <ac:spMk id="56" creationId="{0C2CDCC9-A453-C6E2-0011-D148EAB606D3}"/>
          </ac:spMkLst>
        </pc:spChg>
        <pc:spChg chg="mod">
          <ac:chgData name="Nataliia Chornii (UA)" userId="4e4b8b3d-5f31-49bb-9f80-8a25c04abfff" providerId="ADAL" clId="{EE97D3FE-9ACA-4467-98E5-532EC45D9D1C}" dt="2024-03-01T10:53:18.414" v="10887" actId="571"/>
          <ac:spMkLst>
            <pc:docMk/>
            <pc:sldMk cId="1829617463" sldId="912"/>
            <ac:spMk id="58" creationId="{2D0945B6-4E63-0D42-D806-53649D166417}"/>
          </ac:spMkLst>
        </pc:spChg>
        <pc:spChg chg="mod">
          <ac:chgData name="Nataliia Chornii (UA)" userId="4e4b8b3d-5f31-49bb-9f80-8a25c04abfff" providerId="ADAL" clId="{EE97D3FE-9ACA-4467-98E5-532EC45D9D1C}" dt="2024-03-01T10:53:18.414" v="10887" actId="571"/>
          <ac:spMkLst>
            <pc:docMk/>
            <pc:sldMk cId="1829617463" sldId="912"/>
            <ac:spMk id="59" creationId="{60969677-03A1-23BC-8E57-6AFE615113A1}"/>
          </ac:spMkLst>
        </pc:spChg>
        <pc:spChg chg="mod topLvl">
          <ac:chgData name="Nataliia Chornii (UA)" userId="4e4b8b3d-5f31-49bb-9f80-8a25c04abfff" providerId="ADAL" clId="{EE97D3FE-9ACA-4467-98E5-532EC45D9D1C}" dt="2024-03-01T10:59:17.284" v="10968" actId="165"/>
          <ac:spMkLst>
            <pc:docMk/>
            <pc:sldMk cId="1829617463" sldId="912"/>
            <ac:spMk id="61" creationId="{2A14CA01-2350-21C6-16E6-E9CEAF43B441}"/>
          </ac:spMkLst>
        </pc:spChg>
        <pc:spChg chg="mod topLvl">
          <ac:chgData name="Nataliia Chornii (UA)" userId="4e4b8b3d-5f31-49bb-9f80-8a25c04abfff" providerId="ADAL" clId="{EE97D3FE-9ACA-4467-98E5-532EC45D9D1C}" dt="2024-03-01T10:59:17.284" v="10968" actId="165"/>
          <ac:spMkLst>
            <pc:docMk/>
            <pc:sldMk cId="1829617463" sldId="912"/>
            <ac:spMk id="62" creationId="{0977B53C-EEDF-ECC6-4AAC-EB21D6466344}"/>
          </ac:spMkLst>
        </pc:spChg>
        <pc:spChg chg="mod topLvl">
          <ac:chgData name="Nataliia Chornii (UA)" userId="4e4b8b3d-5f31-49bb-9f80-8a25c04abfff" providerId="ADAL" clId="{EE97D3FE-9ACA-4467-98E5-532EC45D9D1C}" dt="2024-03-01T10:59:17.284" v="10968" actId="165"/>
          <ac:spMkLst>
            <pc:docMk/>
            <pc:sldMk cId="1829617463" sldId="912"/>
            <ac:spMk id="64" creationId="{19794A8F-A922-1A21-17E6-1B4B21C8F596}"/>
          </ac:spMkLst>
        </pc:spChg>
        <pc:spChg chg="mod topLvl">
          <ac:chgData name="Nataliia Chornii (UA)" userId="4e4b8b3d-5f31-49bb-9f80-8a25c04abfff" providerId="ADAL" clId="{EE97D3FE-9ACA-4467-98E5-532EC45D9D1C}" dt="2024-03-01T10:59:17.284" v="10968" actId="165"/>
          <ac:spMkLst>
            <pc:docMk/>
            <pc:sldMk cId="1829617463" sldId="912"/>
            <ac:spMk id="65" creationId="{E637C43D-EB29-9E46-4805-26DDE31069D1}"/>
          </ac:spMkLst>
        </pc:spChg>
        <pc:spChg chg="mod topLvl">
          <ac:chgData name="Nataliia Chornii (UA)" userId="4e4b8b3d-5f31-49bb-9f80-8a25c04abfff" providerId="ADAL" clId="{EE97D3FE-9ACA-4467-98E5-532EC45D9D1C}" dt="2024-03-01T10:59:17.284" v="10968" actId="165"/>
          <ac:spMkLst>
            <pc:docMk/>
            <pc:sldMk cId="1829617463" sldId="912"/>
            <ac:spMk id="67" creationId="{173D6274-53F8-0DD4-4E9A-1018104D2DCB}"/>
          </ac:spMkLst>
        </pc:spChg>
        <pc:spChg chg="mod topLvl">
          <ac:chgData name="Nataliia Chornii (UA)" userId="4e4b8b3d-5f31-49bb-9f80-8a25c04abfff" providerId="ADAL" clId="{EE97D3FE-9ACA-4467-98E5-532EC45D9D1C}" dt="2024-03-01T10:59:17.284" v="10968" actId="165"/>
          <ac:spMkLst>
            <pc:docMk/>
            <pc:sldMk cId="1829617463" sldId="912"/>
            <ac:spMk id="68" creationId="{EA6E472F-8C91-1B3F-E19C-F4E7FEBD8822}"/>
          </ac:spMkLst>
        </pc:spChg>
        <pc:spChg chg="mod topLvl">
          <ac:chgData name="Nataliia Chornii (UA)" userId="4e4b8b3d-5f31-49bb-9f80-8a25c04abfff" providerId="ADAL" clId="{EE97D3FE-9ACA-4467-98E5-532EC45D9D1C}" dt="2024-03-01T10:59:17.284" v="10968" actId="165"/>
          <ac:spMkLst>
            <pc:docMk/>
            <pc:sldMk cId="1829617463" sldId="912"/>
            <ac:spMk id="70" creationId="{8E071A3F-2B5A-7CD2-907D-0A46168AC360}"/>
          </ac:spMkLst>
        </pc:spChg>
        <pc:spChg chg="mod topLvl">
          <ac:chgData name="Nataliia Chornii (UA)" userId="4e4b8b3d-5f31-49bb-9f80-8a25c04abfff" providerId="ADAL" clId="{EE97D3FE-9ACA-4467-98E5-532EC45D9D1C}" dt="2024-03-01T10:59:17.284" v="10968" actId="165"/>
          <ac:spMkLst>
            <pc:docMk/>
            <pc:sldMk cId="1829617463" sldId="912"/>
            <ac:spMk id="71" creationId="{4E9A4B16-5B86-15F3-0EC5-EC8CABFD7433}"/>
          </ac:spMkLst>
        </pc:spChg>
        <pc:spChg chg="mod topLvl">
          <ac:chgData name="Nataliia Chornii (UA)" userId="4e4b8b3d-5f31-49bb-9f80-8a25c04abfff" providerId="ADAL" clId="{EE97D3FE-9ACA-4467-98E5-532EC45D9D1C}" dt="2024-03-01T10:59:17.284" v="10968" actId="165"/>
          <ac:spMkLst>
            <pc:docMk/>
            <pc:sldMk cId="1829617463" sldId="912"/>
            <ac:spMk id="73" creationId="{F861E25B-F987-831A-A602-44A1BC3C9C06}"/>
          </ac:spMkLst>
        </pc:spChg>
        <pc:spChg chg="mod topLvl">
          <ac:chgData name="Nataliia Chornii (UA)" userId="4e4b8b3d-5f31-49bb-9f80-8a25c04abfff" providerId="ADAL" clId="{EE97D3FE-9ACA-4467-98E5-532EC45D9D1C}" dt="2024-03-01T10:59:17.284" v="10968" actId="165"/>
          <ac:spMkLst>
            <pc:docMk/>
            <pc:sldMk cId="1829617463" sldId="912"/>
            <ac:spMk id="74" creationId="{237C8191-4F1C-824D-519C-F908FF1C2C8A}"/>
          </ac:spMkLst>
        </pc:spChg>
        <pc:spChg chg="mod topLvl">
          <ac:chgData name="Nataliia Chornii (UA)" userId="4e4b8b3d-5f31-49bb-9f80-8a25c04abfff" providerId="ADAL" clId="{EE97D3FE-9ACA-4467-98E5-532EC45D9D1C}" dt="2024-03-01T10:59:17.284" v="10968" actId="165"/>
          <ac:spMkLst>
            <pc:docMk/>
            <pc:sldMk cId="1829617463" sldId="912"/>
            <ac:spMk id="76" creationId="{48C1CD32-80B1-493D-9426-7B73B4755484}"/>
          </ac:spMkLst>
        </pc:spChg>
        <pc:spChg chg="mod topLvl">
          <ac:chgData name="Nataliia Chornii (UA)" userId="4e4b8b3d-5f31-49bb-9f80-8a25c04abfff" providerId="ADAL" clId="{EE97D3FE-9ACA-4467-98E5-532EC45D9D1C}" dt="2024-03-01T10:59:17.284" v="10968" actId="165"/>
          <ac:spMkLst>
            <pc:docMk/>
            <pc:sldMk cId="1829617463" sldId="912"/>
            <ac:spMk id="77" creationId="{457656DF-9381-E741-ED31-A72942D19F30}"/>
          </ac:spMkLst>
        </pc:spChg>
        <pc:spChg chg="mod topLvl">
          <ac:chgData name="Nataliia Chornii (UA)" userId="4e4b8b3d-5f31-49bb-9f80-8a25c04abfff" providerId="ADAL" clId="{EE97D3FE-9ACA-4467-98E5-532EC45D9D1C}" dt="2024-03-01T10:59:17.284" v="10968" actId="165"/>
          <ac:spMkLst>
            <pc:docMk/>
            <pc:sldMk cId="1829617463" sldId="912"/>
            <ac:spMk id="79" creationId="{84ACD26B-9585-F3C8-8179-0329BA741C8A}"/>
          </ac:spMkLst>
        </pc:spChg>
        <pc:spChg chg="mod topLvl">
          <ac:chgData name="Nataliia Chornii (UA)" userId="4e4b8b3d-5f31-49bb-9f80-8a25c04abfff" providerId="ADAL" clId="{EE97D3FE-9ACA-4467-98E5-532EC45D9D1C}" dt="2024-03-01T10:59:17.284" v="10968" actId="165"/>
          <ac:spMkLst>
            <pc:docMk/>
            <pc:sldMk cId="1829617463" sldId="912"/>
            <ac:spMk id="80" creationId="{3EC4EC2B-AF59-0356-9A1D-C0C6D812DBE9}"/>
          </ac:spMkLst>
        </pc:spChg>
        <pc:spChg chg="add mod">
          <ac:chgData name="Nataliia Chornii (UA)" userId="4e4b8b3d-5f31-49bb-9f80-8a25c04abfff" providerId="ADAL" clId="{EE97D3FE-9ACA-4467-98E5-532EC45D9D1C}" dt="2024-03-01T10:57:32.655" v="10942" actId="571"/>
          <ac:spMkLst>
            <pc:docMk/>
            <pc:sldMk cId="1829617463" sldId="912"/>
            <ac:spMk id="99" creationId="{68245ED2-E555-5BDE-3F3A-DC7B7145C331}"/>
          </ac:spMkLst>
        </pc:spChg>
        <pc:spChg chg="add mod">
          <ac:chgData name="Nataliia Chornii (UA)" userId="4e4b8b3d-5f31-49bb-9f80-8a25c04abfff" providerId="ADAL" clId="{EE97D3FE-9ACA-4467-98E5-532EC45D9D1C}" dt="2024-03-01T10:58:53.068" v="10966" actId="465"/>
          <ac:spMkLst>
            <pc:docMk/>
            <pc:sldMk cId="1829617463" sldId="912"/>
            <ac:spMk id="100" creationId="{6196419E-02BA-D21D-1546-F1EC7C2A2D38}"/>
          </ac:spMkLst>
        </pc:spChg>
        <pc:spChg chg="add mod">
          <ac:chgData name="Nataliia Chornii (UA)" userId="4e4b8b3d-5f31-49bb-9f80-8a25c04abfff" providerId="ADAL" clId="{EE97D3FE-9ACA-4467-98E5-532EC45D9D1C}" dt="2024-03-01T10:58:53.068" v="10966" actId="465"/>
          <ac:spMkLst>
            <pc:docMk/>
            <pc:sldMk cId="1829617463" sldId="912"/>
            <ac:spMk id="101" creationId="{9ECA4B5E-E4A7-485E-4742-A7A24FB938CD}"/>
          </ac:spMkLst>
        </pc:spChg>
        <pc:spChg chg="add mod">
          <ac:chgData name="Nataliia Chornii (UA)" userId="4e4b8b3d-5f31-49bb-9f80-8a25c04abfff" providerId="ADAL" clId="{EE97D3FE-9ACA-4467-98E5-532EC45D9D1C}" dt="2024-03-01T10:58:53.068" v="10966" actId="465"/>
          <ac:spMkLst>
            <pc:docMk/>
            <pc:sldMk cId="1829617463" sldId="912"/>
            <ac:spMk id="102" creationId="{6C2839D0-72C0-7347-1A1F-A4C976165D3B}"/>
          </ac:spMkLst>
        </pc:spChg>
        <pc:spChg chg="add mod">
          <ac:chgData name="Nataliia Chornii (UA)" userId="4e4b8b3d-5f31-49bb-9f80-8a25c04abfff" providerId="ADAL" clId="{EE97D3FE-9ACA-4467-98E5-532EC45D9D1C}" dt="2024-03-01T10:58:53.068" v="10966" actId="465"/>
          <ac:spMkLst>
            <pc:docMk/>
            <pc:sldMk cId="1829617463" sldId="912"/>
            <ac:spMk id="103" creationId="{20162A1E-1272-A65F-9743-08A1C56CDD8F}"/>
          </ac:spMkLst>
        </pc:spChg>
        <pc:spChg chg="add mod">
          <ac:chgData name="Nataliia Chornii (UA)" userId="4e4b8b3d-5f31-49bb-9f80-8a25c04abfff" providerId="ADAL" clId="{EE97D3FE-9ACA-4467-98E5-532EC45D9D1C}" dt="2024-03-01T10:58:36.012" v="10962" actId="1076"/>
          <ac:spMkLst>
            <pc:docMk/>
            <pc:sldMk cId="1829617463" sldId="912"/>
            <ac:spMk id="104" creationId="{C489AEBB-7FB2-EC1A-2DC3-18B08D331418}"/>
          </ac:spMkLst>
        </pc:spChg>
        <pc:spChg chg="add mod">
          <ac:chgData name="Nataliia Chornii (UA)" userId="4e4b8b3d-5f31-49bb-9f80-8a25c04abfff" providerId="ADAL" clId="{EE97D3FE-9ACA-4467-98E5-532EC45D9D1C}" dt="2024-03-01T10:58:53.068" v="10966" actId="465"/>
          <ac:spMkLst>
            <pc:docMk/>
            <pc:sldMk cId="1829617463" sldId="912"/>
            <ac:spMk id="107" creationId="{5E4C4BD5-129E-6AAF-672B-2CE5A9EA1809}"/>
          </ac:spMkLst>
        </pc:spChg>
        <pc:spChg chg="add mod">
          <ac:chgData name="Nataliia Chornii (UA)" userId="4e4b8b3d-5f31-49bb-9f80-8a25c04abfff" providerId="ADAL" clId="{EE97D3FE-9ACA-4467-98E5-532EC45D9D1C}" dt="2024-03-01T10:58:53.068" v="10966" actId="465"/>
          <ac:spMkLst>
            <pc:docMk/>
            <pc:sldMk cId="1829617463" sldId="912"/>
            <ac:spMk id="108" creationId="{374ED229-16EB-16FE-4EEB-6C75D32758A7}"/>
          </ac:spMkLst>
        </pc:spChg>
        <pc:grpChg chg="add mod ord">
          <ac:chgData name="Nataliia Chornii (UA)" userId="4e4b8b3d-5f31-49bb-9f80-8a25c04abfff" providerId="ADAL" clId="{EE97D3FE-9ACA-4467-98E5-532EC45D9D1C}" dt="2024-03-01T10:51:40.559" v="10845" actId="553"/>
          <ac:grpSpMkLst>
            <pc:docMk/>
            <pc:sldMk cId="1829617463" sldId="912"/>
            <ac:grpSpMk id="28" creationId="{DBEF3A72-62F9-B29D-8908-60C19CF93A03}"/>
          </ac:grpSpMkLst>
        </pc:grpChg>
        <pc:grpChg chg="add mod">
          <ac:chgData name="Nataliia Chornii (UA)" userId="4e4b8b3d-5f31-49bb-9f80-8a25c04abfff" providerId="ADAL" clId="{EE97D3FE-9ACA-4467-98E5-532EC45D9D1C}" dt="2024-03-01T10:49:59.620" v="10692" actId="571"/>
          <ac:grpSpMkLst>
            <pc:docMk/>
            <pc:sldMk cId="1829617463" sldId="912"/>
            <ac:grpSpMk id="35" creationId="{15BF4D7F-D5B3-7489-D892-B1B20E685245}"/>
          </ac:grpSpMkLst>
        </pc:grpChg>
        <pc:grpChg chg="add mod">
          <ac:chgData name="Nataliia Chornii (UA)" userId="4e4b8b3d-5f31-49bb-9f80-8a25c04abfff" providerId="ADAL" clId="{EE97D3FE-9ACA-4467-98E5-532EC45D9D1C}" dt="2024-03-01T10:51:27.940" v="10843" actId="553"/>
          <ac:grpSpMkLst>
            <pc:docMk/>
            <pc:sldMk cId="1829617463" sldId="912"/>
            <ac:grpSpMk id="43" creationId="{E9134216-27EA-A647-A616-B86FA8931C14}"/>
          </ac:grpSpMkLst>
        </pc:grpChg>
        <pc:grpChg chg="add del mod">
          <ac:chgData name="Nataliia Chornii (UA)" userId="4e4b8b3d-5f31-49bb-9f80-8a25c04abfff" providerId="ADAL" clId="{EE97D3FE-9ACA-4467-98E5-532EC45D9D1C}" dt="2024-03-01T10:52:41.816" v="10866" actId="165"/>
          <ac:grpSpMkLst>
            <pc:docMk/>
            <pc:sldMk cId="1829617463" sldId="912"/>
            <ac:grpSpMk id="46" creationId="{5C6B06AD-4019-EB0E-C679-EE39894D5457}"/>
          </ac:grpSpMkLst>
        </pc:grpChg>
        <pc:grpChg chg="add del mod">
          <ac:chgData name="Nataliia Chornii (UA)" userId="4e4b8b3d-5f31-49bb-9f80-8a25c04abfff" providerId="ADAL" clId="{EE97D3FE-9ACA-4467-98E5-532EC45D9D1C}" dt="2024-03-01T10:52:55.276" v="10873" actId="165"/>
          <ac:grpSpMkLst>
            <pc:docMk/>
            <pc:sldMk cId="1829617463" sldId="912"/>
            <ac:grpSpMk id="49" creationId="{A6126C9E-BFAD-B196-B622-66800073F0E5}"/>
          </ac:grpSpMkLst>
        </pc:grpChg>
        <pc:grpChg chg="add del mod">
          <ac:chgData name="Nataliia Chornii (UA)" userId="4e4b8b3d-5f31-49bb-9f80-8a25c04abfff" providerId="ADAL" clId="{EE97D3FE-9ACA-4467-98E5-532EC45D9D1C}" dt="2024-03-01T10:59:17.284" v="10968" actId="165"/>
          <ac:grpSpMkLst>
            <pc:docMk/>
            <pc:sldMk cId="1829617463" sldId="912"/>
            <ac:grpSpMk id="50" creationId="{E1F1CF87-B2A8-49E3-6067-B75A07B7F30B}"/>
          </ac:grpSpMkLst>
        </pc:grpChg>
        <pc:grpChg chg="add mod">
          <ac:chgData name="Nataliia Chornii (UA)" userId="4e4b8b3d-5f31-49bb-9f80-8a25c04abfff" providerId="ADAL" clId="{EE97D3FE-9ACA-4467-98E5-532EC45D9D1C}" dt="2024-03-01T10:53:19.081" v="10889" actId="571"/>
          <ac:grpSpMkLst>
            <pc:docMk/>
            <pc:sldMk cId="1829617463" sldId="912"/>
            <ac:grpSpMk id="51" creationId="{4DE1A45F-9504-1C1E-3621-FA4B061CBB54}"/>
          </ac:grpSpMkLst>
        </pc:grpChg>
        <pc:grpChg chg="add mod">
          <ac:chgData name="Nataliia Chornii (UA)" userId="4e4b8b3d-5f31-49bb-9f80-8a25c04abfff" providerId="ADAL" clId="{EE97D3FE-9ACA-4467-98E5-532EC45D9D1C}" dt="2024-03-01T10:53:18.684" v="10888" actId="571"/>
          <ac:grpSpMkLst>
            <pc:docMk/>
            <pc:sldMk cId="1829617463" sldId="912"/>
            <ac:grpSpMk id="54" creationId="{D3C6E8B8-A35F-912D-2574-85AA40442B2E}"/>
          </ac:grpSpMkLst>
        </pc:grpChg>
        <pc:grpChg chg="add mod">
          <ac:chgData name="Nataliia Chornii (UA)" userId="4e4b8b3d-5f31-49bb-9f80-8a25c04abfff" providerId="ADAL" clId="{EE97D3FE-9ACA-4467-98E5-532EC45D9D1C}" dt="2024-03-01T10:53:18.414" v="10887" actId="571"/>
          <ac:grpSpMkLst>
            <pc:docMk/>
            <pc:sldMk cId="1829617463" sldId="912"/>
            <ac:grpSpMk id="57" creationId="{FB497BB5-06C6-BB56-D5D2-EA76FA390B1A}"/>
          </ac:grpSpMkLst>
        </pc:grpChg>
        <pc:grpChg chg="add del mod">
          <ac:chgData name="Nataliia Chornii (UA)" userId="4e4b8b3d-5f31-49bb-9f80-8a25c04abfff" providerId="ADAL" clId="{EE97D3FE-9ACA-4467-98E5-532EC45D9D1C}" dt="2024-03-01T10:59:17.284" v="10968" actId="165"/>
          <ac:grpSpMkLst>
            <pc:docMk/>
            <pc:sldMk cId="1829617463" sldId="912"/>
            <ac:grpSpMk id="60" creationId="{62997696-F6C6-FA59-1F7F-07CC9F43D34D}"/>
          </ac:grpSpMkLst>
        </pc:grpChg>
        <pc:grpChg chg="add del mod">
          <ac:chgData name="Nataliia Chornii (UA)" userId="4e4b8b3d-5f31-49bb-9f80-8a25c04abfff" providerId="ADAL" clId="{EE97D3FE-9ACA-4467-98E5-532EC45D9D1C}" dt="2024-03-01T10:59:17.284" v="10968" actId="165"/>
          <ac:grpSpMkLst>
            <pc:docMk/>
            <pc:sldMk cId="1829617463" sldId="912"/>
            <ac:grpSpMk id="63" creationId="{9EB48DE2-8A12-B24D-01BC-53DE27C3402C}"/>
          </ac:grpSpMkLst>
        </pc:grpChg>
        <pc:grpChg chg="add del mod">
          <ac:chgData name="Nataliia Chornii (UA)" userId="4e4b8b3d-5f31-49bb-9f80-8a25c04abfff" providerId="ADAL" clId="{EE97D3FE-9ACA-4467-98E5-532EC45D9D1C}" dt="2024-03-01T10:59:17.284" v="10968" actId="165"/>
          <ac:grpSpMkLst>
            <pc:docMk/>
            <pc:sldMk cId="1829617463" sldId="912"/>
            <ac:grpSpMk id="66" creationId="{8A8B3447-414B-8DB9-4DB0-BD42D28E9417}"/>
          </ac:grpSpMkLst>
        </pc:grpChg>
        <pc:grpChg chg="add del mod">
          <ac:chgData name="Nataliia Chornii (UA)" userId="4e4b8b3d-5f31-49bb-9f80-8a25c04abfff" providerId="ADAL" clId="{EE97D3FE-9ACA-4467-98E5-532EC45D9D1C}" dt="2024-03-01T10:59:17.284" v="10968" actId="165"/>
          <ac:grpSpMkLst>
            <pc:docMk/>
            <pc:sldMk cId="1829617463" sldId="912"/>
            <ac:grpSpMk id="69" creationId="{DC32FE07-8D31-CA58-2B8B-4524DD82FBB5}"/>
          </ac:grpSpMkLst>
        </pc:grpChg>
        <pc:grpChg chg="add del mod">
          <ac:chgData name="Nataliia Chornii (UA)" userId="4e4b8b3d-5f31-49bb-9f80-8a25c04abfff" providerId="ADAL" clId="{EE97D3FE-9ACA-4467-98E5-532EC45D9D1C}" dt="2024-03-01T10:59:17.284" v="10968" actId="165"/>
          <ac:grpSpMkLst>
            <pc:docMk/>
            <pc:sldMk cId="1829617463" sldId="912"/>
            <ac:grpSpMk id="72" creationId="{8A99DE72-A053-7633-80E0-0281876BC5CB}"/>
          </ac:grpSpMkLst>
        </pc:grpChg>
        <pc:grpChg chg="add del mod">
          <ac:chgData name="Nataliia Chornii (UA)" userId="4e4b8b3d-5f31-49bb-9f80-8a25c04abfff" providerId="ADAL" clId="{EE97D3FE-9ACA-4467-98E5-532EC45D9D1C}" dt="2024-03-01T10:59:17.284" v="10968" actId="165"/>
          <ac:grpSpMkLst>
            <pc:docMk/>
            <pc:sldMk cId="1829617463" sldId="912"/>
            <ac:grpSpMk id="75" creationId="{6C47436A-46AB-60B6-781A-0D04F3689126}"/>
          </ac:grpSpMkLst>
        </pc:grpChg>
        <pc:grpChg chg="add del mod">
          <ac:chgData name="Nataliia Chornii (UA)" userId="4e4b8b3d-5f31-49bb-9f80-8a25c04abfff" providerId="ADAL" clId="{EE97D3FE-9ACA-4467-98E5-532EC45D9D1C}" dt="2024-03-01T10:59:17.284" v="10968" actId="165"/>
          <ac:grpSpMkLst>
            <pc:docMk/>
            <pc:sldMk cId="1829617463" sldId="912"/>
            <ac:grpSpMk id="78" creationId="{56BA403A-C926-E8F9-5510-920743EF523F}"/>
          </ac:grpSpMkLst>
        </pc:grpChg>
        <pc:graphicFrameChg chg="add mod ord modVis replST">
          <ac:chgData name="Nataliia Chornii (UA)" userId="4e4b8b3d-5f31-49bb-9f80-8a25c04abfff" providerId="ADAL" clId="{EE97D3FE-9ACA-4467-98E5-532EC45D9D1C}" dt="2024-03-01T10:51:20.357" v="10839"/>
          <ac:graphicFrameMkLst>
            <pc:docMk/>
            <pc:sldMk cId="1829617463" sldId="912"/>
            <ac:graphicFrameMk id="12" creationId="{F6E6AF23-7B86-113A-F559-513B41FEC1FE}"/>
          </ac:graphicFrameMkLst>
        </pc:graphicFrameChg>
        <pc:picChg chg="add del mod ord modCrop">
          <ac:chgData name="Nataliia Chornii (UA)" userId="4e4b8b3d-5f31-49bb-9f80-8a25c04abfff" providerId="ADAL" clId="{EE97D3FE-9ACA-4467-98E5-532EC45D9D1C}" dt="2024-03-01T10:50:29.438" v="10728" actId="478"/>
          <ac:picMkLst>
            <pc:docMk/>
            <pc:sldMk cId="1829617463" sldId="912"/>
            <ac:picMk id="32" creationId="{1BBDFA08-944F-073A-23F5-AB3330DBCBEF}"/>
          </ac:picMkLst>
        </pc:picChg>
        <pc:picChg chg="add mod ord">
          <ac:chgData name="Nataliia Chornii (UA)" userId="4e4b8b3d-5f31-49bb-9f80-8a25c04abfff" providerId="ADAL" clId="{EE97D3FE-9ACA-4467-98E5-532EC45D9D1C}" dt="2024-03-01T10:50:53.605" v="10787"/>
          <ac:picMkLst>
            <pc:docMk/>
            <pc:sldMk cId="1829617463" sldId="912"/>
            <ac:picMk id="41" creationId="{7CAE88F2-0719-E8A4-5A3E-39E39CF155A6}"/>
          </ac:picMkLst>
        </pc:picChg>
        <pc:cxnChg chg="add del mod">
          <ac:chgData name="Nataliia Chornii (UA)" userId="4e4b8b3d-5f31-49bb-9f80-8a25c04abfff" providerId="ADAL" clId="{EE97D3FE-9ACA-4467-98E5-532EC45D9D1C}" dt="2024-03-01T10:56:12.838" v="10926" actId="11529"/>
          <ac:cxnSpMkLst>
            <pc:docMk/>
            <pc:sldMk cId="1829617463" sldId="912"/>
            <ac:cxnSpMk id="82" creationId="{49EEC2F7-BE6F-59C3-A367-6F464D80DB1A}"/>
          </ac:cxnSpMkLst>
        </pc:cxnChg>
        <pc:cxnChg chg="add del mod">
          <ac:chgData name="Nataliia Chornii (UA)" userId="4e4b8b3d-5f31-49bb-9f80-8a25c04abfff" providerId="ADAL" clId="{EE97D3FE-9ACA-4467-98E5-532EC45D9D1C}" dt="2024-03-01T10:56:35.632" v="10930" actId="478"/>
          <ac:cxnSpMkLst>
            <pc:docMk/>
            <pc:sldMk cId="1829617463" sldId="912"/>
            <ac:cxnSpMk id="84" creationId="{DAC1AD3A-F1E0-EC51-DD7D-9D14828E4855}"/>
          </ac:cxnSpMkLst>
        </pc:cxnChg>
        <pc:cxnChg chg="add del mod">
          <ac:chgData name="Nataliia Chornii (UA)" userId="4e4b8b3d-5f31-49bb-9f80-8a25c04abfff" providerId="ADAL" clId="{EE97D3FE-9ACA-4467-98E5-532EC45D9D1C}" dt="2024-03-01T10:56:34.596" v="10929" actId="478"/>
          <ac:cxnSpMkLst>
            <pc:docMk/>
            <pc:sldMk cId="1829617463" sldId="912"/>
            <ac:cxnSpMk id="86" creationId="{B459EF5E-294A-0980-094F-C24C106E52FD}"/>
          </ac:cxnSpMkLst>
        </pc:cxnChg>
        <pc:cxnChg chg="add del mod">
          <ac:chgData name="Nataliia Chornii (UA)" userId="4e4b8b3d-5f31-49bb-9f80-8a25c04abfff" providerId="ADAL" clId="{EE97D3FE-9ACA-4467-98E5-532EC45D9D1C}" dt="2024-03-01T10:58:23.662" v="10960" actId="478"/>
          <ac:cxnSpMkLst>
            <pc:docMk/>
            <pc:sldMk cId="1829617463" sldId="912"/>
            <ac:cxnSpMk id="88" creationId="{51CFFFC3-0D3E-F133-C20F-FDFB001FC8D2}"/>
          </ac:cxnSpMkLst>
        </pc:cxnChg>
        <pc:cxnChg chg="add del mod">
          <ac:chgData name="Nataliia Chornii (UA)" userId="4e4b8b3d-5f31-49bb-9f80-8a25c04abfff" providerId="ADAL" clId="{EE97D3FE-9ACA-4467-98E5-532EC45D9D1C}" dt="2024-03-01T10:56:58.864" v="10934" actId="478"/>
          <ac:cxnSpMkLst>
            <pc:docMk/>
            <pc:sldMk cId="1829617463" sldId="912"/>
            <ac:cxnSpMk id="90" creationId="{65CBF872-180B-CC26-657C-AFE61CAD5FB9}"/>
          </ac:cxnSpMkLst>
        </pc:cxnChg>
        <pc:cxnChg chg="add del mod">
          <ac:chgData name="Nataliia Chornii (UA)" userId="4e4b8b3d-5f31-49bb-9f80-8a25c04abfff" providerId="ADAL" clId="{EE97D3FE-9ACA-4467-98E5-532EC45D9D1C}" dt="2024-03-01T10:58:23.662" v="10960" actId="478"/>
          <ac:cxnSpMkLst>
            <pc:docMk/>
            <pc:sldMk cId="1829617463" sldId="912"/>
            <ac:cxnSpMk id="92" creationId="{7772E295-F645-7BAF-F5DA-A7A22A790A44}"/>
          </ac:cxnSpMkLst>
        </pc:cxnChg>
        <pc:cxnChg chg="add del mod">
          <ac:chgData name="Nataliia Chornii (UA)" userId="4e4b8b3d-5f31-49bb-9f80-8a25c04abfff" providerId="ADAL" clId="{EE97D3FE-9ACA-4467-98E5-532EC45D9D1C}" dt="2024-03-01T10:58:23.662" v="10960" actId="478"/>
          <ac:cxnSpMkLst>
            <pc:docMk/>
            <pc:sldMk cId="1829617463" sldId="912"/>
            <ac:cxnSpMk id="93" creationId="{367D215A-54A9-DE91-0EAC-EF33766D83E1}"/>
          </ac:cxnSpMkLst>
        </pc:cxnChg>
        <pc:cxnChg chg="add del mod">
          <ac:chgData name="Nataliia Chornii (UA)" userId="4e4b8b3d-5f31-49bb-9f80-8a25c04abfff" providerId="ADAL" clId="{EE97D3FE-9ACA-4467-98E5-532EC45D9D1C}" dt="2024-03-01T10:58:23.662" v="10960" actId="478"/>
          <ac:cxnSpMkLst>
            <pc:docMk/>
            <pc:sldMk cId="1829617463" sldId="912"/>
            <ac:cxnSpMk id="94" creationId="{62064FEA-61CC-719C-7193-FD287F2FB6DC}"/>
          </ac:cxnSpMkLst>
        </pc:cxnChg>
        <pc:cxnChg chg="add mod">
          <ac:chgData name="Nataliia Chornii (UA)" userId="4e4b8b3d-5f31-49bb-9f80-8a25c04abfff" providerId="ADAL" clId="{EE97D3FE-9ACA-4467-98E5-532EC45D9D1C}" dt="2024-03-01T10:59:02.124" v="10967" actId="1076"/>
          <ac:cxnSpMkLst>
            <pc:docMk/>
            <pc:sldMk cId="1829617463" sldId="912"/>
            <ac:cxnSpMk id="106" creationId="{FFD4031A-36A2-8179-5E2D-0A3C984BF25A}"/>
          </ac:cxnSpMkLst>
        </pc:cxnChg>
      </pc:sldChg>
      <pc:sldChg chg="addSp delSp modSp mod modClrScheme chgLayout">
        <pc:chgData name="Nataliia Chornii (UA)" userId="4e4b8b3d-5f31-49bb-9f80-8a25c04abfff" providerId="ADAL" clId="{EE97D3FE-9ACA-4467-98E5-532EC45D9D1C}" dt="2024-03-11T14:29:25.347" v="24229"/>
        <pc:sldMkLst>
          <pc:docMk/>
          <pc:sldMk cId="3429470186" sldId="914"/>
        </pc:sldMkLst>
        <pc:spChg chg="add mod">
          <ac:chgData name="Nataliia Chornii (UA)" userId="4e4b8b3d-5f31-49bb-9f80-8a25c04abfff" providerId="ADAL" clId="{EE97D3FE-9ACA-4467-98E5-532EC45D9D1C}" dt="2024-03-11T14:25:51.067" v="24083"/>
          <ac:spMkLst>
            <pc:docMk/>
            <pc:sldMk cId="3429470186" sldId="914"/>
            <ac:spMk id="2" creationId="{30AAC524-3205-5590-45B9-6037C0A5DBDE}"/>
          </ac:spMkLst>
        </pc:spChg>
        <pc:spChg chg="del mod ord">
          <ac:chgData name="Nataliia Chornii (UA)" userId="4e4b8b3d-5f31-49bb-9f80-8a25c04abfff" providerId="ADAL" clId="{EE97D3FE-9ACA-4467-98E5-532EC45D9D1C}" dt="2024-03-01T14:41:31.935" v="15411" actId="478"/>
          <ac:spMkLst>
            <pc:docMk/>
            <pc:sldMk cId="3429470186" sldId="914"/>
            <ac:spMk id="2" creationId="{A1EA5253-E431-DFFC-E94A-6F8E087CC2C0}"/>
          </ac:spMkLst>
        </pc:spChg>
        <pc:spChg chg="mod ord">
          <ac:chgData name="Nataliia Chornii (UA)" userId="4e4b8b3d-5f31-49bb-9f80-8a25c04abfff" providerId="ADAL" clId="{EE97D3FE-9ACA-4467-98E5-532EC45D9D1C}" dt="2024-03-01T14:54:09.683" v="15849" actId="948"/>
          <ac:spMkLst>
            <pc:docMk/>
            <pc:sldMk cId="3429470186" sldId="914"/>
            <ac:spMk id="3" creationId="{F4CCF02E-F3C4-C376-8F56-61BD85A2E74B}"/>
          </ac:spMkLst>
        </pc:spChg>
        <pc:spChg chg="mod ord">
          <ac:chgData name="Nataliia Chornii (UA)" userId="4e4b8b3d-5f31-49bb-9f80-8a25c04abfff" providerId="ADAL" clId="{EE97D3FE-9ACA-4467-98E5-532EC45D9D1C}" dt="2024-03-01T14:43:35.293" v="15697"/>
          <ac:spMkLst>
            <pc:docMk/>
            <pc:sldMk cId="3429470186" sldId="914"/>
            <ac:spMk id="4" creationId="{872966CD-924A-B939-E655-A6BAF817DCBF}"/>
          </ac:spMkLst>
        </pc:spChg>
        <pc:spChg chg="del">
          <ac:chgData name="Nataliia Chornii (UA)" userId="4e4b8b3d-5f31-49bb-9f80-8a25c04abfff" providerId="ADAL" clId="{EE97D3FE-9ACA-4467-98E5-532EC45D9D1C}" dt="2024-03-01T14:41:19.063" v="15397" actId="478"/>
          <ac:spMkLst>
            <pc:docMk/>
            <pc:sldMk cId="3429470186" sldId="914"/>
            <ac:spMk id="5" creationId="{FF11D90A-8D15-0E43-4C2E-D42257331C13}"/>
          </ac:spMkLst>
        </pc:spChg>
        <pc:spChg chg="del">
          <ac:chgData name="Nataliia Chornii (UA)" userId="4e4b8b3d-5f31-49bb-9f80-8a25c04abfff" providerId="ADAL" clId="{EE97D3FE-9ACA-4467-98E5-532EC45D9D1C}" dt="2024-03-01T14:41:19.063" v="15397" actId="478"/>
          <ac:spMkLst>
            <pc:docMk/>
            <pc:sldMk cId="3429470186" sldId="914"/>
            <ac:spMk id="6" creationId="{0F377277-EC46-FAC5-F379-194FCD82679C}"/>
          </ac:spMkLst>
        </pc:spChg>
        <pc:spChg chg="mod">
          <ac:chgData name="Nataliia Chornii (UA)" userId="4e4b8b3d-5f31-49bb-9f80-8a25c04abfff" providerId="ADAL" clId="{EE97D3FE-9ACA-4467-98E5-532EC45D9D1C}" dt="2024-03-11T14:25:51.067" v="24083"/>
          <ac:spMkLst>
            <pc:docMk/>
            <pc:sldMk cId="3429470186" sldId="914"/>
            <ac:spMk id="6" creationId="{DC47A20A-A969-00A3-37AA-322215DD54F6}"/>
          </ac:spMkLst>
        </pc:spChg>
        <pc:spChg chg="mod">
          <ac:chgData name="Nataliia Chornii (UA)" userId="4e4b8b3d-5f31-49bb-9f80-8a25c04abfff" providerId="ADAL" clId="{EE97D3FE-9ACA-4467-98E5-532EC45D9D1C}" dt="2024-03-11T14:25:51.067" v="24083"/>
          <ac:spMkLst>
            <pc:docMk/>
            <pc:sldMk cId="3429470186" sldId="914"/>
            <ac:spMk id="7" creationId="{51D7512A-64ED-2B1C-E475-74F8E09A9B44}"/>
          </ac:spMkLst>
        </pc:spChg>
        <pc:spChg chg="del">
          <ac:chgData name="Nataliia Chornii (UA)" userId="4e4b8b3d-5f31-49bb-9f80-8a25c04abfff" providerId="ADAL" clId="{EE97D3FE-9ACA-4467-98E5-532EC45D9D1C}" dt="2024-03-01T14:41:36.401" v="15414" actId="478"/>
          <ac:spMkLst>
            <pc:docMk/>
            <pc:sldMk cId="3429470186" sldId="914"/>
            <ac:spMk id="7" creationId="{C808DA25-FA14-FF3C-E908-05869001F803}"/>
          </ac:spMkLst>
        </pc:spChg>
        <pc:spChg chg="mod">
          <ac:chgData name="Nataliia Chornii (UA)" userId="4e4b8b3d-5f31-49bb-9f80-8a25c04abfff" providerId="ADAL" clId="{EE97D3FE-9ACA-4467-98E5-532EC45D9D1C}" dt="2024-03-11T14:25:51.067" v="24083"/>
          <ac:spMkLst>
            <pc:docMk/>
            <pc:sldMk cId="3429470186" sldId="914"/>
            <ac:spMk id="9" creationId="{1D38C72F-15D5-34AF-7EE7-4AD6946B7EC7}"/>
          </ac:spMkLst>
        </pc:spChg>
        <pc:spChg chg="del mod ord">
          <ac:chgData name="Nataliia Chornii (UA)" userId="4e4b8b3d-5f31-49bb-9f80-8a25c04abfff" providerId="ADAL" clId="{EE97D3FE-9ACA-4467-98E5-532EC45D9D1C}" dt="2024-03-01T14:42:25.691" v="15588" actId="478"/>
          <ac:spMkLst>
            <pc:docMk/>
            <pc:sldMk cId="3429470186" sldId="914"/>
            <ac:spMk id="9" creationId="{87836C41-8052-C603-D229-3FB1E5E9CE1A}"/>
          </ac:spMkLst>
        </pc:spChg>
        <pc:spChg chg="del mod ord">
          <ac:chgData name="Nataliia Chornii (UA)" userId="4e4b8b3d-5f31-49bb-9f80-8a25c04abfff" providerId="ADAL" clId="{EE97D3FE-9ACA-4467-98E5-532EC45D9D1C}" dt="2024-03-01T14:48:36.437" v="15763" actId="478"/>
          <ac:spMkLst>
            <pc:docMk/>
            <pc:sldMk cId="3429470186" sldId="914"/>
            <ac:spMk id="10" creationId="{489B7680-E5EE-2A50-7733-37F2F144B869}"/>
          </ac:spMkLst>
        </pc:spChg>
        <pc:spChg chg="mod">
          <ac:chgData name="Nataliia Chornii (UA)" userId="4e4b8b3d-5f31-49bb-9f80-8a25c04abfff" providerId="ADAL" clId="{EE97D3FE-9ACA-4467-98E5-532EC45D9D1C}" dt="2024-03-11T14:25:51.067" v="24083"/>
          <ac:spMkLst>
            <pc:docMk/>
            <pc:sldMk cId="3429470186" sldId="914"/>
            <ac:spMk id="10" creationId="{702CBFA9-92A8-D828-C5BC-0B8847A8CF61}"/>
          </ac:spMkLst>
        </pc:spChg>
        <pc:spChg chg="mod">
          <ac:chgData name="Nataliia Chornii (UA)" userId="4e4b8b3d-5f31-49bb-9f80-8a25c04abfff" providerId="ADAL" clId="{EE97D3FE-9ACA-4467-98E5-532EC45D9D1C}" dt="2024-03-11T14:25:51.067" v="24083"/>
          <ac:spMkLst>
            <pc:docMk/>
            <pc:sldMk cId="3429470186" sldId="914"/>
            <ac:spMk id="11" creationId="{E648F134-4423-FA8E-2A66-A1F71C0F2A37}"/>
          </ac:spMkLst>
        </pc:spChg>
        <pc:spChg chg="add del mod ord">
          <ac:chgData name="Nataliia Chornii (UA)" userId="4e4b8b3d-5f31-49bb-9f80-8a25c04abfff" providerId="ADAL" clId="{EE97D3FE-9ACA-4467-98E5-532EC45D9D1C}" dt="2024-03-01T14:44:11.315" v="15720" actId="478"/>
          <ac:spMkLst>
            <pc:docMk/>
            <pc:sldMk cId="3429470186" sldId="914"/>
            <ac:spMk id="12" creationId="{2D9663EB-0680-762F-12C6-5349FB8B03C5}"/>
          </ac:spMkLst>
        </pc:spChg>
        <pc:spChg chg="mod">
          <ac:chgData name="Nataliia Chornii (UA)" userId="4e4b8b3d-5f31-49bb-9f80-8a25c04abfff" providerId="ADAL" clId="{EE97D3FE-9ACA-4467-98E5-532EC45D9D1C}" dt="2024-03-11T14:25:51.067" v="24083"/>
          <ac:spMkLst>
            <pc:docMk/>
            <pc:sldMk cId="3429470186" sldId="914"/>
            <ac:spMk id="12" creationId="{F3D4C9B4-5E7E-B1E5-58CB-DD050211C2C1}"/>
          </ac:spMkLst>
        </pc:spChg>
        <pc:spChg chg="add mod ord">
          <ac:chgData name="Nataliia Chornii (UA)" userId="4e4b8b3d-5f31-49bb-9f80-8a25c04abfff" providerId="ADAL" clId="{EE97D3FE-9ACA-4467-98E5-532EC45D9D1C}" dt="2024-03-01T14:43:35.261" v="15607"/>
          <ac:spMkLst>
            <pc:docMk/>
            <pc:sldMk cId="3429470186" sldId="914"/>
            <ac:spMk id="14" creationId="{A8A8DD37-9B73-46FB-C75B-2CEFA6483C22}"/>
          </ac:spMkLst>
        </pc:spChg>
        <pc:spChg chg="add mod">
          <ac:chgData name="Nataliia Chornii (UA)" userId="4e4b8b3d-5f31-49bb-9f80-8a25c04abfff" providerId="ADAL" clId="{EE97D3FE-9ACA-4467-98E5-532EC45D9D1C}" dt="2024-03-11T14:29:25.347" v="24229"/>
          <ac:spMkLst>
            <pc:docMk/>
            <pc:sldMk cId="3429470186" sldId="914"/>
            <ac:spMk id="15" creationId="{B6BE53C4-3742-6DCA-2316-49A9BF2D8207}"/>
          </ac:spMkLst>
        </pc:spChg>
        <pc:spChg chg="add del mod ord">
          <ac:chgData name="Nataliia Chornii (UA)" userId="4e4b8b3d-5f31-49bb-9f80-8a25c04abfff" providerId="ADAL" clId="{EE97D3FE-9ACA-4467-98E5-532EC45D9D1C}" dt="2024-03-01T15:19:20.551" v="16986" actId="478"/>
          <ac:spMkLst>
            <pc:docMk/>
            <pc:sldMk cId="3429470186" sldId="914"/>
            <ac:spMk id="15" creationId="{E629ACA0-19AA-6B2C-F2D4-5BA2027E48BA}"/>
          </ac:spMkLst>
        </pc:spChg>
        <pc:spChg chg="add mod ord">
          <ac:chgData name="Nataliia Chornii (UA)" userId="4e4b8b3d-5f31-49bb-9f80-8a25c04abfff" providerId="ADAL" clId="{EE97D3FE-9ACA-4467-98E5-532EC45D9D1C}" dt="2024-03-01T14:53:57.481" v="15847" actId="555"/>
          <ac:spMkLst>
            <pc:docMk/>
            <pc:sldMk cId="3429470186" sldId="914"/>
            <ac:spMk id="16" creationId="{25A25F16-3DF9-5BEF-8F70-42FAB50A6BCE}"/>
          </ac:spMkLst>
        </pc:spChg>
        <pc:spChg chg="add mod ord">
          <ac:chgData name="Nataliia Chornii (UA)" userId="4e4b8b3d-5f31-49bb-9f80-8a25c04abfff" providerId="ADAL" clId="{EE97D3FE-9ACA-4467-98E5-532EC45D9D1C}" dt="2024-03-01T14:54:13.751" v="15891" actId="554"/>
          <ac:spMkLst>
            <pc:docMk/>
            <pc:sldMk cId="3429470186" sldId="914"/>
            <ac:spMk id="17" creationId="{8A128ED3-6DA0-A56A-B5CE-670FD97F3136}"/>
          </ac:spMkLst>
        </pc:spChg>
        <pc:spChg chg="add del mod ord">
          <ac:chgData name="Nataliia Chornii (UA)" userId="4e4b8b3d-5f31-49bb-9f80-8a25c04abfff" providerId="ADAL" clId="{EE97D3FE-9ACA-4467-98E5-532EC45D9D1C}" dt="2024-03-01T14:50:05.183" v="15786" actId="478"/>
          <ac:spMkLst>
            <pc:docMk/>
            <pc:sldMk cId="3429470186" sldId="914"/>
            <ac:spMk id="18" creationId="{1F2102AE-9429-7797-684E-D82C1BB638FD}"/>
          </ac:spMkLst>
        </pc:spChg>
        <pc:spChg chg="add del mod ord">
          <ac:chgData name="Nataliia Chornii (UA)" userId="4e4b8b3d-5f31-49bb-9f80-8a25c04abfff" providerId="ADAL" clId="{EE97D3FE-9ACA-4467-98E5-532EC45D9D1C}" dt="2024-03-01T14:50:05.183" v="15786" actId="478"/>
          <ac:spMkLst>
            <pc:docMk/>
            <pc:sldMk cId="3429470186" sldId="914"/>
            <ac:spMk id="19" creationId="{292CC956-AEE0-AD72-18CB-38A87FB03753}"/>
          </ac:spMkLst>
        </pc:spChg>
        <pc:spChg chg="add del mod ord">
          <ac:chgData name="Nataliia Chornii (UA)" userId="4e4b8b3d-5f31-49bb-9f80-8a25c04abfff" providerId="ADAL" clId="{EE97D3FE-9ACA-4467-98E5-532EC45D9D1C}" dt="2024-03-01T14:50:05.183" v="15786" actId="478"/>
          <ac:spMkLst>
            <pc:docMk/>
            <pc:sldMk cId="3429470186" sldId="914"/>
            <ac:spMk id="20" creationId="{394F65FC-FCF7-6F6A-B818-8E1FDE619DCD}"/>
          </ac:spMkLst>
        </pc:spChg>
        <pc:spChg chg="add del mod ord">
          <ac:chgData name="Nataliia Chornii (UA)" userId="4e4b8b3d-5f31-49bb-9f80-8a25c04abfff" providerId="ADAL" clId="{EE97D3FE-9ACA-4467-98E5-532EC45D9D1C}" dt="2024-03-01T14:50:05.183" v="15786" actId="478"/>
          <ac:spMkLst>
            <pc:docMk/>
            <pc:sldMk cId="3429470186" sldId="914"/>
            <ac:spMk id="21" creationId="{865D7ED0-1C9C-D1FA-AF2E-E5D9CC5887D1}"/>
          </ac:spMkLst>
        </pc:spChg>
        <pc:spChg chg="add del mod ord">
          <ac:chgData name="Nataliia Chornii (UA)" userId="4e4b8b3d-5f31-49bb-9f80-8a25c04abfff" providerId="ADAL" clId="{EE97D3FE-9ACA-4467-98E5-532EC45D9D1C}" dt="2024-03-01T14:50:05.183" v="15786" actId="478"/>
          <ac:spMkLst>
            <pc:docMk/>
            <pc:sldMk cId="3429470186" sldId="914"/>
            <ac:spMk id="22" creationId="{B3614BE9-57F3-2AD6-B8F2-CABFBDCE09AB}"/>
          </ac:spMkLst>
        </pc:spChg>
        <pc:spChg chg="add del mod ord">
          <ac:chgData name="Nataliia Chornii (UA)" userId="4e4b8b3d-5f31-49bb-9f80-8a25c04abfff" providerId="ADAL" clId="{EE97D3FE-9ACA-4467-98E5-532EC45D9D1C}" dt="2024-03-01T14:50:05.183" v="15786" actId="478"/>
          <ac:spMkLst>
            <pc:docMk/>
            <pc:sldMk cId="3429470186" sldId="914"/>
            <ac:spMk id="23" creationId="{8209EE50-23EC-BA9E-795A-C776616CF2D5}"/>
          </ac:spMkLst>
        </pc:spChg>
        <pc:spChg chg="add mod ord">
          <ac:chgData name="Nataliia Chornii (UA)" userId="4e4b8b3d-5f31-49bb-9f80-8a25c04abfff" providerId="ADAL" clId="{EE97D3FE-9ACA-4467-98E5-532EC45D9D1C}" dt="2024-03-01T14:54:01.883" v="15848" actId="465"/>
          <ac:spMkLst>
            <pc:docMk/>
            <pc:sldMk cId="3429470186" sldId="914"/>
            <ac:spMk id="24" creationId="{7976A404-DCE0-7582-8C59-C64068CD6711}"/>
          </ac:spMkLst>
        </pc:spChg>
        <pc:spChg chg="add mod ord">
          <ac:chgData name="Nataliia Chornii (UA)" userId="4e4b8b3d-5f31-49bb-9f80-8a25c04abfff" providerId="ADAL" clId="{EE97D3FE-9ACA-4467-98E5-532EC45D9D1C}" dt="2024-03-01T14:54:01.883" v="15848" actId="465"/>
          <ac:spMkLst>
            <pc:docMk/>
            <pc:sldMk cId="3429470186" sldId="914"/>
            <ac:spMk id="25" creationId="{CAEF1BFA-4F5E-5ECC-B05E-7D8BEAB50690}"/>
          </ac:spMkLst>
        </pc:spChg>
        <pc:spChg chg="add mod ord">
          <ac:chgData name="Nataliia Chornii (UA)" userId="4e4b8b3d-5f31-49bb-9f80-8a25c04abfff" providerId="ADAL" clId="{EE97D3FE-9ACA-4467-98E5-532EC45D9D1C}" dt="2024-03-01T14:54:01.883" v="15848" actId="465"/>
          <ac:spMkLst>
            <pc:docMk/>
            <pc:sldMk cId="3429470186" sldId="914"/>
            <ac:spMk id="26" creationId="{B81EDABD-64F3-49A6-E323-8C6185048BF8}"/>
          </ac:spMkLst>
        </pc:spChg>
        <pc:spChg chg="add mod ord">
          <ac:chgData name="Nataliia Chornii (UA)" userId="4e4b8b3d-5f31-49bb-9f80-8a25c04abfff" providerId="ADAL" clId="{EE97D3FE-9ACA-4467-98E5-532EC45D9D1C}" dt="2024-03-01T14:54:01.883" v="15848" actId="465"/>
          <ac:spMkLst>
            <pc:docMk/>
            <pc:sldMk cId="3429470186" sldId="914"/>
            <ac:spMk id="27" creationId="{E1CF9F97-1AD2-680B-5387-753B47FD3F5E}"/>
          </ac:spMkLst>
        </pc:spChg>
        <pc:spChg chg="add mod ord">
          <ac:chgData name="Nataliia Chornii (UA)" userId="4e4b8b3d-5f31-49bb-9f80-8a25c04abfff" providerId="ADAL" clId="{EE97D3FE-9ACA-4467-98E5-532EC45D9D1C}" dt="2024-03-01T14:54:01.883" v="15848" actId="465"/>
          <ac:spMkLst>
            <pc:docMk/>
            <pc:sldMk cId="3429470186" sldId="914"/>
            <ac:spMk id="28" creationId="{05646684-037D-FB27-E857-FE90B3511B0B}"/>
          </ac:spMkLst>
        </pc:spChg>
        <pc:spChg chg="add mod ord">
          <ac:chgData name="Nataliia Chornii (UA)" userId="4e4b8b3d-5f31-49bb-9f80-8a25c04abfff" providerId="ADAL" clId="{EE97D3FE-9ACA-4467-98E5-532EC45D9D1C}" dt="2024-03-01T14:54:01.883" v="15848" actId="465"/>
          <ac:spMkLst>
            <pc:docMk/>
            <pc:sldMk cId="3429470186" sldId="914"/>
            <ac:spMk id="29" creationId="{42FA7EA8-D762-11AE-4131-888CA48F2894}"/>
          </ac:spMkLst>
        </pc:spChg>
        <pc:spChg chg="add mod ord">
          <ac:chgData name="Nataliia Chornii (UA)" userId="4e4b8b3d-5f31-49bb-9f80-8a25c04abfff" providerId="ADAL" clId="{EE97D3FE-9ACA-4467-98E5-532EC45D9D1C}" dt="2024-03-01T14:54:01.883" v="15848" actId="465"/>
          <ac:spMkLst>
            <pc:docMk/>
            <pc:sldMk cId="3429470186" sldId="914"/>
            <ac:spMk id="30" creationId="{EC7F10C8-AA0B-EE40-2DBC-EE94DB6D204B}"/>
          </ac:spMkLst>
        </pc:spChg>
        <pc:spChg chg="add mod ord">
          <ac:chgData name="Nataliia Chornii (UA)" userId="4e4b8b3d-5f31-49bb-9f80-8a25c04abfff" providerId="ADAL" clId="{EE97D3FE-9ACA-4467-98E5-532EC45D9D1C}" dt="2024-03-01T14:54:16.662" v="15892" actId="465"/>
          <ac:spMkLst>
            <pc:docMk/>
            <pc:sldMk cId="3429470186" sldId="914"/>
            <ac:spMk id="31" creationId="{3ED63378-9AD4-6F7B-AA83-0757250B3655}"/>
          </ac:spMkLst>
        </pc:spChg>
        <pc:spChg chg="add mod ord">
          <ac:chgData name="Nataliia Chornii (UA)" userId="4e4b8b3d-5f31-49bb-9f80-8a25c04abfff" providerId="ADAL" clId="{EE97D3FE-9ACA-4467-98E5-532EC45D9D1C}" dt="2024-03-01T14:54:16.662" v="15892" actId="465"/>
          <ac:spMkLst>
            <pc:docMk/>
            <pc:sldMk cId="3429470186" sldId="914"/>
            <ac:spMk id="32" creationId="{368867CA-1A92-D7C5-1747-4DA72A1913A3}"/>
          </ac:spMkLst>
        </pc:spChg>
        <pc:spChg chg="add mod ord">
          <ac:chgData name="Nataliia Chornii (UA)" userId="4e4b8b3d-5f31-49bb-9f80-8a25c04abfff" providerId="ADAL" clId="{EE97D3FE-9ACA-4467-98E5-532EC45D9D1C}" dt="2024-03-01T14:54:16.662" v="15892" actId="465"/>
          <ac:spMkLst>
            <pc:docMk/>
            <pc:sldMk cId="3429470186" sldId="914"/>
            <ac:spMk id="33" creationId="{C4D43AE7-C8F7-08A9-8215-1FA9C3039CB2}"/>
          </ac:spMkLst>
        </pc:spChg>
        <pc:spChg chg="add mod ord">
          <ac:chgData name="Nataliia Chornii (UA)" userId="4e4b8b3d-5f31-49bb-9f80-8a25c04abfff" providerId="ADAL" clId="{EE97D3FE-9ACA-4467-98E5-532EC45D9D1C}" dt="2024-03-01T14:54:16.662" v="15892" actId="465"/>
          <ac:spMkLst>
            <pc:docMk/>
            <pc:sldMk cId="3429470186" sldId="914"/>
            <ac:spMk id="34" creationId="{A44E1DFA-63E7-6696-A512-35660567BC8E}"/>
          </ac:spMkLst>
        </pc:spChg>
        <pc:spChg chg="add mod ord">
          <ac:chgData name="Nataliia Chornii (UA)" userId="4e4b8b3d-5f31-49bb-9f80-8a25c04abfff" providerId="ADAL" clId="{EE97D3FE-9ACA-4467-98E5-532EC45D9D1C}" dt="2024-03-01T14:54:16.662" v="15892" actId="465"/>
          <ac:spMkLst>
            <pc:docMk/>
            <pc:sldMk cId="3429470186" sldId="914"/>
            <ac:spMk id="35" creationId="{0E3889E8-6CBA-B9D9-B3CF-37BF7D2AD588}"/>
          </ac:spMkLst>
        </pc:spChg>
        <pc:spChg chg="add mod ord">
          <ac:chgData name="Nataliia Chornii (UA)" userId="4e4b8b3d-5f31-49bb-9f80-8a25c04abfff" providerId="ADAL" clId="{EE97D3FE-9ACA-4467-98E5-532EC45D9D1C}" dt="2024-03-01T14:54:16.662" v="15892" actId="465"/>
          <ac:spMkLst>
            <pc:docMk/>
            <pc:sldMk cId="3429470186" sldId="914"/>
            <ac:spMk id="36" creationId="{1AE54009-C4AA-42A0-6C3E-5B591C01E340}"/>
          </ac:spMkLst>
        </pc:spChg>
        <pc:spChg chg="add mod ord">
          <ac:chgData name="Nataliia Chornii (UA)" userId="4e4b8b3d-5f31-49bb-9f80-8a25c04abfff" providerId="ADAL" clId="{EE97D3FE-9ACA-4467-98E5-532EC45D9D1C}" dt="2024-03-01T14:54:16.662" v="15892" actId="465"/>
          <ac:spMkLst>
            <pc:docMk/>
            <pc:sldMk cId="3429470186" sldId="914"/>
            <ac:spMk id="37" creationId="{E0CFB0A4-DBFE-D718-60F7-B518BBA84C50}"/>
          </ac:spMkLst>
        </pc:spChg>
        <pc:spChg chg="add del mod ord">
          <ac:chgData name="Nataliia Chornii (UA)" userId="4e4b8b3d-5f31-49bb-9f80-8a25c04abfff" providerId="ADAL" clId="{EE97D3FE-9ACA-4467-98E5-532EC45D9D1C}" dt="2024-03-01T14:50:05.183" v="15786" actId="478"/>
          <ac:spMkLst>
            <pc:docMk/>
            <pc:sldMk cId="3429470186" sldId="914"/>
            <ac:spMk id="45" creationId="{64C0F80D-62A8-8ED5-4DEB-616CF5DDBBAA}"/>
          </ac:spMkLst>
        </pc:spChg>
        <pc:spChg chg="add del mod ord">
          <ac:chgData name="Nataliia Chornii (UA)" userId="4e4b8b3d-5f31-49bb-9f80-8a25c04abfff" providerId="ADAL" clId="{EE97D3FE-9ACA-4467-98E5-532EC45D9D1C}" dt="2024-03-01T14:50:05.183" v="15786" actId="478"/>
          <ac:spMkLst>
            <pc:docMk/>
            <pc:sldMk cId="3429470186" sldId="914"/>
            <ac:spMk id="46" creationId="{ED5C1B45-1FDB-2A1D-9552-BCFEE5918624}"/>
          </ac:spMkLst>
        </pc:spChg>
        <pc:spChg chg="add mod ord">
          <ac:chgData name="Nataliia Chornii (UA)" userId="4e4b8b3d-5f31-49bb-9f80-8a25c04abfff" providerId="ADAL" clId="{EE97D3FE-9ACA-4467-98E5-532EC45D9D1C}" dt="2024-03-01T14:54:20.948" v="15895" actId="12789"/>
          <ac:spMkLst>
            <pc:docMk/>
            <pc:sldMk cId="3429470186" sldId="914"/>
            <ac:spMk id="47" creationId="{BFB5D4D5-E118-6D3B-1F42-9A2DB96589BB}"/>
          </ac:spMkLst>
        </pc:spChg>
        <pc:spChg chg="add mod ord">
          <ac:chgData name="Nataliia Chornii (UA)" userId="4e4b8b3d-5f31-49bb-9f80-8a25c04abfff" providerId="ADAL" clId="{EE97D3FE-9ACA-4467-98E5-532EC45D9D1C}" dt="2024-03-01T14:54:20.948" v="15895" actId="12789"/>
          <ac:spMkLst>
            <pc:docMk/>
            <pc:sldMk cId="3429470186" sldId="914"/>
            <ac:spMk id="49" creationId="{CBA276DE-FC82-7DC9-C0DE-E912A56FECAA}"/>
          </ac:spMkLst>
        </pc:spChg>
        <pc:spChg chg="add mod ord">
          <ac:chgData name="Nataliia Chornii (UA)" userId="4e4b8b3d-5f31-49bb-9f80-8a25c04abfff" providerId="ADAL" clId="{EE97D3FE-9ACA-4467-98E5-532EC45D9D1C}" dt="2024-03-01T14:54:40.760" v="15898" actId="465"/>
          <ac:spMkLst>
            <pc:docMk/>
            <pc:sldMk cId="3429470186" sldId="914"/>
            <ac:spMk id="50" creationId="{2AAD1ED9-717D-5C71-0350-C325B79C9D61}"/>
          </ac:spMkLst>
        </pc:spChg>
        <pc:spChg chg="add mod ord">
          <ac:chgData name="Nataliia Chornii (UA)" userId="4e4b8b3d-5f31-49bb-9f80-8a25c04abfff" providerId="ADAL" clId="{EE97D3FE-9ACA-4467-98E5-532EC45D9D1C}" dt="2024-03-01T14:54:40.760" v="15898" actId="465"/>
          <ac:spMkLst>
            <pc:docMk/>
            <pc:sldMk cId="3429470186" sldId="914"/>
            <ac:spMk id="51" creationId="{C85C2095-DDB1-C189-7E39-FB1EAB5D20D8}"/>
          </ac:spMkLst>
        </pc:spChg>
        <pc:spChg chg="add mod ord">
          <ac:chgData name="Nataliia Chornii (UA)" userId="4e4b8b3d-5f31-49bb-9f80-8a25c04abfff" providerId="ADAL" clId="{EE97D3FE-9ACA-4467-98E5-532EC45D9D1C}" dt="2024-03-01T14:54:40.760" v="15898" actId="465"/>
          <ac:spMkLst>
            <pc:docMk/>
            <pc:sldMk cId="3429470186" sldId="914"/>
            <ac:spMk id="52" creationId="{0EA929E4-70A4-853F-054A-08FE8E8A7FD9}"/>
          </ac:spMkLst>
        </pc:spChg>
        <pc:spChg chg="add mod ord">
          <ac:chgData name="Nataliia Chornii (UA)" userId="4e4b8b3d-5f31-49bb-9f80-8a25c04abfff" providerId="ADAL" clId="{EE97D3FE-9ACA-4467-98E5-532EC45D9D1C}" dt="2024-03-01T14:54:40.760" v="15898" actId="465"/>
          <ac:spMkLst>
            <pc:docMk/>
            <pc:sldMk cId="3429470186" sldId="914"/>
            <ac:spMk id="53" creationId="{18815909-39A8-057A-E892-017B041D3041}"/>
          </ac:spMkLst>
        </pc:spChg>
        <pc:spChg chg="add mod ord">
          <ac:chgData name="Nataliia Chornii (UA)" userId="4e4b8b3d-5f31-49bb-9f80-8a25c04abfff" providerId="ADAL" clId="{EE97D3FE-9ACA-4467-98E5-532EC45D9D1C}" dt="2024-03-01T14:54:40.760" v="15898" actId="465"/>
          <ac:spMkLst>
            <pc:docMk/>
            <pc:sldMk cId="3429470186" sldId="914"/>
            <ac:spMk id="54" creationId="{4742A4B9-ADF3-C3D5-A7C3-0EF2BC771ED8}"/>
          </ac:spMkLst>
        </pc:spChg>
        <pc:spChg chg="add mod ord">
          <ac:chgData name="Nataliia Chornii (UA)" userId="4e4b8b3d-5f31-49bb-9f80-8a25c04abfff" providerId="ADAL" clId="{EE97D3FE-9ACA-4467-98E5-532EC45D9D1C}" dt="2024-03-01T14:45:14.234" v="15733" actId="1076"/>
          <ac:spMkLst>
            <pc:docMk/>
            <pc:sldMk cId="3429470186" sldId="914"/>
            <ac:spMk id="55" creationId="{366B0B67-EE35-2B7F-8A32-63885B0BAF18}"/>
          </ac:spMkLst>
        </pc:spChg>
        <pc:spChg chg="add mod ord">
          <ac:chgData name="Nataliia Chornii (UA)" userId="4e4b8b3d-5f31-49bb-9f80-8a25c04abfff" providerId="ADAL" clId="{EE97D3FE-9ACA-4467-98E5-532EC45D9D1C}" dt="2024-03-01T14:54:32.477" v="15897" actId="1076"/>
          <ac:spMkLst>
            <pc:docMk/>
            <pc:sldMk cId="3429470186" sldId="914"/>
            <ac:spMk id="56" creationId="{3EB4BEBD-8A82-553F-3D2B-78822FBDB433}"/>
          </ac:spMkLst>
        </pc:spChg>
        <pc:spChg chg="add mod ord">
          <ac:chgData name="Nataliia Chornii (UA)" userId="4e4b8b3d-5f31-49bb-9f80-8a25c04abfff" providerId="ADAL" clId="{EE97D3FE-9ACA-4467-98E5-532EC45D9D1C}" dt="2024-03-01T14:54:40.760" v="15898" actId="465"/>
          <ac:spMkLst>
            <pc:docMk/>
            <pc:sldMk cId="3429470186" sldId="914"/>
            <ac:spMk id="57" creationId="{5624AA1C-D03F-87D7-BB7D-86AB8398DA97}"/>
          </ac:spMkLst>
        </pc:spChg>
        <pc:spChg chg="add mod ord">
          <ac:chgData name="Nataliia Chornii (UA)" userId="4e4b8b3d-5f31-49bb-9f80-8a25c04abfff" providerId="ADAL" clId="{EE97D3FE-9ACA-4467-98E5-532EC45D9D1C}" dt="2024-03-01T14:54:25.532" v="15896" actId="1076"/>
          <ac:spMkLst>
            <pc:docMk/>
            <pc:sldMk cId="3429470186" sldId="914"/>
            <ac:spMk id="58" creationId="{CF3A810F-BF24-BFF9-4540-5B519710E40B}"/>
          </ac:spMkLst>
        </pc:spChg>
        <pc:spChg chg="add mod ord">
          <ac:chgData name="Nataliia Chornii (UA)" userId="4e4b8b3d-5f31-49bb-9f80-8a25c04abfff" providerId="ADAL" clId="{EE97D3FE-9ACA-4467-98E5-532EC45D9D1C}" dt="2024-03-01T14:54:11.828" v="15890" actId="554"/>
          <ac:spMkLst>
            <pc:docMk/>
            <pc:sldMk cId="3429470186" sldId="914"/>
            <ac:spMk id="59" creationId="{715ED03C-D3A9-521E-7134-1FACE564F40F}"/>
          </ac:spMkLst>
        </pc:spChg>
        <pc:spChg chg="add mod">
          <ac:chgData name="Nataliia Chornii (UA)" userId="4e4b8b3d-5f31-49bb-9f80-8a25c04abfff" providerId="ADAL" clId="{EE97D3FE-9ACA-4467-98E5-532EC45D9D1C}" dt="2024-03-01T14:54:11.828" v="15890" actId="554"/>
          <ac:spMkLst>
            <pc:docMk/>
            <pc:sldMk cId="3429470186" sldId="914"/>
            <ac:spMk id="62" creationId="{05D1587F-2220-61CF-C510-7EBB4EE50944}"/>
          </ac:spMkLst>
        </pc:spChg>
        <pc:spChg chg="add mod">
          <ac:chgData name="Nataliia Chornii (UA)" userId="4e4b8b3d-5f31-49bb-9f80-8a25c04abfff" providerId="ADAL" clId="{EE97D3FE-9ACA-4467-98E5-532EC45D9D1C}" dt="2024-03-01T14:50:05.988" v="15787"/>
          <ac:spMkLst>
            <pc:docMk/>
            <pc:sldMk cId="3429470186" sldId="914"/>
            <ac:spMk id="64" creationId="{0A0D3723-5FC7-C936-25AC-39631D999DD6}"/>
          </ac:spMkLst>
        </pc:spChg>
        <pc:spChg chg="add mod">
          <ac:chgData name="Nataliia Chornii (UA)" userId="4e4b8b3d-5f31-49bb-9f80-8a25c04abfff" providerId="ADAL" clId="{EE97D3FE-9ACA-4467-98E5-532EC45D9D1C}" dt="2024-03-01T14:50:05.988" v="15787"/>
          <ac:spMkLst>
            <pc:docMk/>
            <pc:sldMk cId="3429470186" sldId="914"/>
            <ac:spMk id="65" creationId="{3CC8ECC6-83AA-36F7-7A5F-D4A307C0537E}"/>
          </ac:spMkLst>
        </pc:spChg>
        <pc:spChg chg="add mod">
          <ac:chgData name="Nataliia Chornii (UA)" userId="4e4b8b3d-5f31-49bb-9f80-8a25c04abfff" providerId="ADAL" clId="{EE97D3FE-9ACA-4467-98E5-532EC45D9D1C}" dt="2024-03-01T14:50:05.988" v="15787"/>
          <ac:spMkLst>
            <pc:docMk/>
            <pc:sldMk cId="3429470186" sldId="914"/>
            <ac:spMk id="66" creationId="{DE3B362D-5D33-2569-90E9-0FB04D189092}"/>
          </ac:spMkLst>
        </pc:spChg>
        <pc:spChg chg="add mod">
          <ac:chgData name="Nataliia Chornii (UA)" userId="4e4b8b3d-5f31-49bb-9f80-8a25c04abfff" providerId="ADAL" clId="{EE97D3FE-9ACA-4467-98E5-532EC45D9D1C}" dt="2024-03-01T14:50:05.988" v="15787"/>
          <ac:spMkLst>
            <pc:docMk/>
            <pc:sldMk cId="3429470186" sldId="914"/>
            <ac:spMk id="67" creationId="{5FEACEB3-5308-52F2-E30F-84F09C9B8E8C}"/>
          </ac:spMkLst>
        </pc:spChg>
        <pc:spChg chg="add mod">
          <ac:chgData name="Nataliia Chornii (UA)" userId="4e4b8b3d-5f31-49bb-9f80-8a25c04abfff" providerId="ADAL" clId="{EE97D3FE-9ACA-4467-98E5-532EC45D9D1C}" dt="2024-03-01T14:50:05.988" v="15787"/>
          <ac:spMkLst>
            <pc:docMk/>
            <pc:sldMk cId="3429470186" sldId="914"/>
            <ac:spMk id="68" creationId="{E306B251-3F5F-005F-AEFB-3CB241FE32C8}"/>
          </ac:spMkLst>
        </pc:spChg>
        <pc:spChg chg="add mod">
          <ac:chgData name="Nataliia Chornii (UA)" userId="4e4b8b3d-5f31-49bb-9f80-8a25c04abfff" providerId="ADAL" clId="{EE97D3FE-9ACA-4467-98E5-532EC45D9D1C}" dt="2024-03-01T14:50:05.988" v="15787"/>
          <ac:spMkLst>
            <pc:docMk/>
            <pc:sldMk cId="3429470186" sldId="914"/>
            <ac:spMk id="69" creationId="{104F4EFD-C9CA-3F71-44EE-FFB520C2BA98}"/>
          </ac:spMkLst>
        </pc:spChg>
        <pc:spChg chg="add mod">
          <ac:chgData name="Nataliia Chornii (UA)" userId="4e4b8b3d-5f31-49bb-9f80-8a25c04abfff" providerId="ADAL" clId="{EE97D3FE-9ACA-4467-98E5-532EC45D9D1C}" dt="2024-03-01T14:50:05.988" v="15787"/>
          <ac:spMkLst>
            <pc:docMk/>
            <pc:sldMk cId="3429470186" sldId="914"/>
            <ac:spMk id="70" creationId="{3F5BD87C-F15B-0669-254D-9ED7461E67A3}"/>
          </ac:spMkLst>
        </pc:spChg>
        <pc:spChg chg="add mod">
          <ac:chgData name="Nataliia Chornii (UA)" userId="4e4b8b3d-5f31-49bb-9f80-8a25c04abfff" providerId="ADAL" clId="{EE97D3FE-9ACA-4467-98E5-532EC45D9D1C}" dt="2024-03-01T14:50:05.988" v="15787"/>
          <ac:spMkLst>
            <pc:docMk/>
            <pc:sldMk cId="3429470186" sldId="914"/>
            <ac:spMk id="71" creationId="{9C1AF4BA-6826-C17F-A9FE-5541CDF4BFC4}"/>
          </ac:spMkLst>
        </pc:spChg>
        <pc:spChg chg="add del mod">
          <ac:chgData name="Nataliia Chornii (UA)" userId="4e4b8b3d-5f31-49bb-9f80-8a25c04abfff" providerId="ADAL" clId="{EE97D3FE-9ACA-4467-98E5-532EC45D9D1C}" dt="2024-03-01T14:54:17.807" v="15893" actId="478"/>
          <ac:spMkLst>
            <pc:docMk/>
            <pc:sldMk cId="3429470186" sldId="914"/>
            <ac:spMk id="72" creationId="{1E75BC9C-37FF-3025-A4F7-30800E317EFB}"/>
          </ac:spMkLst>
        </pc:spChg>
        <pc:spChg chg="add del mod">
          <ac:chgData name="Nataliia Chornii (UA)" userId="4e4b8b3d-5f31-49bb-9f80-8a25c04abfff" providerId="ADAL" clId="{EE97D3FE-9ACA-4467-98E5-532EC45D9D1C}" dt="2024-03-11T14:29:24.972" v="24228" actId="478"/>
          <ac:spMkLst>
            <pc:docMk/>
            <pc:sldMk cId="3429470186" sldId="914"/>
            <ac:spMk id="73" creationId="{637697E1-CC11-E241-8E37-A50816D410F4}"/>
          </ac:spMkLst>
        </pc:spChg>
        <pc:grpChg chg="add mod">
          <ac:chgData name="Nataliia Chornii (UA)" userId="4e4b8b3d-5f31-49bb-9f80-8a25c04abfff" providerId="ADAL" clId="{EE97D3FE-9ACA-4467-98E5-532EC45D9D1C}" dt="2024-03-11T14:25:51.067" v="24083"/>
          <ac:grpSpMkLst>
            <pc:docMk/>
            <pc:sldMk cId="3429470186" sldId="914"/>
            <ac:grpSpMk id="5" creationId="{9F4D49DA-C160-44B0-4B22-9D2075362CB6}"/>
          </ac:grpSpMkLst>
        </pc:grpChg>
        <pc:graphicFrameChg chg="add mod ord modVis replST">
          <ac:chgData name="Nataliia Chornii (UA)" userId="4e4b8b3d-5f31-49bb-9f80-8a25c04abfff" providerId="ADAL" clId="{EE97D3FE-9ACA-4467-98E5-532EC45D9D1C}" dt="2024-03-01T14:54:09.714" v="15889"/>
          <ac:graphicFrameMkLst>
            <pc:docMk/>
            <pc:sldMk cId="3429470186" sldId="914"/>
            <ac:graphicFrameMk id="8" creationId="{32A03EDD-F030-291B-BE81-BF9DE321CA50}"/>
          </ac:graphicFrameMkLst>
        </pc:graphicFrameChg>
        <pc:picChg chg="add mod ord">
          <ac:chgData name="Nataliia Chornii (UA)" userId="4e4b8b3d-5f31-49bb-9f80-8a25c04abfff" providerId="ADAL" clId="{EE97D3FE-9ACA-4467-98E5-532EC45D9D1C}" dt="2024-03-01T14:43:35.261" v="15605"/>
          <ac:picMkLst>
            <pc:docMk/>
            <pc:sldMk cId="3429470186" sldId="914"/>
            <ac:picMk id="13" creationId="{74DDB8D3-0D3E-4998-DA26-3080B29564A0}"/>
          </ac:picMkLst>
        </pc:picChg>
        <pc:cxnChg chg="add mod ord">
          <ac:chgData name="Nataliia Chornii (UA)" userId="4e4b8b3d-5f31-49bb-9f80-8a25c04abfff" providerId="ADAL" clId="{EE97D3FE-9ACA-4467-98E5-532EC45D9D1C}" dt="2024-03-01T14:54:16.662" v="15892" actId="465"/>
          <ac:cxnSpMkLst>
            <pc:docMk/>
            <pc:sldMk cId="3429470186" sldId="914"/>
            <ac:cxnSpMk id="38" creationId="{6C076618-B972-83FA-E91E-661AF9666BAC}"/>
          </ac:cxnSpMkLst>
        </pc:cxnChg>
        <pc:cxnChg chg="add mod ord">
          <ac:chgData name="Nataliia Chornii (UA)" userId="4e4b8b3d-5f31-49bb-9f80-8a25c04abfff" providerId="ADAL" clId="{EE97D3FE-9ACA-4467-98E5-532EC45D9D1C}" dt="2024-03-01T14:54:16.662" v="15892" actId="465"/>
          <ac:cxnSpMkLst>
            <pc:docMk/>
            <pc:sldMk cId="3429470186" sldId="914"/>
            <ac:cxnSpMk id="39" creationId="{AACFD71A-79C6-7413-5A81-A4AFD0F2E441}"/>
          </ac:cxnSpMkLst>
        </pc:cxnChg>
        <pc:cxnChg chg="add mod ord">
          <ac:chgData name="Nataliia Chornii (UA)" userId="4e4b8b3d-5f31-49bb-9f80-8a25c04abfff" providerId="ADAL" clId="{EE97D3FE-9ACA-4467-98E5-532EC45D9D1C}" dt="2024-03-01T14:54:16.662" v="15892" actId="465"/>
          <ac:cxnSpMkLst>
            <pc:docMk/>
            <pc:sldMk cId="3429470186" sldId="914"/>
            <ac:cxnSpMk id="40" creationId="{7ECA13E0-FA0D-1066-D038-F5C5F3ECD0DE}"/>
          </ac:cxnSpMkLst>
        </pc:cxnChg>
        <pc:cxnChg chg="add mod ord">
          <ac:chgData name="Nataliia Chornii (UA)" userId="4e4b8b3d-5f31-49bb-9f80-8a25c04abfff" providerId="ADAL" clId="{EE97D3FE-9ACA-4467-98E5-532EC45D9D1C}" dt="2024-03-01T14:54:16.662" v="15892" actId="465"/>
          <ac:cxnSpMkLst>
            <pc:docMk/>
            <pc:sldMk cId="3429470186" sldId="914"/>
            <ac:cxnSpMk id="41" creationId="{A235ECF1-4D0C-2C8E-6F14-C26295D9BD92}"/>
          </ac:cxnSpMkLst>
        </pc:cxnChg>
        <pc:cxnChg chg="add mod ord">
          <ac:chgData name="Nataliia Chornii (UA)" userId="4e4b8b3d-5f31-49bb-9f80-8a25c04abfff" providerId="ADAL" clId="{EE97D3FE-9ACA-4467-98E5-532EC45D9D1C}" dt="2024-03-01T14:54:16.662" v="15892" actId="465"/>
          <ac:cxnSpMkLst>
            <pc:docMk/>
            <pc:sldMk cId="3429470186" sldId="914"/>
            <ac:cxnSpMk id="42" creationId="{DBBD5D35-2B1D-A5AD-2FC3-6967356AB8AD}"/>
          </ac:cxnSpMkLst>
        </pc:cxnChg>
        <pc:cxnChg chg="add mod ord">
          <ac:chgData name="Nataliia Chornii (UA)" userId="4e4b8b3d-5f31-49bb-9f80-8a25c04abfff" providerId="ADAL" clId="{EE97D3FE-9ACA-4467-98E5-532EC45D9D1C}" dt="2024-03-01T14:54:16.662" v="15892" actId="465"/>
          <ac:cxnSpMkLst>
            <pc:docMk/>
            <pc:sldMk cId="3429470186" sldId="914"/>
            <ac:cxnSpMk id="43" creationId="{0FA02750-EEED-1294-ED4F-724A2B8FA344}"/>
          </ac:cxnSpMkLst>
        </pc:cxnChg>
        <pc:cxnChg chg="add mod ord">
          <ac:chgData name="Nataliia Chornii (UA)" userId="4e4b8b3d-5f31-49bb-9f80-8a25c04abfff" providerId="ADAL" clId="{EE97D3FE-9ACA-4467-98E5-532EC45D9D1C}" dt="2024-03-01T14:54:16.662" v="15892" actId="465"/>
          <ac:cxnSpMkLst>
            <pc:docMk/>
            <pc:sldMk cId="3429470186" sldId="914"/>
            <ac:cxnSpMk id="44" creationId="{9484F603-EFA7-CF51-3E25-A8C107ED1840}"/>
          </ac:cxnSpMkLst>
        </pc:cxnChg>
        <pc:cxnChg chg="add mod ord">
          <ac:chgData name="Nataliia Chornii (UA)" userId="4e4b8b3d-5f31-49bb-9f80-8a25c04abfff" providerId="ADAL" clId="{EE97D3FE-9ACA-4467-98E5-532EC45D9D1C}" dt="2024-03-01T14:54:20.948" v="15895" actId="12789"/>
          <ac:cxnSpMkLst>
            <pc:docMk/>
            <pc:sldMk cId="3429470186" sldId="914"/>
            <ac:cxnSpMk id="48" creationId="{8C4D9F7B-7A3D-3318-A201-AF6934836B34}"/>
          </ac:cxnSpMkLst>
        </pc:cxnChg>
        <pc:cxnChg chg="add mod">
          <ac:chgData name="Nataliia Chornii (UA)" userId="4e4b8b3d-5f31-49bb-9f80-8a25c04abfff" providerId="ADAL" clId="{EE97D3FE-9ACA-4467-98E5-532EC45D9D1C}" dt="2024-03-01T14:54:16.662" v="15892" actId="465"/>
          <ac:cxnSpMkLst>
            <pc:docMk/>
            <pc:sldMk cId="3429470186" sldId="914"/>
            <ac:cxnSpMk id="61" creationId="{804E26DD-A68F-F1A2-ED8C-EB65BFE83319}"/>
          </ac:cxnSpMkLst>
        </pc:cxnChg>
      </pc:sldChg>
      <pc:sldChg chg="addSp delSp modSp mod modClrScheme modCm chgLayout">
        <pc:chgData name="Nataliia Chornii (UA)" userId="4e4b8b3d-5f31-49bb-9f80-8a25c04abfff" providerId="ADAL" clId="{EE97D3FE-9ACA-4467-98E5-532EC45D9D1C}" dt="2024-03-11T14:29:33.036" v="24235"/>
        <pc:sldMkLst>
          <pc:docMk/>
          <pc:sldMk cId="1981412866" sldId="915"/>
        </pc:sldMkLst>
        <pc:spChg chg="add mod">
          <ac:chgData name="Nataliia Chornii (UA)" userId="4e4b8b3d-5f31-49bb-9f80-8a25c04abfff" providerId="ADAL" clId="{EE97D3FE-9ACA-4467-98E5-532EC45D9D1C}" dt="2024-03-04T09:57:57.164" v="20137" actId="12788"/>
          <ac:spMkLst>
            <pc:docMk/>
            <pc:sldMk cId="1981412866" sldId="915"/>
            <ac:spMk id="2" creationId="{96E90289-07C1-5A7D-A81D-B8B121EFCC45}"/>
          </ac:spMkLst>
        </pc:spChg>
        <pc:spChg chg="del">
          <ac:chgData name="Nataliia Chornii (UA)" userId="4e4b8b3d-5f31-49bb-9f80-8a25c04abfff" providerId="ADAL" clId="{EE97D3FE-9ACA-4467-98E5-532EC45D9D1C}" dt="2024-03-01T14:41:44.258" v="15415" actId="478"/>
          <ac:spMkLst>
            <pc:docMk/>
            <pc:sldMk cId="1981412866" sldId="915"/>
            <ac:spMk id="2" creationId="{A1EA5253-E431-DFFC-E94A-6F8E087CC2C0}"/>
          </ac:spMkLst>
        </pc:spChg>
        <pc:spChg chg="mod ord">
          <ac:chgData name="Nataliia Chornii (UA)" userId="4e4b8b3d-5f31-49bb-9f80-8a25c04abfff" providerId="ADAL" clId="{EE97D3FE-9ACA-4467-98E5-532EC45D9D1C}" dt="2024-03-01T15:10:53.058" v="16367"/>
          <ac:spMkLst>
            <pc:docMk/>
            <pc:sldMk cId="1981412866" sldId="915"/>
            <ac:spMk id="3" creationId="{F4CCF02E-F3C4-C376-8F56-61BD85A2E74B}"/>
          </ac:spMkLst>
        </pc:spChg>
        <pc:spChg chg="mod ord">
          <ac:chgData name="Nataliia Chornii (UA)" userId="4e4b8b3d-5f31-49bb-9f80-8a25c04abfff" providerId="ADAL" clId="{EE97D3FE-9ACA-4467-98E5-532EC45D9D1C}" dt="2024-03-01T15:10:53.058" v="16369"/>
          <ac:spMkLst>
            <pc:docMk/>
            <pc:sldMk cId="1981412866" sldId="915"/>
            <ac:spMk id="4" creationId="{872966CD-924A-B939-E655-A6BAF817DCBF}"/>
          </ac:spMkLst>
        </pc:spChg>
        <pc:spChg chg="del mod ord">
          <ac:chgData name="Nataliia Chornii (UA)" userId="4e4b8b3d-5f31-49bb-9f80-8a25c04abfff" providerId="ADAL" clId="{EE97D3FE-9ACA-4467-98E5-532EC45D9D1C}" dt="2024-03-01T14:41:53.318" v="15470" actId="478"/>
          <ac:spMkLst>
            <pc:docMk/>
            <pc:sldMk cId="1981412866" sldId="915"/>
            <ac:spMk id="5" creationId="{FF11D90A-8D15-0E43-4C2E-D42257331C13}"/>
          </ac:spMkLst>
        </pc:spChg>
        <pc:spChg chg="del mod ord">
          <ac:chgData name="Nataliia Chornii (UA)" userId="4e4b8b3d-5f31-49bb-9f80-8a25c04abfff" providerId="ADAL" clId="{EE97D3FE-9ACA-4467-98E5-532EC45D9D1C}" dt="2024-03-01T14:41:53.318" v="15470" actId="478"/>
          <ac:spMkLst>
            <pc:docMk/>
            <pc:sldMk cId="1981412866" sldId="915"/>
            <ac:spMk id="6" creationId="{0F377277-EC46-FAC5-F379-194FCD82679C}"/>
          </ac:spMkLst>
        </pc:spChg>
        <pc:spChg chg="mod">
          <ac:chgData name="Nataliia Chornii (UA)" userId="4e4b8b3d-5f31-49bb-9f80-8a25c04abfff" providerId="ADAL" clId="{EE97D3FE-9ACA-4467-98E5-532EC45D9D1C}" dt="2024-03-04T09:56:36.288" v="20110"/>
          <ac:spMkLst>
            <pc:docMk/>
            <pc:sldMk cId="1981412866" sldId="915"/>
            <ac:spMk id="6" creationId="{D1D485D9-992C-9507-12E9-974556D69A56}"/>
          </ac:spMkLst>
        </pc:spChg>
        <pc:spChg chg="mod">
          <ac:chgData name="Nataliia Chornii (UA)" userId="4e4b8b3d-5f31-49bb-9f80-8a25c04abfff" providerId="ADAL" clId="{EE97D3FE-9ACA-4467-98E5-532EC45D9D1C}" dt="2024-03-04T09:56:36.288" v="20110"/>
          <ac:spMkLst>
            <pc:docMk/>
            <pc:sldMk cId="1981412866" sldId="915"/>
            <ac:spMk id="7" creationId="{15BA13C0-6C87-20F0-2804-F02F492C5766}"/>
          </ac:spMkLst>
        </pc:spChg>
        <pc:spChg chg="add del mod modVis">
          <ac:chgData name="Nataliia Chornii (UA)" userId="4e4b8b3d-5f31-49bb-9f80-8a25c04abfff" providerId="ADAL" clId="{EE97D3FE-9ACA-4467-98E5-532EC45D9D1C}" dt="2024-03-01T08:48:59.470" v="1361"/>
          <ac:spMkLst>
            <pc:docMk/>
            <pc:sldMk cId="1981412866" sldId="915"/>
            <ac:spMk id="7" creationId="{344F7804-976C-1A5E-8330-6D1BEB038E5E}"/>
          </ac:spMkLst>
        </pc:spChg>
        <pc:spChg chg="del">
          <ac:chgData name="Nataliia Chornii (UA)" userId="4e4b8b3d-5f31-49bb-9f80-8a25c04abfff" providerId="ADAL" clId="{EE97D3FE-9ACA-4467-98E5-532EC45D9D1C}" dt="2024-03-01T14:41:44.258" v="15415" actId="478"/>
          <ac:spMkLst>
            <pc:docMk/>
            <pc:sldMk cId="1981412866" sldId="915"/>
            <ac:spMk id="8" creationId="{598AB23C-0BF9-85FE-4B7A-DC0CF1A85603}"/>
          </ac:spMkLst>
        </pc:spChg>
        <pc:spChg chg="mod">
          <ac:chgData name="Nataliia Chornii (UA)" userId="4e4b8b3d-5f31-49bb-9f80-8a25c04abfff" providerId="ADAL" clId="{EE97D3FE-9ACA-4467-98E5-532EC45D9D1C}" dt="2024-03-04T09:56:36.288" v="20110"/>
          <ac:spMkLst>
            <pc:docMk/>
            <pc:sldMk cId="1981412866" sldId="915"/>
            <ac:spMk id="8" creationId="{6FCA05AD-8C35-7836-65D0-E8DA5B08E0ED}"/>
          </ac:spMkLst>
        </pc:spChg>
        <pc:spChg chg="del">
          <ac:chgData name="Nataliia Chornii (UA)" userId="4e4b8b3d-5f31-49bb-9f80-8a25c04abfff" providerId="ADAL" clId="{EE97D3FE-9ACA-4467-98E5-532EC45D9D1C}" dt="2024-03-01T14:57:16.240" v="15927" actId="478"/>
          <ac:spMkLst>
            <pc:docMk/>
            <pc:sldMk cId="1981412866" sldId="915"/>
            <ac:spMk id="10" creationId="{489B7680-E5EE-2A50-7733-37F2F144B869}"/>
          </ac:spMkLst>
        </pc:spChg>
        <pc:spChg chg="mod">
          <ac:chgData name="Nataliia Chornii (UA)" userId="4e4b8b3d-5f31-49bb-9f80-8a25c04abfff" providerId="ADAL" clId="{EE97D3FE-9ACA-4467-98E5-532EC45D9D1C}" dt="2024-03-04T09:56:36.288" v="20110"/>
          <ac:spMkLst>
            <pc:docMk/>
            <pc:sldMk cId="1981412866" sldId="915"/>
            <ac:spMk id="10" creationId="{587DDC30-89F6-93F6-6EBF-3B6714D009F6}"/>
          </ac:spMkLst>
        </pc:spChg>
        <pc:spChg chg="del">
          <ac:chgData name="Nataliia Chornii (UA)" userId="4e4b8b3d-5f31-49bb-9f80-8a25c04abfff" providerId="ADAL" clId="{EE97D3FE-9ACA-4467-98E5-532EC45D9D1C}" dt="2024-03-01T14:41:44.258" v="15415" actId="478"/>
          <ac:spMkLst>
            <pc:docMk/>
            <pc:sldMk cId="1981412866" sldId="915"/>
            <ac:spMk id="11" creationId="{327B1A4B-6980-7B00-091C-6006703B82A0}"/>
          </ac:spMkLst>
        </pc:spChg>
        <pc:spChg chg="mod">
          <ac:chgData name="Nataliia Chornii (UA)" userId="4e4b8b3d-5f31-49bb-9f80-8a25c04abfff" providerId="ADAL" clId="{EE97D3FE-9ACA-4467-98E5-532EC45D9D1C}" dt="2024-03-04T09:56:36.288" v="20110"/>
          <ac:spMkLst>
            <pc:docMk/>
            <pc:sldMk cId="1981412866" sldId="915"/>
            <ac:spMk id="11" creationId="{DB977EC8-480D-D5D8-60CB-3A4515B09437}"/>
          </ac:spMkLst>
        </pc:spChg>
        <pc:spChg chg="add del mod modVis">
          <ac:chgData name="Nataliia Chornii (UA)" userId="4e4b8b3d-5f31-49bb-9f80-8a25c04abfff" providerId="ADAL" clId="{EE97D3FE-9ACA-4467-98E5-532EC45D9D1C}" dt="2024-03-01T08:49:33.757" v="2818"/>
          <ac:spMkLst>
            <pc:docMk/>
            <pc:sldMk cId="1981412866" sldId="915"/>
            <ac:spMk id="12" creationId="{40444200-C0B8-1229-05D8-F2C48D2E15D9}"/>
          </ac:spMkLst>
        </pc:spChg>
        <pc:spChg chg="add del mod modVis">
          <ac:chgData name="Nataliia Chornii (UA)" userId="4e4b8b3d-5f31-49bb-9f80-8a25c04abfff" providerId="ADAL" clId="{EE97D3FE-9ACA-4467-98E5-532EC45D9D1C}" dt="2024-03-01T08:49:59.788" v="3806"/>
          <ac:spMkLst>
            <pc:docMk/>
            <pc:sldMk cId="1981412866" sldId="915"/>
            <ac:spMk id="13" creationId="{2F559554-D864-00EF-3886-292DAC4FDDBA}"/>
          </ac:spMkLst>
        </pc:spChg>
        <pc:spChg chg="mod">
          <ac:chgData name="Nataliia Chornii (UA)" userId="4e4b8b3d-5f31-49bb-9f80-8a25c04abfff" providerId="ADAL" clId="{EE97D3FE-9ACA-4467-98E5-532EC45D9D1C}" dt="2024-03-04T09:57:01.019" v="20112"/>
          <ac:spMkLst>
            <pc:docMk/>
            <pc:sldMk cId="1981412866" sldId="915"/>
            <ac:spMk id="13" creationId="{525B38CA-341A-699F-6B0D-119258973EDF}"/>
          </ac:spMkLst>
        </pc:spChg>
        <pc:spChg chg="add del mod modVis">
          <ac:chgData name="Nataliia Chornii (UA)" userId="4e4b8b3d-5f31-49bb-9f80-8a25c04abfff" providerId="ADAL" clId="{EE97D3FE-9ACA-4467-98E5-532EC45D9D1C}" dt="2024-03-01T08:51:26.106" v="4794"/>
          <ac:spMkLst>
            <pc:docMk/>
            <pc:sldMk cId="1981412866" sldId="915"/>
            <ac:spMk id="14" creationId="{4EC54AE3-5D69-7034-061F-A6C2AD306D46}"/>
          </ac:spMkLst>
        </pc:spChg>
        <pc:spChg chg="mod">
          <ac:chgData name="Nataliia Chornii (UA)" userId="4e4b8b3d-5f31-49bb-9f80-8a25c04abfff" providerId="ADAL" clId="{EE97D3FE-9ACA-4467-98E5-532EC45D9D1C}" dt="2024-03-04T09:57:01.019" v="20112"/>
          <ac:spMkLst>
            <pc:docMk/>
            <pc:sldMk cId="1981412866" sldId="915"/>
            <ac:spMk id="14" creationId="{61E793CC-19F7-C0AA-59BB-146173E573D1}"/>
          </ac:spMkLst>
        </pc:spChg>
        <pc:spChg chg="add del mod modVis">
          <ac:chgData name="Nataliia Chornii (UA)" userId="4e4b8b3d-5f31-49bb-9f80-8a25c04abfff" providerId="ADAL" clId="{EE97D3FE-9ACA-4467-98E5-532EC45D9D1C}" dt="2024-03-01T08:51:56.110" v="5783"/>
          <ac:spMkLst>
            <pc:docMk/>
            <pc:sldMk cId="1981412866" sldId="915"/>
            <ac:spMk id="15" creationId="{416C50ED-BD41-C60E-B9F4-45F2EE895DB6}"/>
          </ac:spMkLst>
        </pc:spChg>
        <pc:spChg chg="mod">
          <ac:chgData name="Nataliia Chornii (UA)" userId="4e4b8b3d-5f31-49bb-9f80-8a25c04abfff" providerId="ADAL" clId="{EE97D3FE-9ACA-4467-98E5-532EC45D9D1C}" dt="2024-03-04T09:57:01.019" v="20112"/>
          <ac:spMkLst>
            <pc:docMk/>
            <pc:sldMk cId="1981412866" sldId="915"/>
            <ac:spMk id="15" creationId="{8098566C-D4E3-EF8D-7D46-18B778966168}"/>
          </ac:spMkLst>
        </pc:spChg>
        <pc:spChg chg="mod">
          <ac:chgData name="Nataliia Chornii (UA)" userId="4e4b8b3d-5f31-49bb-9f80-8a25c04abfff" providerId="ADAL" clId="{EE97D3FE-9ACA-4467-98E5-532EC45D9D1C}" dt="2024-03-04T09:57:01.019" v="20112"/>
          <ac:spMkLst>
            <pc:docMk/>
            <pc:sldMk cId="1981412866" sldId="915"/>
            <ac:spMk id="16" creationId="{5D1487C4-24F7-DCEB-AD5F-DCCCC045562E}"/>
          </ac:spMkLst>
        </pc:spChg>
        <pc:spChg chg="add del mod modVis">
          <ac:chgData name="Nataliia Chornii (UA)" userId="4e4b8b3d-5f31-49bb-9f80-8a25c04abfff" providerId="ADAL" clId="{EE97D3FE-9ACA-4467-98E5-532EC45D9D1C}" dt="2024-03-01T08:52:18.267" v="6771"/>
          <ac:spMkLst>
            <pc:docMk/>
            <pc:sldMk cId="1981412866" sldId="915"/>
            <ac:spMk id="16" creationId="{67CCF045-1A4E-7480-57B9-4EF50ABF0855}"/>
          </ac:spMkLst>
        </pc:spChg>
        <pc:spChg chg="add mod">
          <ac:chgData name="Nataliia Chornii (UA)" userId="4e4b8b3d-5f31-49bb-9f80-8a25c04abfff" providerId="ADAL" clId="{EE97D3FE-9ACA-4467-98E5-532EC45D9D1C}" dt="2024-03-11T14:25:54.979" v="24084"/>
          <ac:spMkLst>
            <pc:docMk/>
            <pc:sldMk cId="1981412866" sldId="915"/>
            <ac:spMk id="17" creationId="{68D4BE07-EE77-6573-3961-3389F961B1B0}"/>
          </ac:spMkLst>
        </pc:spChg>
        <pc:spChg chg="add del mod">
          <ac:chgData name="Nataliia Chornii (UA)" userId="4e4b8b3d-5f31-49bb-9f80-8a25c04abfff" providerId="ADAL" clId="{EE97D3FE-9ACA-4467-98E5-532EC45D9D1C}" dt="2024-03-01T14:41:47.483" v="15416" actId="700"/>
          <ac:spMkLst>
            <pc:docMk/>
            <pc:sldMk cId="1981412866" sldId="915"/>
            <ac:spMk id="18" creationId="{7B540454-A808-B314-AE3A-69E4E5D13569}"/>
          </ac:spMkLst>
        </pc:spChg>
        <pc:spChg chg="mod">
          <ac:chgData name="Nataliia Chornii (UA)" userId="4e4b8b3d-5f31-49bb-9f80-8a25c04abfff" providerId="ADAL" clId="{EE97D3FE-9ACA-4467-98E5-532EC45D9D1C}" dt="2024-03-11T14:25:54.979" v="24084"/>
          <ac:spMkLst>
            <pc:docMk/>
            <pc:sldMk cId="1981412866" sldId="915"/>
            <ac:spMk id="19" creationId="{90780358-C072-6B3D-FB2E-24A9A6DBB0D4}"/>
          </ac:spMkLst>
        </pc:spChg>
        <pc:spChg chg="add del mod modVis">
          <ac:chgData name="Nataliia Chornii (UA)" userId="4e4b8b3d-5f31-49bb-9f80-8a25c04abfff" providerId="ADAL" clId="{EE97D3FE-9ACA-4467-98E5-532EC45D9D1C}" dt="2024-03-01T14:41:48.020" v="15440"/>
          <ac:spMkLst>
            <pc:docMk/>
            <pc:sldMk cId="1981412866" sldId="915"/>
            <ac:spMk id="19" creationId="{C531AC5D-4025-674D-1568-BDE6008DDA44}"/>
          </ac:spMkLst>
        </pc:spChg>
        <pc:spChg chg="add del mod ord">
          <ac:chgData name="Nataliia Chornii (UA)" userId="4e4b8b3d-5f31-49bb-9f80-8a25c04abfff" providerId="ADAL" clId="{EE97D3FE-9ACA-4467-98E5-532EC45D9D1C}" dt="2024-03-01T14:41:54.147" v="15471" actId="478"/>
          <ac:spMkLst>
            <pc:docMk/>
            <pc:sldMk cId="1981412866" sldId="915"/>
            <ac:spMk id="20" creationId="{194227C2-168E-BAB0-9547-CEA44E71F63B}"/>
          </ac:spMkLst>
        </pc:spChg>
        <pc:spChg chg="mod">
          <ac:chgData name="Nataliia Chornii (UA)" userId="4e4b8b3d-5f31-49bb-9f80-8a25c04abfff" providerId="ADAL" clId="{EE97D3FE-9ACA-4467-98E5-532EC45D9D1C}" dt="2024-03-11T14:25:54.979" v="24084"/>
          <ac:spMkLst>
            <pc:docMk/>
            <pc:sldMk cId="1981412866" sldId="915"/>
            <ac:spMk id="20" creationId="{7B2ABD59-087E-A754-5ABE-541F89404C42}"/>
          </ac:spMkLst>
        </pc:spChg>
        <pc:spChg chg="add del mod modVis">
          <ac:chgData name="Nataliia Chornii (UA)" userId="4e4b8b3d-5f31-49bb-9f80-8a25c04abfff" providerId="ADAL" clId="{EE97D3FE-9ACA-4467-98E5-532EC45D9D1C}" dt="2024-03-01T14:41:51.232" v="15467"/>
          <ac:spMkLst>
            <pc:docMk/>
            <pc:sldMk cId="1981412866" sldId="915"/>
            <ac:spMk id="21" creationId="{07BA5BE9-5B0F-2314-72E5-DF1CA2DB289E}"/>
          </ac:spMkLst>
        </pc:spChg>
        <pc:spChg chg="mod">
          <ac:chgData name="Nataliia Chornii (UA)" userId="4e4b8b3d-5f31-49bb-9f80-8a25c04abfff" providerId="ADAL" clId="{EE97D3FE-9ACA-4467-98E5-532EC45D9D1C}" dt="2024-03-11T14:25:54.979" v="24084"/>
          <ac:spMkLst>
            <pc:docMk/>
            <pc:sldMk cId="1981412866" sldId="915"/>
            <ac:spMk id="21" creationId="{A6FD980E-E321-4F12-D754-132070F922F7}"/>
          </ac:spMkLst>
        </pc:spChg>
        <pc:spChg chg="add del mod ord">
          <ac:chgData name="Nataliia Chornii (UA)" userId="4e4b8b3d-5f31-49bb-9f80-8a25c04abfff" providerId="ADAL" clId="{EE97D3FE-9ACA-4467-98E5-532EC45D9D1C}" dt="2024-03-01T15:00:54.460" v="16098" actId="478"/>
          <ac:spMkLst>
            <pc:docMk/>
            <pc:sldMk cId="1981412866" sldId="915"/>
            <ac:spMk id="22" creationId="{21A06204-9F03-C0A1-4A18-772029EA27C9}"/>
          </ac:spMkLst>
        </pc:spChg>
        <pc:spChg chg="mod">
          <ac:chgData name="Nataliia Chornii (UA)" userId="4e4b8b3d-5f31-49bb-9f80-8a25c04abfff" providerId="ADAL" clId="{EE97D3FE-9ACA-4467-98E5-532EC45D9D1C}" dt="2024-03-11T14:25:54.979" v="24084"/>
          <ac:spMkLst>
            <pc:docMk/>
            <pc:sldMk cId="1981412866" sldId="915"/>
            <ac:spMk id="22" creationId="{D45405E9-A94A-9407-99AF-96CA0558213E}"/>
          </ac:spMkLst>
        </pc:spChg>
        <pc:spChg chg="add del mod ord">
          <ac:chgData name="Nataliia Chornii (UA)" userId="4e4b8b3d-5f31-49bb-9f80-8a25c04abfff" providerId="ADAL" clId="{EE97D3FE-9ACA-4467-98E5-532EC45D9D1C}" dt="2024-03-01T15:02:07.943" v="16115" actId="478"/>
          <ac:spMkLst>
            <pc:docMk/>
            <pc:sldMk cId="1981412866" sldId="915"/>
            <ac:spMk id="23" creationId="{7FEE6516-A477-E36D-54DA-39E846A8CC3C}"/>
          </ac:spMkLst>
        </pc:spChg>
        <pc:spChg chg="mod">
          <ac:chgData name="Nataliia Chornii (UA)" userId="4e4b8b3d-5f31-49bb-9f80-8a25c04abfff" providerId="ADAL" clId="{EE97D3FE-9ACA-4467-98E5-532EC45D9D1C}" dt="2024-03-11T14:25:54.979" v="24084"/>
          <ac:spMkLst>
            <pc:docMk/>
            <pc:sldMk cId="1981412866" sldId="915"/>
            <ac:spMk id="23" creationId="{80679B44-E780-AF8A-F9FC-0A82951551DF}"/>
          </ac:spMkLst>
        </pc:spChg>
        <pc:spChg chg="add del mod ord">
          <ac:chgData name="Nataliia Chornii (UA)" userId="4e4b8b3d-5f31-49bb-9f80-8a25c04abfff" providerId="ADAL" clId="{EE97D3FE-9ACA-4467-98E5-532EC45D9D1C}" dt="2024-03-01T15:04:32.150" v="16162" actId="478"/>
          <ac:spMkLst>
            <pc:docMk/>
            <pc:sldMk cId="1981412866" sldId="915"/>
            <ac:spMk id="24" creationId="{42C7AAA6-B7A4-49C9-FFCC-CE6016CF66D3}"/>
          </ac:spMkLst>
        </pc:spChg>
        <pc:spChg chg="mod">
          <ac:chgData name="Nataliia Chornii (UA)" userId="4e4b8b3d-5f31-49bb-9f80-8a25c04abfff" providerId="ADAL" clId="{EE97D3FE-9ACA-4467-98E5-532EC45D9D1C}" dt="2024-03-11T14:25:54.979" v="24084"/>
          <ac:spMkLst>
            <pc:docMk/>
            <pc:sldMk cId="1981412866" sldId="915"/>
            <ac:spMk id="24" creationId="{F0BA98FD-45F1-EA62-D2BF-2974360EEC2E}"/>
          </ac:spMkLst>
        </pc:spChg>
        <pc:spChg chg="add del mod">
          <ac:chgData name="Nataliia Chornii (UA)" userId="4e4b8b3d-5f31-49bb-9f80-8a25c04abfff" providerId="ADAL" clId="{EE97D3FE-9ACA-4467-98E5-532EC45D9D1C}" dt="2024-03-11T14:26:05.710" v="24086"/>
          <ac:spMkLst>
            <pc:docMk/>
            <pc:sldMk cId="1981412866" sldId="915"/>
            <ac:spMk id="25" creationId="{20BCEED0-2AAB-CA30-4305-516DF6E26A97}"/>
          </ac:spMkLst>
        </pc:spChg>
        <pc:spChg chg="add del mod ord">
          <ac:chgData name="Nataliia Chornii (UA)" userId="4e4b8b3d-5f31-49bb-9f80-8a25c04abfff" providerId="ADAL" clId="{EE97D3FE-9ACA-4467-98E5-532EC45D9D1C}" dt="2024-03-01T15:19:22.743" v="16988" actId="478"/>
          <ac:spMkLst>
            <pc:docMk/>
            <pc:sldMk cId="1981412866" sldId="915"/>
            <ac:spMk id="25" creationId="{3834EADA-117D-0F4D-15E8-06EF33AAB7FA}"/>
          </ac:spMkLst>
        </pc:spChg>
        <pc:spChg chg="add mod ord topLvl">
          <ac:chgData name="Nataliia Chornii (UA)" userId="4e4b8b3d-5f31-49bb-9f80-8a25c04abfff" providerId="ADAL" clId="{EE97D3FE-9ACA-4467-98E5-532EC45D9D1C}" dt="2024-03-04T09:57:16.976" v="20125" actId="12789"/>
          <ac:spMkLst>
            <pc:docMk/>
            <pc:sldMk cId="1981412866" sldId="915"/>
            <ac:spMk id="26" creationId="{53921BE1-AA0B-33DD-82D0-CCB1AC795236}"/>
          </ac:spMkLst>
        </pc:spChg>
        <pc:spChg chg="add mod ord topLvl">
          <ac:chgData name="Nataliia Chornii (UA)" userId="4e4b8b3d-5f31-49bb-9f80-8a25c04abfff" providerId="ADAL" clId="{EE97D3FE-9ACA-4467-98E5-532EC45D9D1C}" dt="2024-03-04T09:57:54.090" v="20136" actId="12788"/>
          <ac:spMkLst>
            <pc:docMk/>
            <pc:sldMk cId="1981412866" sldId="915"/>
            <ac:spMk id="27" creationId="{4BD59986-9361-5100-003A-62EE6D8B87CC}"/>
          </ac:spMkLst>
        </pc:spChg>
        <pc:spChg chg="add mod ord topLvl">
          <ac:chgData name="Nataliia Chornii (UA)" userId="4e4b8b3d-5f31-49bb-9f80-8a25c04abfff" providerId="ADAL" clId="{EE97D3FE-9ACA-4467-98E5-532EC45D9D1C}" dt="2024-03-04T09:57:16.976" v="20125" actId="12789"/>
          <ac:spMkLst>
            <pc:docMk/>
            <pc:sldMk cId="1981412866" sldId="915"/>
            <ac:spMk id="28" creationId="{9370CB65-9630-D59F-776F-39693BC60245}"/>
          </ac:spMkLst>
        </pc:spChg>
        <pc:spChg chg="add del mod topLvl">
          <ac:chgData name="Nataliia Chornii (UA)" userId="4e4b8b3d-5f31-49bb-9f80-8a25c04abfff" providerId="ADAL" clId="{EE97D3FE-9ACA-4467-98E5-532EC45D9D1C}" dt="2024-03-01T14:57:43.792" v="15935" actId="478"/>
          <ac:spMkLst>
            <pc:docMk/>
            <pc:sldMk cId="1981412866" sldId="915"/>
            <ac:spMk id="29" creationId="{DA8538D0-D57B-6428-4596-7A126535174C}"/>
          </ac:spMkLst>
        </pc:spChg>
        <pc:spChg chg="mod">
          <ac:chgData name="Nataliia Chornii (UA)" userId="4e4b8b3d-5f31-49bb-9f80-8a25c04abfff" providerId="ADAL" clId="{EE97D3FE-9ACA-4467-98E5-532EC45D9D1C}" dt="2024-03-11T14:26:05.048" v="24085"/>
          <ac:spMkLst>
            <pc:docMk/>
            <pc:sldMk cId="1981412866" sldId="915"/>
            <ac:spMk id="30" creationId="{9BE1D223-8F2E-8643-470C-2B88BA42E618}"/>
          </ac:spMkLst>
        </pc:spChg>
        <pc:spChg chg="mod">
          <ac:chgData name="Nataliia Chornii (UA)" userId="4e4b8b3d-5f31-49bb-9f80-8a25c04abfff" providerId="ADAL" clId="{EE97D3FE-9ACA-4467-98E5-532EC45D9D1C}" dt="2024-03-11T14:26:05.048" v="24085"/>
          <ac:spMkLst>
            <pc:docMk/>
            <pc:sldMk cId="1981412866" sldId="915"/>
            <ac:spMk id="31" creationId="{078F7C32-2D25-0D89-2AD1-154FFE734F04}"/>
          </ac:spMkLst>
        </pc:spChg>
        <pc:spChg chg="add del mod">
          <ac:chgData name="Nataliia Chornii (UA)" userId="4e4b8b3d-5f31-49bb-9f80-8a25c04abfff" providerId="ADAL" clId="{EE97D3FE-9ACA-4467-98E5-532EC45D9D1C}" dt="2024-03-01T14:57:58.712" v="15938" actId="478"/>
          <ac:spMkLst>
            <pc:docMk/>
            <pc:sldMk cId="1981412866" sldId="915"/>
            <ac:spMk id="31" creationId="{526AB6A4-C5A0-930D-5A97-C7C41330F6F6}"/>
          </ac:spMkLst>
        </pc:spChg>
        <pc:spChg chg="add mod ord topLvl">
          <ac:chgData name="Nataliia Chornii (UA)" userId="4e4b8b3d-5f31-49bb-9f80-8a25c04abfff" providerId="ADAL" clId="{EE97D3FE-9ACA-4467-98E5-532EC45D9D1C}" dt="2024-03-01T15:10:53.058" v="16391"/>
          <ac:spMkLst>
            <pc:docMk/>
            <pc:sldMk cId="1981412866" sldId="915"/>
            <ac:spMk id="32" creationId="{F6FD7F51-FCB6-23F6-84BA-89F9C3713AC4}"/>
          </ac:spMkLst>
        </pc:spChg>
        <pc:spChg chg="add mod ord topLvl">
          <ac:chgData name="Nataliia Chornii (UA)" userId="4e4b8b3d-5f31-49bb-9f80-8a25c04abfff" providerId="ADAL" clId="{EE97D3FE-9ACA-4467-98E5-532EC45D9D1C}" dt="2024-03-01T15:10:53.058" v="16373"/>
          <ac:spMkLst>
            <pc:docMk/>
            <pc:sldMk cId="1981412866" sldId="915"/>
            <ac:spMk id="33" creationId="{93FD5216-5960-E975-E5B0-792A3A7ADDAB}"/>
          </ac:spMkLst>
        </pc:spChg>
        <pc:spChg chg="add mod ord topLvl">
          <ac:chgData name="Nataliia Chornii (UA)" userId="4e4b8b3d-5f31-49bb-9f80-8a25c04abfff" providerId="ADAL" clId="{EE97D3FE-9ACA-4467-98E5-532EC45D9D1C}" dt="2024-03-01T15:10:53.058" v="16375"/>
          <ac:spMkLst>
            <pc:docMk/>
            <pc:sldMk cId="1981412866" sldId="915"/>
            <ac:spMk id="34" creationId="{DBF09A9E-1B6D-1011-0B1D-B5D707EB04BA}"/>
          </ac:spMkLst>
        </pc:spChg>
        <pc:spChg chg="add mod ord topLvl">
          <ac:chgData name="Nataliia Chornii (UA)" userId="4e4b8b3d-5f31-49bb-9f80-8a25c04abfff" providerId="ADAL" clId="{EE97D3FE-9ACA-4467-98E5-532EC45D9D1C}" dt="2024-03-01T15:10:53.058" v="16377"/>
          <ac:spMkLst>
            <pc:docMk/>
            <pc:sldMk cId="1981412866" sldId="915"/>
            <ac:spMk id="35" creationId="{0F6CD3B8-1FC1-0750-DEE0-591BD614C49B}"/>
          </ac:spMkLst>
        </pc:spChg>
        <pc:spChg chg="add mod ord topLvl">
          <ac:chgData name="Nataliia Chornii (UA)" userId="4e4b8b3d-5f31-49bb-9f80-8a25c04abfff" providerId="ADAL" clId="{EE97D3FE-9ACA-4467-98E5-532EC45D9D1C}" dt="2024-03-01T15:10:53.058" v="16379"/>
          <ac:spMkLst>
            <pc:docMk/>
            <pc:sldMk cId="1981412866" sldId="915"/>
            <ac:spMk id="36" creationId="{7A547E0B-19BF-76D6-6846-6916EAC86E10}"/>
          </ac:spMkLst>
        </pc:spChg>
        <pc:spChg chg="add mod ord topLvl">
          <ac:chgData name="Nataliia Chornii (UA)" userId="4e4b8b3d-5f31-49bb-9f80-8a25c04abfff" providerId="ADAL" clId="{EE97D3FE-9ACA-4467-98E5-532EC45D9D1C}" dt="2024-03-01T15:10:53.058" v="16381"/>
          <ac:spMkLst>
            <pc:docMk/>
            <pc:sldMk cId="1981412866" sldId="915"/>
            <ac:spMk id="37" creationId="{39805D96-5245-1291-390C-00303ECA057C}"/>
          </ac:spMkLst>
        </pc:spChg>
        <pc:spChg chg="mod">
          <ac:chgData name="Nataliia Chornii (UA)" userId="4e4b8b3d-5f31-49bb-9f80-8a25c04abfff" providerId="ADAL" clId="{EE97D3FE-9ACA-4467-98E5-532EC45D9D1C}" dt="2024-03-11T14:26:05.048" v="24085"/>
          <ac:spMkLst>
            <pc:docMk/>
            <pc:sldMk cId="1981412866" sldId="915"/>
            <ac:spMk id="38" creationId="{0163B582-BD6C-C2C5-E7F2-438CA4C5D4BC}"/>
          </ac:spMkLst>
        </pc:spChg>
        <pc:spChg chg="add del mod">
          <ac:chgData name="Nataliia Chornii (UA)" userId="4e4b8b3d-5f31-49bb-9f80-8a25c04abfff" providerId="ADAL" clId="{EE97D3FE-9ACA-4467-98E5-532EC45D9D1C}" dt="2024-03-01T14:58:04.906" v="15939" actId="478"/>
          <ac:spMkLst>
            <pc:docMk/>
            <pc:sldMk cId="1981412866" sldId="915"/>
            <ac:spMk id="38" creationId="{267F6D29-4B9B-8CE3-36D7-562E496EA99A}"/>
          </ac:spMkLst>
        </pc:spChg>
        <pc:spChg chg="mod">
          <ac:chgData name="Nataliia Chornii (UA)" userId="4e4b8b3d-5f31-49bb-9f80-8a25c04abfff" providerId="ADAL" clId="{EE97D3FE-9ACA-4467-98E5-532EC45D9D1C}" dt="2024-03-11T14:26:05.048" v="24085"/>
          <ac:spMkLst>
            <pc:docMk/>
            <pc:sldMk cId="1981412866" sldId="915"/>
            <ac:spMk id="39" creationId="{41C23B6C-0FE9-7D5E-67F6-D3A105BFC4B9}"/>
          </ac:spMkLst>
        </pc:spChg>
        <pc:spChg chg="add del mod">
          <ac:chgData name="Nataliia Chornii (UA)" userId="4e4b8b3d-5f31-49bb-9f80-8a25c04abfff" providerId="ADAL" clId="{EE97D3FE-9ACA-4467-98E5-532EC45D9D1C}" dt="2024-03-01T14:57:58.712" v="15938" actId="478"/>
          <ac:spMkLst>
            <pc:docMk/>
            <pc:sldMk cId="1981412866" sldId="915"/>
            <ac:spMk id="39" creationId="{8DEC0589-230D-A777-1DD6-575E63921321}"/>
          </ac:spMkLst>
        </pc:spChg>
        <pc:spChg chg="add mod ord topLvl">
          <ac:chgData name="Nataliia Chornii (UA)" userId="4e4b8b3d-5f31-49bb-9f80-8a25c04abfff" providerId="ADAL" clId="{EE97D3FE-9ACA-4467-98E5-532EC45D9D1C}" dt="2024-03-01T15:10:53.058" v="16393"/>
          <ac:spMkLst>
            <pc:docMk/>
            <pc:sldMk cId="1981412866" sldId="915"/>
            <ac:spMk id="40" creationId="{30F089A7-894F-F509-643F-95DAD0568EBA}"/>
          </ac:spMkLst>
        </pc:spChg>
        <pc:spChg chg="add mod ord topLvl">
          <ac:chgData name="Nataliia Chornii (UA)" userId="4e4b8b3d-5f31-49bb-9f80-8a25c04abfff" providerId="ADAL" clId="{EE97D3FE-9ACA-4467-98E5-532EC45D9D1C}" dt="2024-03-01T15:10:53.058" v="16395"/>
          <ac:spMkLst>
            <pc:docMk/>
            <pc:sldMk cId="1981412866" sldId="915"/>
            <ac:spMk id="41" creationId="{FD5F1B36-E761-5F42-CEFD-455451E36516}"/>
          </ac:spMkLst>
        </pc:spChg>
        <pc:spChg chg="add mod ord topLvl">
          <ac:chgData name="Nataliia Chornii (UA)" userId="4e4b8b3d-5f31-49bb-9f80-8a25c04abfff" providerId="ADAL" clId="{EE97D3FE-9ACA-4467-98E5-532EC45D9D1C}" dt="2024-03-01T15:10:53.058" v="16397"/>
          <ac:spMkLst>
            <pc:docMk/>
            <pc:sldMk cId="1981412866" sldId="915"/>
            <ac:spMk id="42" creationId="{A266A737-1E78-D4EB-776C-495C1EBB4F47}"/>
          </ac:spMkLst>
        </pc:spChg>
        <pc:spChg chg="add del mod">
          <ac:chgData name="Nataliia Chornii (UA)" userId="4e4b8b3d-5f31-49bb-9f80-8a25c04abfff" providerId="ADAL" clId="{EE97D3FE-9ACA-4467-98E5-532EC45D9D1C}" dt="2024-03-01T14:58:06.979" v="15941" actId="478"/>
          <ac:spMkLst>
            <pc:docMk/>
            <pc:sldMk cId="1981412866" sldId="915"/>
            <ac:spMk id="43" creationId="{16A384E7-620A-8E53-EEF2-5B2754056EBF}"/>
          </ac:spMkLst>
        </pc:spChg>
        <pc:spChg chg="mod">
          <ac:chgData name="Nataliia Chornii (UA)" userId="4e4b8b3d-5f31-49bb-9f80-8a25c04abfff" providerId="ADAL" clId="{EE97D3FE-9ACA-4467-98E5-532EC45D9D1C}" dt="2024-03-11T14:26:05.048" v="24085"/>
          <ac:spMkLst>
            <pc:docMk/>
            <pc:sldMk cId="1981412866" sldId="915"/>
            <ac:spMk id="43" creationId="{271CD629-77A8-F6AA-5686-F99821478B98}"/>
          </ac:spMkLst>
        </pc:spChg>
        <pc:spChg chg="add del mod">
          <ac:chgData name="Nataliia Chornii (UA)" userId="4e4b8b3d-5f31-49bb-9f80-8a25c04abfff" providerId="ADAL" clId="{EE97D3FE-9ACA-4467-98E5-532EC45D9D1C}" dt="2024-03-01T14:57:58.712" v="15938" actId="478"/>
          <ac:spMkLst>
            <pc:docMk/>
            <pc:sldMk cId="1981412866" sldId="915"/>
            <ac:spMk id="44" creationId="{5EE2DDEE-1D69-52C7-6B23-E06527D55F7B}"/>
          </ac:spMkLst>
        </pc:spChg>
        <pc:spChg chg="mod">
          <ac:chgData name="Nataliia Chornii (UA)" userId="4e4b8b3d-5f31-49bb-9f80-8a25c04abfff" providerId="ADAL" clId="{EE97D3FE-9ACA-4467-98E5-532EC45D9D1C}" dt="2024-03-11T14:26:05.048" v="24085"/>
          <ac:spMkLst>
            <pc:docMk/>
            <pc:sldMk cId="1981412866" sldId="915"/>
            <ac:spMk id="44" creationId="{A7EE4FEE-94D5-2063-251D-BACF18242C95}"/>
          </ac:spMkLst>
        </pc:spChg>
        <pc:spChg chg="add mod ord topLvl">
          <ac:chgData name="Nataliia Chornii (UA)" userId="4e4b8b3d-5f31-49bb-9f80-8a25c04abfff" providerId="ADAL" clId="{EE97D3FE-9ACA-4467-98E5-532EC45D9D1C}" dt="2024-03-01T15:10:53.058" v="16399"/>
          <ac:spMkLst>
            <pc:docMk/>
            <pc:sldMk cId="1981412866" sldId="915"/>
            <ac:spMk id="45" creationId="{11C053ED-4F43-3B06-3803-DF09CC3119C2}"/>
          </ac:spMkLst>
        </pc:spChg>
        <pc:spChg chg="add mod ord topLvl">
          <ac:chgData name="Nataliia Chornii (UA)" userId="4e4b8b3d-5f31-49bb-9f80-8a25c04abfff" providerId="ADAL" clId="{EE97D3FE-9ACA-4467-98E5-532EC45D9D1C}" dt="2024-03-01T15:10:53.058" v="16401"/>
          <ac:spMkLst>
            <pc:docMk/>
            <pc:sldMk cId="1981412866" sldId="915"/>
            <ac:spMk id="46" creationId="{87468ECB-778E-5632-E26A-146462E680C5}"/>
          </ac:spMkLst>
        </pc:spChg>
        <pc:spChg chg="add del mod">
          <ac:chgData name="Nataliia Chornii (UA)" userId="4e4b8b3d-5f31-49bb-9f80-8a25c04abfff" providerId="ADAL" clId="{EE97D3FE-9ACA-4467-98E5-532EC45D9D1C}" dt="2024-03-11T14:29:30.799" v="24232"/>
          <ac:spMkLst>
            <pc:docMk/>
            <pc:sldMk cId="1981412866" sldId="915"/>
            <ac:spMk id="52" creationId="{F7D1C62A-1BB3-F4E4-27E2-7ACEAF0516BA}"/>
          </ac:spMkLst>
        </pc:spChg>
        <pc:spChg chg="add mod">
          <ac:chgData name="Nataliia Chornii (UA)" userId="4e4b8b3d-5f31-49bb-9f80-8a25c04abfff" providerId="ADAL" clId="{EE97D3FE-9ACA-4467-98E5-532EC45D9D1C}" dt="2024-03-11T14:29:33.036" v="24235"/>
          <ac:spMkLst>
            <pc:docMk/>
            <pc:sldMk cId="1981412866" sldId="915"/>
            <ac:spMk id="53" creationId="{D7DC989C-0F18-F987-D819-7FC99DFC7742}"/>
          </ac:spMkLst>
        </pc:spChg>
        <pc:spChg chg="add mod ord topLvl">
          <ac:chgData name="Nataliia Chornii (UA)" userId="4e4b8b3d-5f31-49bb-9f80-8a25c04abfff" providerId="ADAL" clId="{EE97D3FE-9ACA-4467-98E5-532EC45D9D1C}" dt="2024-03-01T15:10:53.058" v="16383"/>
          <ac:spMkLst>
            <pc:docMk/>
            <pc:sldMk cId="1981412866" sldId="915"/>
            <ac:spMk id="54" creationId="{B5D0EDB5-E00A-1D0F-F13E-491961E8CD41}"/>
          </ac:spMkLst>
        </pc:spChg>
        <pc:spChg chg="add mod ord topLvl">
          <ac:chgData name="Nataliia Chornii (UA)" userId="4e4b8b3d-5f31-49bb-9f80-8a25c04abfff" providerId="ADAL" clId="{EE97D3FE-9ACA-4467-98E5-532EC45D9D1C}" dt="2024-03-01T15:10:53.058" v="16415"/>
          <ac:spMkLst>
            <pc:docMk/>
            <pc:sldMk cId="1981412866" sldId="915"/>
            <ac:spMk id="56" creationId="{EF8AC938-0683-F249-2812-36AFBA08177B}"/>
          </ac:spMkLst>
        </pc:spChg>
        <pc:spChg chg="add mod ord topLvl">
          <ac:chgData name="Nataliia Chornii (UA)" userId="4e4b8b3d-5f31-49bb-9f80-8a25c04abfff" providerId="ADAL" clId="{EE97D3FE-9ACA-4467-98E5-532EC45D9D1C}" dt="2024-03-01T15:10:53.058" v="16417"/>
          <ac:spMkLst>
            <pc:docMk/>
            <pc:sldMk cId="1981412866" sldId="915"/>
            <ac:spMk id="57" creationId="{1B5B27A5-6369-2B0B-D64C-8DD37DC80988}"/>
          </ac:spMkLst>
        </pc:spChg>
        <pc:spChg chg="add mod ord topLvl">
          <ac:chgData name="Nataliia Chornii (UA)" userId="4e4b8b3d-5f31-49bb-9f80-8a25c04abfff" providerId="ADAL" clId="{EE97D3FE-9ACA-4467-98E5-532EC45D9D1C}" dt="2024-03-01T15:10:53.058" v="16419"/>
          <ac:spMkLst>
            <pc:docMk/>
            <pc:sldMk cId="1981412866" sldId="915"/>
            <ac:spMk id="58" creationId="{EF9E905A-D50C-3E90-1C9D-86E46A504CB8}"/>
          </ac:spMkLst>
        </pc:spChg>
        <pc:spChg chg="add mod ord topLvl">
          <ac:chgData name="Nataliia Chornii (UA)" userId="4e4b8b3d-5f31-49bb-9f80-8a25c04abfff" providerId="ADAL" clId="{EE97D3FE-9ACA-4467-98E5-532EC45D9D1C}" dt="2024-03-01T15:10:53.074" v="16421"/>
          <ac:spMkLst>
            <pc:docMk/>
            <pc:sldMk cId="1981412866" sldId="915"/>
            <ac:spMk id="59" creationId="{9ED3828D-80C3-0C76-D826-216087FF834D}"/>
          </ac:spMkLst>
        </pc:spChg>
        <pc:spChg chg="add del mod">
          <ac:chgData name="Nataliia Chornii (UA)" userId="4e4b8b3d-5f31-49bb-9f80-8a25c04abfff" providerId="ADAL" clId="{EE97D3FE-9ACA-4467-98E5-532EC45D9D1C}" dt="2024-03-01T14:58:06.562" v="15940" actId="478"/>
          <ac:spMkLst>
            <pc:docMk/>
            <pc:sldMk cId="1981412866" sldId="915"/>
            <ac:spMk id="60" creationId="{3078A950-D715-ECD9-1F83-1F256FF4F7B0}"/>
          </ac:spMkLst>
        </pc:spChg>
        <pc:spChg chg="add del mod">
          <ac:chgData name="Nataliia Chornii (UA)" userId="4e4b8b3d-5f31-49bb-9f80-8a25c04abfff" providerId="ADAL" clId="{EE97D3FE-9ACA-4467-98E5-532EC45D9D1C}" dt="2024-03-01T14:57:58.712" v="15938" actId="478"/>
          <ac:spMkLst>
            <pc:docMk/>
            <pc:sldMk cId="1981412866" sldId="915"/>
            <ac:spMk id="61" creationId="{A1047BC4-9132-0B58-0D1B-0C0456CE8B09}"/>
          </ac:spMkLst>
        </pc:spChg>
        <pc:spChg chg="add del mod">
          <ac:chgData name="Nataliia Chornii (UA)" userId="4e4b8b3d-5f31-49bb-9f80-8a25c04abfff" providerId="ADAL" clId="{EE97D3FE-9ACA-4467-98E5-532EC45D9D1C}" dt="2024-03-01T14:57:58.712" v="15938" actId="478"/>
          <ac:spMkLst>
            <pc:docMk/>
            <pc:sldMk cId="1981412866" sldId="915"/>
            <ac:spMk id="62" creationId="{5C3E6A76-EEA4-3D16-D051-4F880CAA939B}"/>
          </ac:spMkLst>
        </pc:spChg>
        <pc:spChg chg="add mod ord topLvl">
          <ac:chgData name="Nataliia Chornii (UA)" userId="4e4b8b3d-5f31-49bb-9f80-8a25c04abfff" providerId="ADAL" clId="{EE97D3FE-9ACA-4467-98E5-532EC45D9D1C}" dt="2024-03-01T15:10:53.074" v="16423"/>
          <ac:spMkLst>
            <pc:docMk/>
            <pc:sldMk cId="1981412866" sldId="915"/>
            <ac:spMk id="63" creationId="{68241AB8-7A1C-9F53-9307-E9F0A324B378}"/>
          </ac:spMkLst>
        </pc:spChg>
        <pc:spChg chg="add mod ord topLvl">
          <ac:chgData name="Nataliia Chornii (UA)" userId="4e4b8b3d-5f31-49bb-9f80-8a25c04abfff" providerId="ADAL" clId="{EE97D3FE-9ACA-4467-98E5-532EC45D9D1C}" dt="2024-03-01T15:10:53.074" v="16425"/>
          <ac:spMkLst>
            <pc:docMk/>
            <pc:sldMk cId="1981412866" sldId="915"/>
            <ac:spMk id="64" creationId="{184460E1-8D1F-7F1D-1031-BBCB54EAC1A5}"/>
          </ac:spMkLst>
        </pc:spChg>
        <pc:spChg chg="add del mod">
          <ac:chgData name="Nataliia Chornii (UA)" userId="4e4b8b3d-5f31-49bb-9f80-8a25c04abfff" providerId="ADAL" clId="{EE97D3FE-9ACA-4467-98E5-532EC45D9D1C}" dt="2024-03-01T14:57:58.712" v="15938" actId="478"/>
          <ac:spMkLst>
            <pc:docMk/>
            <pc:sldMk cId="1981412866" sldId="915"/>
            <ac:spMk id="65" creationId="{67618A5D-152F-522D-B470-D31E9B7470EE}"/>
          </ac:spMkLst>
        </pc:spChg>
        <pc:spChg chg="add del mod">
          <ac:chgData name="Nataliia Chornii (UA)" userId="4e4b8b3d-5f31-49bb-9f80-8a25c04abfff" providerId="ADAL" clId="{EE97D3FE-9ACA-4467-98E5-532EC45D9D1C}" dt="2024-03-01T14:57:58.712" v="15938" actId="478"/>
          <ac:spMkLst>
            <pc:docMk/>
            <pc:sldMk cId="1981412866" sldId="915"/>
            <ac:spMk id="67" creationId="{4ACE0430-6FBE-7ADE-4B8C-B7EDA75880B8}"/>
          </ac:spMkLst>
        </pc:spChg>
        <pc:spChg chg="add del mod">
          <ac:chgData name="Nataliia Chornii (UA)" userId="4e4b8b3d-5f31-49bb-9f80-8a25c04abfff" providerId="ADAL" clId="{EE97D3FE-9ACA-4467-98E5-532EC45D9D1C}" dt="2024-03-01T14:58:34.299" v="15960" actId="478"/>
          <ac:spMkLst>
            <pc:docMk/>
            <pc:sldMk cId="1981412866" sldId="915"/>
            <ac:spMk id="68" creationId="{96328BEA-D025-6C99-77D1-718568B0061E}"/>
          </ac:spMkLst>
        </pc:spChg>
        <pc:spChg chg="add del mod">
          <ac:chgData name="Nataliia Chornii (UA)" userId="4e4b8b3d-5f31-49bb-9f80-8a25c04abfff" providerId="ADAL" clId="{EE97D3FE-9ACA-4467-98E5-532EC45D9D1C}" dt="2024-03-01T14:59:09.837" v="15977" actId="478"/>
          <ac:spMkLst>
            <pc:docMk/>
            <pc:sldMk cId="1981412866" sldId="915"/>
            <ac:spMk id="69" creationId="{A26CDAB3-435C-99DD-3695-3B47DBCFD346}"/>
          </ac:spMkLst>
        </pc:spChg>
        <pc:spChg chg="add mod ord topLvl">
          <ac:chgData name="Nataliia Chornii (UA)" userId="4e4b8b3d-5f31-49bb-9f80-8a25c04abfff" providerId="ADAL" clId="{EE97D3FE-9ACA-4467-98E5-532EC45D9D1C}" dt="2024-03-01T15:10:53.074" v="16427"/>
          <ac:spMkLst>
            <pc:docMk/>
            <pc:sldMk cId="1981412866" sldId="915"/>
            <ac:spMk id="70" creationId="{B4EA43FC-B71F-E2B9-710A-27D4002E4B75}"/>
          </ac:spMkLst>
        </pc:spChg>
        <pc:spChg chg="mod ord topLvl">
          <ac:chgData name="Nataliia Chornii (UA)" userId="4e4b8b3d-5f31-49bb-9f80-8a25c04abfff" providerId="ADAL" clId="{EE97D3FE-9ACA-4467-98E5-532EC45D9D1C}" dt="2024-03-01T15:10:53.074" v="16429"/>
          <ac:spMkLst>
            <pc:docMk/>
            <pc:sldMk cId="1981412866" sldId="915"/>
            <ac:spMk id="79" creationId="{87F7A6B9-1CF6-094D-F7BA-CBE76FF40CD8}"/>
          </ac:spMkLst>
        </pc:spChg>
        <pc:spChg chg="mod ord topLvl">
          <ac:chgData name="Nataliia Chornii (UA)" userId="4e4b8b3d-5f31-49bb-9f80-8a25c04abfff" providerId="ADAL" clId="{EE97D3FE-9ACA-4467-98E5-532EC45D9D1C}" dt="2024-03-01T15:10:53.074" v="16431"/>
          <ac:spMkLst>
            <pc:docMk/>
            <pc:sldMk cId="1981412866" sldId="915"/>
            <ac:spMk id="80" creationId="{16815F6A-90AC-26E9-2E55-8EF39A0E08F7}"/>
          </ac:spMkLst>
        </pc:spChg>
        <pc:spChg chg="mod ord topLvl">
          <ac:chgData name="Nataliia Chornii (UA)" userId="4e4b8b3d-5f31-49bb-9f80-8a25c04abfff" providerId="ADAL" clId="{EE97D3FE-9ACA-4467-98E5-532EC45D9D1C}" dt="2024-03-01T15:10:53.074" v="16433"/>
          <ac:spMkLst>
            <pc:docMk/>
            <pc:sldMk cId="1981412866" sldId="915"/>
            <ac:spMk id="81" creationId="{2AE5C254-0775-5E9E-C4A3-AFFBD981C705}"/>
          </ac:spMkLst>
        </pc:spChg>
        <pc:spChg chg="mod ord topLvl">
          <ac:chgData name="Nataliia Chornii (UA)" userId="4e4b8b3d-5f31-49bb-9f80-8a25c04abfff" providerId="ADAL" clId="{EE97D3FE-9ACA-4467-98E5-532EC45D9D1C}" dt="2024-03-01T15:10:53.074" v="16435"/>
          <ac:spMkLst>
            <pc:docMk/>
            <pc:sldMk cId="1981412866" sldId="915"/>
            <ac:spMk id="82" creationId="{3496C5D2-4C26-CB01-2C95-A713E9BDE03B}"/>
          </ac:spMkLst>
        </pc:spChg>
        <pc:spChg chg="del mod topLvl">
          <ac:chgData name="Nataliia Chornii (UA)" userId="4e4b8b3d-5f31-49bb-9f80-8a25c04abfff" providerId="ADAL" clId="{EE97D3FE-9ACA-4467-98E5-532EC45D9D1C}" dt="2024-03-01T15:03:07.565" v="16133" actId="478"/>
          <ac:spMkLst>
            <pc:docMk/>
            <pc:sldMk cId="1981412866" sldId="915"/>
            <ac:spMk id="83" creationId="{41DC35B7-0A0C-657E-56CE-9987ECFDEF62}"/>
          </ac:spMkLst>
        </pc:spChg>
        <pc:spChg chg="mod ord topLvl">
          <ac:chgData name="Nataliia Chornii (UA)" userId="4e4b8b3d-5f31-49bb-9f80-8a25c04abfff" providerId="ADAL" clId="{EE97D3FE-9ACA-4467-98E5-532EC45D9D1C}" dt="2024-03-01T15:10:53.074" v="16437"/>
          <ac:spMkLst>
            <pc:docMk/>
            <pc:sldMk cId="1981412866" sldId="915"/>
            <ac:spMk id="84" creationId="{D4A32B2F-B3D8-0539-000F-E02C9DDDEFA7}"/>
          </ac:spMkLst>
        </pc:spChg>
        <pc:spChg chg="mod ord topLvl">
          <ac:chgData name="Nataliia Chornii (UA)" userId="4e4b8b3d-5f31-49bb-9f80-8a25c04abfff" providerId="ADAL" clId="{EE97D3FE-9ACA-4467-98E5-532EC45D9D1C}" dt="2024-03-04T09:57:16.976" v="20125" actId="12789"/>
          <ac:spMkLst>
            <pc:docMk/>
            <pc:sldMk cId="1981412866" sldId="915"/>
            <ac:spMk id="85" creationId="{10617D98-D6CF-8134-79EE-B9DAC8569D40}"/>
          </ac:spMkLst>
        </pc:spChg>
        <pc:spChg chg="mod ord topLvl">
          <ac:chgData name="Nataliia Chornii (UA)" userId="4e4b8b3d-5f31-49bb-9f80-8a25c04abfff" providerId="ADAL" clId="{EE97D3FE-9ACA-4467-98E5-532EC45D9D1C}" dt="2024-03-04T09:57:57.164" v="20137" actId="12788"/>
          <ac:spMkLst>
            <pc:docMk/>
            <pc:sldMk cId="1981412866" sldId="915"/>
            <ac:spMk id="86" creationId="{04D1CEFF-A4EB-4E20-61F6-E79E1BB2F050}"/>
          </ac:spMkLst>
        </pc:spChg>
        <pc:spChg chg="mod ord topLvl">
          <ac:chgData name="Nataliia Chornii (UA)" userId="4e4b8b3d-5f31-49bb-9f80-8a25c04abfff" providerId="ADAL" clId="{EE97D3FE-9ACA-4467-98E5-532EC45D9D1C}" dt="2024-03-04T09:57:16.976" v="20125" actId="12789"/>
          <ac:spMkLst>
            <pc:docMk/>
            <pc:sldMk cId="1981412866" sldId="915"/>
            <ac:spMk id="87" creationId="{4CB3E58A-911C-3CA9-AEAF-C39B39D18A9F}"/>
          </ac:spMkLst>
        </pc:spChg>
        <pc:spChg chg="mod ord topLvl">
          <ac:chgData name="Nataliia Chornii (UA)" userId="4e4b8b3d-5f31-49bb-9f80-8a25c04abfff" providerId="ADAL" clId="{EE97D3FE-9ACA-4467-98E5-532EC45D9D1C}" dt="2024-03-01T15:10:53.074" v="16445"/>
          <ac:spMkLst>
            <pc:docMk/>
            <pc:sldMk cId="1981412866" sldId="915"/>
            <ac:spMk id="88" creationId="{436E5142-1A97-F9A9-CFC9-DB97889540F3}"/>
          </ac:spMkLst>
        </pc:spChg>
        <pc:spChg chg="mod ord topLvl">
          <ac:chgData name="Nataliia Chornii (UA)" userId="4e4b8b3d-5f31-49bb-9f80-8a25c04abfff" providerId="ADAL" clId="{EE97D3FE-9ACA-4467-98E5-532EC45D9D1C}" dt="2024-03-01T15:10:53.074" v="16447"/>
          <ac:spMkLst>
            <pc:docMk/>
            <pc:sldMk cId="1981412866" sldId="915"/>
            <ac:spMk id="89" creationId="{E536C4EB-5830-A9C6-7E29-F6EF449FF4C7}"/>
          </ac:spMkLst>
        </pc:spChg>
        <pc:spChg chg="mod ord topLvl">
          <ac:chgData name="Nataliia Chornii (UA)" userId="4e4b8b3d-5f31-49bb-9f80-8a25c04abfff" providerId="ADAL" clId="{EE97D3FE-9ACA-4467-98E5-532EC45D9D1C}" dt="2024-03-01T15:10:53.074" v="16449"/>
          <ac:spMkLst>
            <pc:docMk/>
            <pc:sldMk cId="1981412866" sldId="915"/>
            <ac:spMk id="90" creationId="{225CAB37-79D8-77DD-6CFF-B862D382D619}"/>
          </ac:spMkLst>
        </pc:spChg>
        <pc:spChg chg="mod ord topLvl">
          <ac:chgData name="Nataliia Chornii (UA)" userId="4e4b8b3d-5f31-49bb-9f80-8a25c04abfff" providerId="ADAL" clId="{EE97D3FE-9ACA-4467-98E5-532EC45D9D1C}" dt="2024-03-01T15:10:53.084" v="16451"/>
          <ac:spMkLst>
            <pc:docMk/>
            <pc:sldMk cId="1981412866" sldId="915"/>
            <ac:spMk id="91" creationId="{AD8719CE-1154-0150-C638-F14ED1164F38}"/>
          </ac:spMkLst>
        </pc:spChg>
        <pc:spChg chg="mod ord topLvl">
          <ac:chgData name="Nataliia Chornii (UA)" userId="4e4b8b3d-5f31-49bb-9f80-8a25c04abfff" providerId="ADAL" clId="{EE97D3FE-9ACA-4467-98E5-532EC45D9D1C}" dt="2024-03-01T15:10:53.084" v="16453"/>
          <ac:spMkLst>
            <pc:docMk/>
            <pc:sldMk cId="1981412866" sldId="915"/>
            <ac:spMk id="92" creationId="{9D38CD76-42E2-0F88-D2E4-FBE4A7B73C45}"/>
          </ac:spMkLst>
        </pc:spChg>
        <pc:spChg chg="del mod topLvl">
          <ac:chgData name="Nataliia Chornii (UA)" userId="4e4b8b3d-5f31-49bb-9f80-8a25c04abfff" providerId="ADAL" clId="{EE97D3FE-9ACA-4467-98E5-532EC45D9D1C}" dt="2024-03-01T15:03:07.565" v="16133" actId="478"/>
          <ac:spMkLst>
            <pc:docMk/>
            <pc:sldMk cId="1981412866" sldId="915"/>
            <ac:spMk id="93" creationId="{86114EC9-4F9B-89BB-863A-0B835FEB64DB}"/>
          </ac:spMkLst>
        </pc:spChg>
        <pc:spChg chg="mod ord topLvl">
          <ac:chgData name="Nataliia Chornii (UA)" userId="4e4b8b3d-5f31-49bb-9f80-8a25c04abfff" providerId="ADAL" clId="{EE97D3FE-9ACA-4467-98E5-532EC45D9D1C}" dt="2024-03-01T15:10:53.084" v="16465"/>
          <ac:spMkLst>
            <pc:docMk/>
            <pc:sldMk cId="1981412866" sldId="915"/>
            <ac:spMk id="100" creationId="{C1C21A94-E2BF-67B5-6ECF-CA5472E17FFC}"/>
          </ac:spMkLst>
        </pc:spChg>
        <pc:spChg chg="mod ord topLvl">
          <ac:chgData name="Nataliia Chornii (UA)" userId="4e4b8b3d-5f31-49bb-9f80-8a25c04abfff" providerId="ADAL" clId="{EE97D3FE-9ACA-4467-98E5-532EC45D9D1C}" dt="2024-03-01T15:10:53.084" v="16467"/>
          <ac:spMkLst>
            <pc:docMk/>
            <pc:sldMk cId="1981412866" sldId="915"/>
            <ac:spMk id="101" creationId="{949AD25A-08F7-1101-82F6-5EAF64E4F68B}"/>
          </ac:spMkLst>
        </pc:spChg>
        <pc:spChg chg="mod ord topLvl">
          <ac:chgData name="Nataliia Chornii (UA)" userId="4e4b8b3d-5f31-49bb-9f80-8a25c04abfff" providerId="ADAL" clId="{EE97D3FE-9ACA-4467-98E5-532EC45D9D1C}" dt="2024-03-01T15:10:53.089" v="16469"/>
          <ac:spMkLst>
            <pc:docMk/>
            <pc:sldMk cId="1981412866" sldId="915"/>
            <ac:spMk id="102" creationId="{3AD602C8-D760-A602-6D10-7C3BCFA9AF31}"/>
          </ac:spMkLst>
        </pc:spChg>
        <pc:spChg chg="del mod topLvl">
          <ac:chgData name="Nataliia Chornii (UA)" userId="4e4b8b3d-5f31-49bb-9f80-8a25c04abfff" providerId="ADAL" clId="{EE97D3FE-9ACA-4467-98E5-532EC45D9D1C}" dt="2024-03-01T15:03:55.843" v="16151" actId="478"/>
          <ac:spMkLst>
            <pc:docMk/>
            <pc:sldMk cId="1981412866" sldId="915"/>
            <ac:spMk id="103" creationId="{D97BCD12-52A3-97FE-2AF2-29FB49648FBF}"/>
          </ac:spMkLst>
        </pc:spChg>
        <pc:spChg chg="mod ord topLvl">
          <ac:chgData name="Nataliia Chornii (UA)" userId="4e4b8b3d-5f31-49bb-9f80-8a25c04abfff" providerId="ADAL" clId="{EE97D3FE-9ACA-4467-98E5-532EC45D9D1C}" dt="2024-03-01T15:10:53.089" v="16471"/>
          <ac:spMkLst>
            <pc:docMk/>
            <pc:sldMk cId="1981412866" sldId="915"/>
            <ac:spMk id="104" creationId="{6ECB0DF2-82AB-89C9-B184-98632B57D019}"/>
          </ac:spMkLst>
        </pc:spChg>
        <pc:spChg chg="mod ord topLvl">
          <ac:chgData name="Nataliia Chornii (UA)" userId="4e4b8b3d-5f31-49bb-9f80-8a25c04abfff" providerId="ADAL" clId="{EE97D3FE-9ACA-4467-98E5-532EC45D9D1C}" dt="2024-03-01T15:10:53.089" v="16473"/>
          <ac:spMkLst>
            <pc:docMk/>
            <pc:sldMk cId="1981412866" sldId="915"/>
            <ac:spMk id="105" creationId="{1A477AC6-AFC4-98EF-1AE1-BDD9449A9C71}"/>
          </ac:spMkLst>
        </pc:spChg>
        <pc:spChg chg="mod ord topLvl">
          <ac:chgData name="Nataliia Chornii (UA)" userId="4e4b8b3d-5f31-49bb-9f80-8a25c04abfff" providerId="ADAL" clId="{EE97D3FE-9ACA-4467-98E5-532EC45D9D1C}" dt="2024-03-01T15:10:53.089" v="16475"/>
          <ac:spMkLst>
            <pc:docMk/>
            <pc:sldMk cId="1981412866" sldId="915"/>
            <ac:spMk id="106" creationId="{C8148559-D7B9-52FE-DEB1-909CBAA88FAB}"/>
          </ac:spMkLst>
        </pc:spChg>
        <pc:spChg chg="mod ord topLvl">
          <ac:chgData name="Nataliia Chornii (UA)" userId="4e4b8b3d-5f31-49bb-9f80-8a25c04abfff" providerId="ADAL" clId="{EE97D3FE-9ACA-4467-98E5-532EC45D9D1C}" dt="2024-03-01T15:10:53.089" v="16477"/>
          <ac:spMkLst>
            <pc:docMk/>
            <pc:sldMk cId="1981412866" sldId="915"/>
            <ac:spMk id="109" creationId="{18B93944-D412-CC38-7DFC-9270EBD14334}"/>
          </ac:spMkLst>
        </pc:spChg>
        <pc:spChg chg="del mod topLvl">
          <ac:chgData name="Nataliia Chornii (UA)" userId="4e4b8b3d-5f31-49bb-9f80-8a25c04abfff" providerId="ADAL" clId="{EE97D3FE-9ACA-4467-98E5-532EC45D9D1C}" dt="2024-03-01T15:04:17.069" v="16159" actId="478"/>
          <ac:spMkLst>
            <pc:docMk/>
            <pc:sldMk cId="1981412866" sldId="915"/>
            <ac:spMk id="110" creationId="{0137E8BD-7AE1-2C95-6D4D-2516BD5C1D25}"/>
          </ac:spMkLst>
        </pc:spChg>
        <pc:spChg chg="del mod topLvl">
          <ac:chgData name="Nataliia Chornii (UA)" userId="4e4b8b3d-5f31-49bb-9f80-8a25c04abfff" providerId="ADAL" clId="{EE97D3FE-9ACA-4467-98E5-532EC45D9D1C}" dt="2024-03-01T15:04:17.069" v="16159" actId="478"/>
          <ac:spMkLst>
            <pc:docMk/>
            <pc:sldMk cId="1981412866" sldId="915"/>
            <ac:spMk id="111" creationId="{548B3B99-A205-6159-1AAF-65BB4F2B471C}"/>
          </ac:spMkLst>
        </pc:spChg>
        <pc:spChg chg="del mod topLvl">
          <ac:chgData name="Nataliia Chornii (UA)" userId="4e4b8b3d-5f31-49bb-9f80-8a25c04abfff" providerId="ADAL" clId="{EE97D3FE-9ACA-4467-98E5-532EC45D9D1C}" dt="2024-03-01T15:04:17.069" v="16159" actId="478"/>
          <ac:spMkLst>
            <pc:docMk/>
            <pc:sldMk cId="1981412866" sldId="915"/>
            <ac:spMk id="112" creationId="{84A264F4-BBFA-FBAE-E497-72A0E9A91438}"/>
          </ac:spMkLst>
        </pc:spChg>
        <pc:spChg chg="del mod topLvl">
          <ac:chgData name="Nataliia Chornii (UA)" userId="4e4b8b3d-5f31-49bb-9f80-8a25c04abfff" providerId="ADAL" clId="{EE97D3FE-9ACA-4467-98E5-532EC45D9D1C}" dt="2024-03-01T15:04:17.069" v="16159" actId="478"/>
          <ac:spMkLst>
            <pc:docMk/>
            <pc:sldMk cId="1981412866" sldId="915"/>
            <ac:spMk id="113" creationId="{136B82F3-6CAE-F9F0-6860-7C2CCD9EDDE2}"/>
          </ac:spMkLst>
        </pc:spChg>
        <pc:spChg chg="mod ord topLvl">
          <ac:chgData name="Nataliia Chornii (UA)" userId="4e4b8b3d-5f31-49bb-9f80-8a25c04abfff" providerId="ADAL" clId="{EE97D3FE-9ACA-4467-98E5-532EC45D9D1C}" dt="2024-03-01T15:10:53.089" v="16479"/>
          <ac:spMkLst>
            <pc:docMk/>
            <pc:sldMk cId="1981412866" sldId="915"/>
            <ac:spMk id="114" creationId="{1D349B7B-CF01-BB47-719D-2135483170D2}"/>
          </ac:spMkLst>
        </pc:spChg>
        <pc:spChg chg="mod ord topLvl">
          <ac:chgData name="Nataliia Chornii (UA)" userId="4e4b8b3d-5f31-49bb-9f80-8a25c04abfff" providerId="ADAL" clId="{EE97D3FE-9ACA-4467-98E5-532EC45D9D1C}" dt="2024-03-04T09:57:51.003" v="20135" actId="12789"/>
          <ac:spMkLst>
            <pc:docMk/>
            <pc:sldMk cId="1981412866" sldId="915"/>
            <ac:spMk id="115" creationId="{8549DEA3-738D-4038-A2EA-5970EA360AF1}"/>
          </ac:spMkLst>
        </pc:spChg>
        <pc:spChg chg="mod ord topLvl">
          <ac:chgData name="Nataliia Chornii (UA)" userId="4e4b8b3d-5f31-49bb-9f80-8a25c04abfff" providerId="ADAL" clId="{EE97D3FE-9ACA-4467-98E5-532EC45D9D1C}" dt="2024-03-04T09:58:00.636" v="20138" actId="12788"/>
          <ac:spMkLst>
            <pc:docMk/>
            <pc:sldMk cId="1981412866" sldId="915"/>
            <ac:spMk id="116" creationId="{C03AF2E5-BCD7-91A5-754B-A3C3CE8888A3}"/>
          </ac:spMkLst>
        </pc:spChg>
        <pc:spChg chg="mod ord topLvl">
          <ac:chgData name="Nataliia Chornii (UA)" userId="4e4b8b3d-5f31-49bb-9f80-8a25c04abfff" providerId="ADAL" clId="{EE97D3FE-9ACA-4467-98E5-532EC45D9D1C}" dt="2024-03-04T09:57:16.976" v="20125" actId="12789"/>
          <ac:spMkLst>
            <pc:docMk/>
            <pc:sldMk cId="1981412866" sldId="915"/>
            <ac:spMk id="117" creationId="{E817571C-E1FA-79E3-9C69-31CEFBBB9590}"/>
          </ac:spMkLst>
        </pc:spChg>
        <pc:spChg chg="mod ord topLvl">
          <ac:chgData name="Nataliia Chornii (UA)" userId="4e4b8b3d-5f31-49bb-9f80-8a25c04abfff" providerId="ADAL" clId="{EE97D3FE-9ACA-4467-98E5-532EC45D9D1C}" dt="2024-03-01T15:10:53.089" v="16487"/>
          <ac:spMkLst>
            <pc:docMk/>
            <pc:sldMk cId="1981412866" sldId="915"/>
            <ac:spMk id="118" creationId="{99E10BF8-C7E4-4C4A-89D4-BF5D9211751E}"/>
          </ac:spMkLst>
        </pc:spChg>
        <pc:spChg chg="mod ord topLvl">
          <ac:chgData name="Nataliia Chornii (UA)" userId="4e4b8b3d-5f31-49bb-9f80-8a25c04abfff" providerId="ADAL" clId="{EE97D3FE-9ACA-4467-98E5-532EC45D9D1C}" dt="2024-03-01T15:10:53.089" v="16489"/>
          <ac:spMkLst>
            <pc:docMk/>
            <pc:sldMk cId="1981412866" sldId="915"/>
            <ac:spMk id="119" creationId="{E6F7CE22-8CEE-1A44-5315-4C2E4DE97A7C}"/>
          </ac:spMkLst>
        </pc:spChg>
        <pc:spChg chg="del mod topLvl">
          <ac:chgData name="Nataliia Chornii (UA)" userId="4e4b8b3d-5f31-49bb-9f80-8a25c04abfff" providerId="ADAL" clId="{EE97D3FE-9ACA-4467-98E5-532EC45D9D1C}" dt="2024-03-01T15:04:17.069" v="16159" actId="478"/>
          <ac:spMkLst>
            <pc:docMk/>
            <pc:sldMk cId="1981412866" sldId="915"/>
            <ac:spMk id="120" creationId="{9AF09837-7A8D-B1F1-CBFE-BE7647BB8AC2}"/>
          </ac:spMkLst>
        </pc:spChg>
        <pc:spChg chg="del mod topLvl">
          <ac:chgData name="Nataliia Chornii (UA)" userId="4e4b8b3d-5f31-49bb-9f80-8a25c04abfff" providerId="ADAL" clId="{EE97D3FE-9ACA-4467-98E5-532EC45D9D1C}" dt="2024-03-01T15:04:17.069" v="16159" actId="478"/>
          <ac:spMkLst>
            <pc:docMk/>
            <pc:sldMk cId="1981412866" sldId="915"/>
            <ac:spMk id="121" creationId="{ECFDD6B3-DD30-3EBF-AEB7-7540F162538B}"/>
          </ac:spMkLst>
        </pc:spChg>
        <pc:spChg chg="del mod topLvl">
          <ac:chgData name="Nataliia Chornii (UA)" userId="4e4b8b3d-5f31-49bb-9f80-8a25c04abfff" providerId="ADAL" clId="{EE97D3FE-9ACA-4467-98E5-532EC45D9D1C}" dt="2024-03-01T15:04:17.069" v="16159" actId="478"/>
          <ac:spMkLst>
            <pc:docMk/>
            <pc:sldMk cId="1981412866" sldId="915"/>
            <ac:spMk id="122" creationId="{6A9B1600-6533-9DA6-817B-4668E750DAA4}"/>
          </ac:spMkLst>
        </pc:spChg>
        <pc:spChg chg="del mod topLvl">
          <ac:chgData name="Nataliia Chornii (UA)" userId="4e4b8b3d-5f31-49bb-9f80-8a25c04abfff" providerId="ADAL" clId="{EE97D3FE-9ACA-4467-98E5-532EC45D9D1C}" dt="2024-03-01T15:04:17.069" v="16159" actId="478"/>
          <ac:spMkLst>
            <pc:docMk/>
            <pc:sldMk cId="1981412866" sldId="915"/>
            <ac:spMk id="123" creationId="{DF7CA57C-1930-17BB-BB07-447ACB8D08C3}"/>
          </ac:spMkLst>
        </pc:spChg>
        <pc:spChg chg="mod ord topLvl">
          <ac:chgData name="Nataliia Chornii (UA)" userId="4e4b8b3d-5f31-49bb-9f80-8a25c04abfff" providerId="ADAL" clId="{EE97D3FE-9ACA-4467-98E5-532EC45D9D1C}" dt="2024-03-01T15:10:53.089" v="16495"/>
          <ac:spMkLst>
            <pc:docMk/>
            <pc:sldMk cId="1981412866" sldId="915"/>
            <ac:spMk id="130" creationId="{F3803958-7E5B-41E2-B471-D793E213BC07}"/>
          </ac:spMkLst>
        </pc:spChg>
        <pc:spChg chg="mod ord topLvl">
          <ac:chgData name="Nataliia Chornii (UA)" userId="4e4b8b3d-5f31-49bb-9f80-8a25c04abfff" providerId="ADAL" clId="{EE97D3FE-9ACA-4467-98E5-532EC45D9D1C}" dt="2024-03-01T15:10:53.089" v="16497"/>
          <ac:spMkLst>
            <pc:docMk/>
            <pc:sldMk cId="1981412866" sldId="915"/>
            <ac:spMk id="131" creationId="{85968203-D52D-55A1-3723-8D3F3C5AA50E}"/>
          </ac:spMkLst>
        </pc:spChg>
        <pc:spChg chg="del mod topLvl">
          <ac:chgData name="Nataliia Chornii (UA)" userId="4e4b8b3d-5f31-49bb-9f80-8a25c04abfff" providerId="ADAL" clId="{EE97D3FE-9ACA-4467-98E5-532EC45D9D1C}" dt="2024-03-01T15:04:17.069" v="16159" actId="478"/>
          <ac:spMkLst>
            <pc:docMk/>
            <pc:sldMk cId="1981412866" sldId="915"/>
            <ac:spMk id="132" creationId="{20549F4B-6BC9-D93C-DCB4-430C987A640C}"/>
          </ac:spMkLst>
        </pc:spChg>
        <pc:spChg chg="del mod topLvl">
          <ac:chgData name="Nataliia Chornii (UA)" userId="4e4b8b3d-5f31-49bb-9f80-8a25c04abfff" providerId="ADAL" clId="{EE97D3FE-9ACA-4467-98E5-532EC45D9D1C}" dt="2024-03-01T15:04:17.069" v="16159" actId="478"/>
          <ac:spMkLst>
            <pc:docMk/>
            <pc:sldMk cId="1981412866" sldId="915"/>
            <ac:spMk id="133" creationId="{B09408A4-6419-9575-EBA8-F1FF34394869}"/>
          </ac:spMkLst>
        </pc:spChg>
        <pc:spChg chg="del mod topLvl">
          <ac:chgData name="Nataliia Chornii (UA)" userId="4e4b8b3d-5f31-49bb-9f80-8a25c04abfff" providerId="ADAL" clId="{EE97D3FE-9ACA-4467-98E5-532EC45D9D1C}" dt="2024-03-01T15:04:17.069" v="16159" actId="478"/>
          <ac:spMkLst>
            <pc:docMk/>
            <pc:sldMk cId="1981412866" sldId="915"/>
            <ac:spMk id="134" creationId="{2EA47EA7-2F91-C4BB-1060-7EA97B10B87C}"/>
          </ac:spMkLst>
        </pc:spChg>
        <pc:spChg chg="del mod topLvl">
          <ac:chgData name="Nataliia Chornii (UA)" userId="4e4b8b3d-5f31-49bb-9f80-8a25c04abfff" providerId="ADAL" clId="{EE97D3FE-9ACA-4467-98E5-532EC45D9D1C}" dt="2024-03-01T15:04:17.069" v="16159" actId="478"/>
          <ac:spMkLst>
            <pc:docMk/>
            <pc:sldMk cId="1981412866" sldId="915"/>
            <ac:spMk id="135" creationId="{0A8E33D1-6028-E6A7-D05D-E773042EE433}"/>
          </ac:spMkLst>
        </pc:spChg>
        <pc:spChg chg="del mod topLvl">
          <ac:chgData name="Nataliia Chornii (UA)" userId="4e4b8b3d-5f31-49bb-9f80-8a25c04abfff" providerId="ADAL" clId="{EE97D3FE-9ACA-4467-98E5-532EC45D9D1C}" dt="2024-03-01T15:04:17.069" v="16159" actId="478"/>
          <ac:spMkLst>
            <pc:docMk/>
            <pc:sldMk cId="1981412866" sldId="915"/>
            <ac:spMk id="136" creationId="{EA710DFB-7BD3-3119-BF61-9488335225C9}"/>
          </ac:spMkLst>
        </pc:spChg>
        <pc:spChg chg="add mod ord">
          <ac:chgData name="Nataliia Chornii (UA)" userId="4e4b8b3d-5f31-49bb-9f80-8a25c04abfff" providerId="ADAL" clId="{EE97D3FE-9ACA-4467-98E5-532EC45D9D1C}" dt="2024-03-01T15:10:53.089" v="16499"/>
          <ac:spMkLst>
            <pc:docMk/>
            <pc:sldMk cId="1981412866" sldId="915"/>
            <ac:spMk id="138" creationId="{2228D4FF-3C67-5CAD-55F2-0E60F901060B}"/>
          </ac:spMkLst>
        </pc:spChg>
        <pc:spChg chg="add del mod ord">
          <ac:chgData name="Nataliia Chornii (UA)" userId="4e4b8b3d-5f31-49bb-9f80-8a25c04abfff" providerId="ADAL" clId="{EE97D3FE-9ACA-4467-98E5-532EC45D9D1C}" dt="2024-03-01T15:10:59.378" v="16504" actId="478"/>
          <ac:spMkLst>
            <pc:docMk/>
            <pc:sldMk cId="1981412866" sldId="915"/>
            <ac:spMk id="139" creationId="{2C14379C-7D55-1BE0-E463-43420556E80D}"/>
          </ac:spMkLst>
        </pc:spChg>
        <pc:spChg chg="add del mod">
          <ac:chgData name="Nataliia Chornii (UA)" userId="4e4b8b3d-5f31-49bb-9f80-8a25c04abfff" providerId="ADAL" clId="{EE97D3FE-9ACA-4467-98E5-532EC45D9D1C}" dt="2024-03-11T14:29:32.673" v="24234" actId="478"/>
          <ac:spMkLst>
            <pc:docMk/>
            <pc:sldMk cId="1981412866" sldId="915"/>
            <ac:spMk id="140" creationId="{522C68EC-5848-25A0-E27C-CAD7D8F314F2}"/>
          </ac:spMkLst>
        </pc:spChg>
        <pc:grpChg chg="add mod">
          <ac:chgData name="Nataliia Chornii (UA)" userId="4e4b8b3d-5f31-49bb-9f80-8a25c04abfff" providerId="ADAL" clId="{EE97D3FE-9ACA-4467-98E5-532EC45D9D1C}" dt="2024-03-04T09:58:00.636" v="20138" actId="12788"/>
          <ac:grpSpMkLst>
            <pc:docMk/>
            <pc:sldMk cId="1981412866" sldId="915"/>
            <ac:grpSpMk id="5" creationId="{B2664BA4-3351-49DF-E51C-2731A516378D}"/>
          </ac:grpSpMkLst>
        </pc:grpChg>
        <pc:grpChg chg="add mod">
          <ac:chgData name="Nataliia Chornii (UA)" userId="4e4b8b3d-5f31-49bb-9f80-8a25c04abfff" providerId="ADAL" clId="{EE97D3FE-9ACA-4467-98E5-532EC45D9D1C}" dt="2024-03-04T09:57:54.090" v="20136" actId="12788"/>
          <ac:grpSpMkLst>
            <pc:docMk/>
            <pc:sldMk cId="1981412866" sldId="915"/>
            <ac:grpSpMk id="12" creationId="{229A4399-860F-69A4-7AC8-F812E9A2C896}"/>
          </ac:grpSpMkLst>
        </pc:grpChg>
        <pc:grpChg chg="add mod">
          <ac:chgData name="Nataliia Chornii (UA)" userId="4e4b8b3d-5f31-49bb-9f80-8a25c04abfff" providerId="ADAL" clId="{EE97D3FE-9ACA-4467-98E5-532EC45D9D1C}" dt="2024-03-11T14:25:54.979" v="24084"/>
          <ac:grpSpMkLst>
            <pc:docMk/>
            <pc:sldMk cId="1981412866" sldId="915"/>
            <ac:grpSpMk id="18" creationId="{A49FE20D-FD8B-8459-9736-4ADAB34854A3}"/>
          </ac:grpSpMkLst>
        </pc:grpChg>
        <pc:grpChg chg="add del mod">
          <ac:chgData name="Nataliia Chornii (UA)" userId="4e4b8b3d-5f31-49bb-9f80-8a25c04abfff" providerId="ADAL" clId="{EE97D3FE-9ACA-4467-98E5-532EC45D9D1C}" dt="2024-03-11T14:26:05.710" v="24086"/>
          <ac:grpSpMkLst>
            <pc:docMk/>
            <pc:sldMk cId="1981412866" sldId="915"/>
            <ac:grpSpMk id="29" creationId="{A63B2E67-EFEB-D5A4-A286-1C34FBFFBCA0}"/>
          </ac:grpSpMkLst>
        </pc:grpChg>
        <pc:grpChg chg="add del mod">
          <ac:chgData name="Nataliia Chornii (UA)" userId="4e4b8b3d-5f31-49bb-9f80-8a25c04abfff" providerId="ADAL" clId="{EE97D3FE-9ACA-4467-98E5-532EC45D9D1C}" dt="2024-03-01T14:57:35.366" v="15934" actId="165"/>
          <ac:grpSpMkLst>
            <pc:docMk/>
            <pc:sldMk cId="1981412866" sldId="915"/>
            <ac:grpSpMk id="30" creationId="{130498FB-6D75-AFF5-9CF2-5A408A63EADC}"/>
          </ac:grpSpMkLst>
        </pc:grpChg>
        <pc:grpChg chg="add del mod">
          <ac:chgData name="Nataliia Chornii (UA)" userId="4e4b8b3d-5f31-49bb-9f80-8a25c04abfff" providerId="ADAL" clId="{EE97D3FE-9ACA-4467-98E5-532EC45D9D1C}" dt="2024-03-01T15:02:10.681" v="16116" actId="165"/>
          <ac:grpSpMkLst>
            <pc:docMk/>
            <pc:sldMk cId="1981412866" sldId="915"/>
            <ac:grpSpMk id="77" creationId="{F5AA5D7E-2E30-1065-8377-7AB6171C9DD4}"/>
          </ac:grpSpMkLst>
        </pc:grpChg>
        <pc:grpChg chg="add del mod">
          <ac:chgData name="Nataliia Chornii (UA)" userId="4e4b8b3d-5f31-49bb-9f80-8a25c04abfff" providerId="ADAL" clId="{EE97D3FE-9ACA-4467-98E5-532EC45D9D1C}" dt="2024-03-01T15:01:17.357" v="16102" actId="165"/>
          <ac:grpSpMkLst>
            <pc:docMk/>
            <pc:sldMk cId="1981412866" sldId="915"/>
            <ac:grpSpMk id="78" creationId="{A93F9753-95BD-8132-6EBD-B88F5431A843}"/>
          </ac:grpSpMkLst>
        </pc:grpChg>
        <pc:grpChg chg="add del mod">
          <ac:chgData name="Nataliia Chornii (UA)" userId="4e4b8b3d-5f31-49bb-9f80-8a25c04abfff" providerId="ADAL" clId="{EE97D3FE-9ACA-4467-98E5-532EC45D9D1C}" dt="2024-03-01T15:01:35.174" v="16108" actId="165"/>
          <ac:grpSpMkLst>
            <pc:docMk/>
            <pc:sldMk cId="1981412866" sldId="915"/>
            <ac:grpSpMk id="107" creationId="{41E21689-CD96-BD93-CB33-60740F11D2BF}"/>
          </ac:grpSpMkLst>
        </pc:grpChg>
        <pc:grpChg chg="add del mod">
          <ac:chgData name="Nataliia Chornii (UA)" userId="4e4b8b3d-5f31-49bb-9f80-8a25c04abfff" providerId="ADAL" clId="{EE97D3FE-9ACA-4467-98E5-532EC45D9D1C}" dt="2024-03-01T15:01:33.292" v="16107" actId="165"/>
          <ac:grpSpMkLst>
            <pc:docMk/>
            <pc:sldMk cId="1981412866" sldId="915"/>
            <ac:grpSpMk id="108" creationId="{5357DB7E-C7F9-21A9-0741-7B1A4D615958}"/>
          </ac:grpSpMkLst>
        </pc:grpChg>
        <pc:graphicFrameChg chg="add mod ord modVis replST">
          <ac:chgData name="Nataliia Chornii (UA)" userId="4e4b8b3d-5f31-49bb-9f80-8a25c04abfff" providerId="ADAL" clId="{EE97D3FE-9ACA-4467-98E5-532EC45D9D1C}" dt="2024-03-01T15:10:53.100" v="16503"/>
          <ac:graphicFrameMkLst>
            <pc:docMk/>
            <pc:sldMk cId="1981412866" sldId="915"/>
            <ac:graphicFrameMk id="9" creationId="{45DFC3D6-83B9-8E99-59C1-D8F51AA95124}"/>
          </ac:graphicFrameMkLst>
        </pc:graphicFrameChg>
        <pc:cxnChg chg="add mod ord topLvl">
          <ac:chgData name="Nataliia Chornii (UA)" userId="4e4b8b3d-5f31-49bb-9f80-8a25c04abfff" providerId="ADAL" clId="{EE97D3FE-9ACA-4467-98E5-532EC45D9D1C}" dt="2024-03-01T15:10:53.058" v="16403"/>
          <ac:cxnSpMkLst>
            <pc:docMk/>
            <pc:sldMk cId="1981412866" sldId="915"/>
            <ac:cxnSpMk id="47" creationId="{75F516F0-AA92-7B38-0A79-CD97D2B45E94}"/>
          </ac:cxnSpMkLst>
        </pc:cxnChg>
        <pc:cxnChg chg="add mod ord topLvl">
          <ac:chgData name="Nataliia Chornii (UA)" userId="4e4b8b3d-5f31-49bb-9f80-8a25c04abfff" providerId="ADAL" clId="{EE97D3FE-9ACA-4467-98E5-532EC45D9D1C}" dt="2024-03-01T15:10:53.058" v="16405"/>
          <ac:cxnSpMkLst>
            <pc:docMk/>
            <pc:sldMk cId="1981412866" sldId="915"/>
            <ac:cxnSpMk id="48" creationId="{1E9D0D5C-B75F-8EE8-8770-9E84B26DEFEA}"/>
          </ac:cxnSpMkLst>
        </pc:cxnChg>
        <pc:cxnChg chg="add mod ord topLvl">
          <ac:chgData name="Nataliia Chornii (UA)" userId="4e4b8b3d-5f31-49bb-9f80-8a25c04abfff" providerId="ADAL" clId="{EE97D3FE-9ACA-4467-98E5-532EC45D9D1C}" dt="2024-03-01T15:10:53.058" v="16407"/>
          <ac:cxnSpMkLst>
            <pc:docMk/>
            <pc:sldMk cId="1981412866" sldId="915"/>
            <ac:cxnSpMk id="49" creationId="{CB33DCF4-5BB0-8786-EFBF-C12964EE6DEB}"/>
          </ac:cxnSpMkLst>
        </pc:cxnChg>
        <pc:cxnChg chg="add mod ord topLvl">
          <ac:chgData name="Nataliia Chornii (UA)" userId="4e4b8b3d-5f31-49bb-9f80-8a25c04abfff" providerId="ADAL" clId="{EE97D3FE-9ACA-4467-98E5-532EC45D9D1C}" dt="2024-03-01T15:10:53.058" v="16409"/>
          <ac:cxnSpMkLst>
            <pc:docMk/>
            <pc:sldMk cId="1981412866" sldId="915"/>
            <ac:cxnSpMk id="50" creationId="{F0C24945-8A0F-EBD8-B81E-10A4082D2F17}"/>
          </ac:cxnSpMkLst>
        </pc:cxnChg>
        <pc:cxnChg chg="add mod ord topLvl">
          <ac:chgData name="Nataliia Chornii (UA)" userId="4e4b8b3d-5f31-49bb-9f80-8a25c04abfff" providerId="ADAL" clId="{EE97D3FE-9ACA-4467-98E5-532EC45D9D1C}" dt="2024-03-01T15:10:53.058" v="16411"/>
          <ac:cxnSpMkLst>
            <pc:docMk/>
            <pc:sldMk cId="1981412866" sldId="915"/>
            <ac:cxnSpMk id="51" creationId="{A25EECBE-4750-2EBF-464A-3DB80C53CD54}"/>
          </ac:cxnSpMkLst>
        </pc:cxnChg>
        <pc:cxnChg chg="add del mod">
          <ac:chgData name="Nataliia Chornii (UA)" userId="4e4b8b3d-5f31-49bb-9f80-8a25c04abfff" providerId="ADAL" clId="{EE97D3FE-9ACA-4467-98E5-532EC45D9D1C}" dt="2024-03-01T14:58:07.539" v="15942" actId="478"/>
          <ac:cxnSpMkLst>
            <pc:docMk/>
            <pc:sldMk cId="1981412866" sldId="915"/>
            <ac:cxnSpMk id="52" creationId="{8EAE0E2E-D216-6685-D70D-B77BA7EA59A1}"/>
          </ac:cxnSpMkLst>
        </pc:cxnChg>
        <pc:cxnChg chg="add del mod">
          <ac:chgData name="Nataliia Chornii (UA)" userId="4e4b8b3d-5f31-49bb-9f80-8a25c04abfff" providerId="ADAL" clId="{EE97D3FE-9ACA-4467-98E5-532EC45D9D1C}" dt="2024-03-01T14:57:58.712" v="15938" actId="478"/>
          <ac:cxnSpMkLst>
            <pc:docMk/>
            <pc:sldMk cId="1981412866" sldId="915"/>
            <ac:cxnSpMk id="53" creationId="{87FF387F-5F3E-8EB8-3470-90532B808279}"/>
          </ac:cxnSpMkLst>
        </pc:cxnChg>
        <pc:cxnChg chg="add mod ord topLvl">
          <ac:chgData name="Nataliia Chornii (UA)" userId="4e4b8b3d-5f31-49bb-9f80-8a25c04abfff" providerId="ADAL" clId="{EE97D3FE-9ACA-4467-98E5-532EC45D9D1C}" dt="2024-03-01T15:10:53.058" v="16413"/>
          <ac:cxnSpMkLst>
            <pc:docMk/>
            <pc:sldMk cId="1981412866" sldId="915"/>
            <ac:cxnSpMk id="55" creationId="{4EBDF314-5EDE-BA73-95C4-434B6B2721DA}"/>
          </ac:cxnSpMkLst>
        </pc:cxnChg>
        <pc:cxnChg chg="add del mod">
          <ac:chgData name="Nataliia Chornii (UA)" userId="4e4b8b3d-5f31-49bb-9f80-8a25c04abfff" providerId="ADAL" clId="{EE97D3FE-9ACA-4467-98E5-532EC45D9D1C}" dt="2024-03-01T14:57:58.712" v="15938" actId="478"/>
          <ac:cxnSpMkLst>
            <pc:docMk/>
            <pc:sldMk cId="1981412866" sldId="915"/>
            <ac:cxnSpMk id="66" creationId="{989E40F9-113A-2036-8867-DDFBF232F77F}"/>
          </ac:cxnSpMkLst>
        </pc:cxnChg>
        <pc:cxnChg chg="mod ord topLvl">
          <ac:chgData name="Nataliia Chornii (UA)" userId="4e4b8b3d-5f31-49bb-9f80-8a25c04abfff" providerId="ADAL" clId="{EE97D3FE-9ACA-4467-98E5-532EC45D9D1C}" dt="2024-03-01T15:10:53.084" v="16455"/>
          <ac:cxnSpMkLst>
            <pc:docMk/>
            <pc:sldMk cId="1981412866" sldId="915"/>
            <ac:cxnSpMk id="94" creationId="{AF2030D2-26EA-4127-8449-5E0C1DA91A56}"/>
          </ac:cxnSpMkLst>
        </pc:cxnChg>
        <pc:cxnChg chg="mod ord topLvl">
          <ac:chgData name="Nataliia Chornii (UA)" userId="4e4b8b3d-5f31-49bb-9f80-8a25c04abfff" providerId="ADAL" clId="{EE97D3FE-9ACA-4467-98E5-532EC45D9D1C}" dt="2024-03-01T15:10:53.084" v="16457"/>
          <ac:cxnSpMkLst>
            <pc:docMk/>
            <pc:sldMk cId="1981412866" sldId="915"/>
            <ac:cxnSpMk id="95" creationId="{A850844E-2AA8-6B27-DAB2-625546B9F9ED}"/>
          </ac:cxnSpMkLst>
        </pc:cxnChg>
        <pc:cxnChg chg="mod ord topLvl">
          <ac:chgData name="Nataliia Chornii (UA)" userId="4e4b8b3d-5f31-49bb-9f80-8a25c04abfff" providerId="ADAL" clId="{EE97D3FE-9ACA-4467-98E5-532EC45D9D1C}" dt="2024-03-01T15:10:53.084" v="16459"/>
          <ac:cxnSpMkLst>
            <pc:docMk/>
            <pc:sldMk cId="1981412866" sldId="915"/>
            <ac:cxnSpMk id="96" creationId="{DDBB901D-7628-ED8C-4EA4-A37A674AD7D3}"/>
          </ac:cxnSpMkLst>
        </pc:cxnChg>
        <pc:cxnChg chg="mod ord topLvl">
          <ac:chgData name="Nataliia Chornii (UA)" userId="4e4b8b3d-5f31-49bb-9f80-8a25c04abfff" providerId="ADAL" clId="{EE97D3FE-9ACA-4467-98E5-532EC45D9D1C}" dt="2024-03-01T15:10:53.084" v="16461"/>
          <ac:cxnSpMkLst>
            <pc:docMk/>
            <pc:sldMk cId="1981412866" sldId="915"/>
            <ac:cxnSpMk id="97" creationId="{B18D4479-B1AE-DC6B-BBC5-FE673E8AFC2D}"/>
          </ac:cxnSpMkLst>
        </pc:cxnChg>
        <pc:cxnChg chg="del mod topLvl">
          <ac:chgData name="Nataliia Chornii (UA)" userId="4e4b8b3d-5f31-49bb-9f80-8a25c04abfff" providerId="ADAL" clId="{EE97D3FE-9ACA-4467-98E5-532EC45D9D1C}" dt="2024-03-01T15:03:09.757" v="16134" actId="478"/>
          <ac:cxnSpMkLst>
            <pc:docMk/>
            <pc:sldMk cId="1981412866" sldId="915"/>
            <ac:cxnSpMk id="98" creationId="{98121ADC-B8CC-6025-6E08-BE2E5A12B32F}"/>
          </ac:cxnSpMkLst>
        </pc:cxnChg>
        <pc:cxnChg chg="mod ord topLvl">
          <ac:chgData name="Nataliia Chornii (UA)" userId="4e4b8b3d-5f31-49bb-9f80-8a25c04abfff" providerId="ADAL" clId="{EE97D3FE-9ACA-4467-98E5-532EC45D9D1C}" dt="2024-03-01T15:10:53.084" v="16463"/>
          <ac:cxnSpMkLst>
            <pc:docMk/>
            <pc:sldMk cId="1981412866" sldId="915"/>
            <ac:cxnSpMk id="99" creationId="{CD0347C9-AB78-F3FF-4D24-EFD1D1FEF8DE}"/>
          </ac:cxnSpMkLst>
        </pc:cxnChg>
        <pc:cxnChg chg="mod ord topLvl">
          <ac:chgData name="Nataliia Chornii (UA)" userId="4e4b8b3d-5f31-49bb-9f80-8a25c04abfff" providerId="ADAL" clId="{EE97D3FE-9ACA-4467-98E5-532EC45D9D1C}" dt="2024-03-01T15:10:53.089" v="16491"/>
          <ac:cxnSpMkLst>
            <pc:docMk/>
            <pc:sldMk cId="1981412866" sldId="915"/>
            <ac:cxnSpMk id="124" creationId="{F4B1EDB0-F937-7E75-15EE-D63F022FDE28}"/>
          </ac:cxnSpMkLst>
        </pc:cxnChg>
        <pc:cxnChg chg="del mod topLvl">
          <ac:chgData name="Nataliia Chornii (UA)" userId="4e4b8b3d-5f31-49bb-9f80-8a25c04abfff" providerId="ADAL" clId="{EE97D3FE-9ACA-4467-98E5-532EC45D9D1C}" dt="2024-03-01T15:04:17.069" v="16159" actId="478"/>
          <ac:cxnSpMkLst>
            <pc:docMk/>
            <pc:sldMk cId="1981412866" sldId="915"/>
            <ac:cxnSpMk id="125" creationId="{23612376-3D7F-2E7E-9F2B-59CD2525D0B9}"/>
          </ac:cxnSpMkLst>
        </pc:cxnChg>
        <pc:cxnChg chg="del mod topLvl">
          <ac:chgData name="Nataliia Chornii (UA)" userId="4e4b8b3d-5f31-49bb-9f80-8a25c04abfff" providerId="ADAL" clId="{EE97D3FE-9ACA-4467-98E5-532EC45D9D1C}" dt="2024-03-01T15:04:17.069" v="16159" actId="478"/>
          <ac:cxnSpMkLst>
            <pc:docMk/>
            <pc:sldMk cId="1981412866" sldId="915"/>
            <ac:cxnSpMk id="126" creationId="{A81ABB8F-021B-3E23-0D3F-17A67CA9269A}"/>
          </ac:cxnSpMkLst>
        </pc:cxnChg>
        <pc:cxnChg chg="del mod topLvl">
          <ac:chgData name="Nataliia Chornii (UA)" userId="4e4b8b3d-5f31-49bb-9f80-8a25c04abfff" providerId="ADAL" clId="{EE97D3FE-9ACA-4467-98E5-532EC45D9D1C}" dt="2024-03-01T15:04:17.069" v="16159" actId="478"/>
          <ac:cxnSpMkLst>
            <pc:docMk/>
            <pc:sldMk cId="1981412866" sldId="915"/>
            <ac:cxnSpMk id="127" creationId="{01D9D860-7196-B295-9E48-7C0E6155B447}"/>
          </ac:cxnSpMkLst>
        </pc:cxnChg>
        <pc:cxnChg chg="del mod topLvl">
          <ac:chgData name="Nataliia Chornii (UA)" userId="4e4b8b3d-5f31-49bb-9f80-8a25c04abfff" providerId="ADAL" clId="{EE97D3FE-9ACA-4467-98E5-532EC45D9D1C}" dt="2024-03-01T15:04:17.069" v="16159" actId="478"/>
          <ac:cxnSpMkLst>
            <pc:docMk/>
            <pc:sldMk cId="1981412866" sldId="915"/>
            <ac:cxnSpMk id="128" creationId="{A8EC170B-C43F-5474-B9A1-E48403A516E8}"/>
          </ac:cxnSpMkLst>
        </pc:cxnChg>
        <pc:cxnChg chg="mod ord topLvl">
          <ac:chgData name="Nataliia Chornii (UA)" userId="4e4b8b3d-5f31-49bb-9f80-8a25c04abfff" providerId="ADAL" clId="{EE97D3FE-9ACA-4467-98E5-532EC45D9D1C}" dt="2024-03-01T15:10:53.089" v="16493"/>
          <ac:cxnSpMkLst>
            <pc:docMk/>
            <pc:sldMk cId="1981412866" sldId="915"/>
            <ac:cxnSpMk id="129" creationId="{3AF7C173-E6C5-E60C-6FCC-CC84803A3102}"/>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2:33.550" v="22437"/>
              <pc2:cmMkLst xmlns:pc2="http://schemas.microsoft.com/office/powerpoint/2019/9/main/command">
                <pc:docMk/>
                <pc:sldMk cId="1981412866" sldId="915"/>
                <pc2:cmMk id="{0A2FB834-DE41-4211-88A4-807F40A0D977}"/>
              </pc2:cmMkLst>
            </pc226:cmChg>
          </p:ext>
        </pc:extLst>
      </pc:sldChg>
      <pc:sldChg chg="addSp delSp modSp mod modClrScheme modCm chgLayout">
        <pc:chgData name="Nataliia Chornii (UA)" userId="4e4b8b3d-5f31-49bb-9f80-8a25c04abfff" providerId="ADAL" clId="{EE97D3FE-9ACA-4467-98E5-532EC45D9D1C}" dt="2024-03-11T14:29:42.758" v="24239" actId="478"/>
        <pc:sldMkLst>
          <pc:docMk/>
          <pc:sldMk cId="64855802" sldId="916"/>
        </pc:sldMkLst>
        <pc:spChg chg="del">
          <ac:chgData name="Nataliia Chornii (UA)" userId="4e4b8b3d-5f31-49bb-9f80-8a25c04abfff" providerId="ADAL" clId="{EE97D3FE-9ACA-4467-98E5-532EC45D9D1C}" dt="2024-03-01T15:09:51.486" v="16183" actId="478"/>
          <ac:spMkLst>
            <pc:docMk/>
            <pc:sldMk cId="64855802" sldId="916"/>
            <ac:spMk id="2" creationId="{A1EA5253-E431-DFFC-E94A-6F8E087CC2C0}"/>
          </ac:spMkLst>
        </pc:spChg>
        <pc:spChg chg="mod ord">
          <ac:chgData name="Nataliia Chornii (UA)" userId="4e4b8b3d-5f31-49bb-9f80-8a25c04abfff" providerId="ADAL" clId="{EE97D3FE-9ACA-4467-98E5-532EC45D9D1C}" dt="2024-03-01T15:23:27.691" v="17144" actId="948"/>
          <ac:spMkLst>
            <pc:docMk/>
            <pc:sldMk cId="64855802" sldId="916"/>
            <ac:spMk id="3" creationId="{F4CCF02E-F3C4-C376-8F56-61BD85A2E74B}"/>
          </ac:spMkLst>
        </pc:spChg>
        <pc:spChg chg="mod ord">
          <ac:chgData name="Nataliia Chornii (UA)" userId="4e4b8b3d-5f31-49bb-9f80-8a25c04abfff" providerId="ADAL" clId="{EE97D3FE-9ACA-4467-98E5-532EC45D9D1C}" dt="2024-03-01T15:12:11.376" v="16762"/>
          <ac:spMkLst>
            <pc:docMk/>
            <pc:sldMk cId="64855802" sldId="916"/>
            <ac:spMk id="4" creationId="{872966CD-924A-B939-E655-A6BAF817DCBF}"/>
          </ac:spMkLst>
        </pc:spChg>
        <pc:spChg chg="mod">
          <ac:chgData name="Nataliia Chornii (UA)" userId="4e4b8b3d-5f31-49bb-9f80-8a25c04abfff" providerId="ADAL" clId="{EE97D3FE-9ACA-4467-98E5-532EC45D9D1C}" dt="2024-03-04T10:00:10.335" v="20224" actId="207"/>
          <ac:spMkLst>
            <pc:docMk/>
            <pc:sldMk cId="64855802" sldId="916"/>
            <ac:spMk id="5" creationId="{65B20DBA-A0B6-DD32-19D6-76C7062D9658}"/>
          </ac:spMkLst>
        </pc:spChg>
        <pc:spChg chg="del">
          <ac:chgData name="Nataliia Chornii (UA)" userId="4e4b8b3d-5f31-49bb-9f80-8a25c04abfff" providerId="ADAL" clId="{EE97D3FE-9ACA-4467-98E5-532EC45D9D1C}" dt="2024-03-01T15:06:03.447" v="16180" actId="478"/>
          <ac:spMkLst>
            <pc:docMk/>
            <pc:sldMk cId="64855802" sldId="916"/>
            <ac:spMk id="5" creationId="{FF11D90A-8D15-0E43-4C2E-D42257331C13}"/>
          </ac:spMkLst>
        </pc:spChg>
        <pc:spChg chg="del">
          <ac:chgData name="Nataliia Chornii (UA)" userId="4e4b8b3d-5f31-49bb-9f80-8a25c04abfff" providerId="ADAL" clId="{EE97D3FE-9ACA-4467-98E5-532EC45D9D1C}" dt="2024-03-01T15:06:03.447" v="16180" actId="478"/>
          <ac:spMkLst>
            <pc:docMk/>
            <pc:sldMk cId="64855802" sldId="916"/>
            <ac:spMk id="6" creationId="{0F377277-EC46-FAC5-F379-194FCD82679C}"/>
          </ac:spMkLst>
        </pc:spChg>
        <pc:spChg chg="mod">
          <ac:chgData name="Nataliia Chornii (UA)" userId="4e4b8b3d-5f31-49bb-9f80-8a25c04abfff" providerId="ADAL" clId="{EE97D3FE-9ACA-4467-98E5-532EC45D9D1C}" dt="2024-03-04T10:00:10.335" v="20224" actId="207"/>
          <ac:spMkLst>
            <pc:docMk/>
            <pc:sldMk cId="64855802" sldId="916"/>
            <ac:spMk id="6" creationId="{A0E793E7-427C-3E34-E013-FCACBB48F56B}"/>
          </ac:spMkLst>
        </pc:spChg>
        <pc:spChg chg="del mod ord">
          <ac:chgData name="Nataliia Chornii (UA)" userId="4e4b8b3d-5f31-49bb-9f80-8a25c04abfff" providerId="ADAL" clId="{EE97D3FE-9ACA-4467-98E5-532EC45D9D1C}" dt="2024-03-01T15:13:10.004" v="16881" actId="478"/>
          <ac:spMkLst>
            <pc:docMk/>
            <pc:sldMk cId="64855802" sldId="916"/>
            <ac:spMk id="7" creationId="{8E846963-540E-9336-DE83-B87EC3AB5727}"/>
          </ac:spMkLst>
        </pc:spChg>
        <pc:spChg chg="mod">
          <ac:chgData name="Nataliia Chornii (UA)" userId="4e4b8b3d-5f31-49bb-9f80-8a25c04abfff" providerId="ADAL" clId="{EE97D3FE-9ACA-4467-98E5-532EC45D9D1C}" dt="2024-03-04T10:00:10.335" v="20224" actId="207"/>
          <ac:spMkLst>
            <pc:docMk/>
            <pc:sldMk cId="64855802" sldId="916"/>
            <ac:spMk id="7" creationId="{E886C7A7-47C5-E0CB-C923-882EDC64C19E}"/>
          </ac:spMkLst>
        </pc:spChg>
        <pc:spChg chg="mod">
          <ac:chgData name="Nataliia Chornii (UA)" userId="4e4b8b3d-5f31-49bb-9f80-8a25c04abfff" providerId="ADAL" clId="{EE97D3FE-9ACA-4467-98E5-532EC45D9D1C}" dt="2024-03-04T10:00:10.335" v="20224" actId="207"/>
          <ac:spMkLst>
            <pc:docMk/>
            <pc:sldMk cId="64855802" sldId="916"/>
            <ac:spMk id="8" creationId="{24E79FE6-0994-3470-48D1-FB7ACEF10549}"/>
          </ac:spMkLst>
        </pc:spChg>
        <pc:spChg chg="del">
          <ac:chgData name="Nataliia Chornii (UA)" userId="4e4b8b3d-5f31-49bb-9f80-8a25c04abfff" providerId="ADAL" clId="{EE97D3FE-9ACA-4467-98E5-532EC45D9D1C}" dt="2024-03-01T15:09:51.486" v="16183" actId="478"/>
          <ac:spMkLst>
            <pc:docMk/>
            <pc:sldMk cId="64855802" sldId="916"/>
            <ac:spMk id="8" creationId="{598AB23C-0BF9-85FE-4B7A-DC0CF1A85603}"/>
          </ac:spMkLst>
        </pc:spChg>
        <pc:spChg chg="add mod">
          <ac:chgData name="Nataliia Chornii (UA)" userId="4e4b8b3d-5f31-49bb-9f80-8a25c04abfff" providerId="ADAL" clId="{EE97D3FE-9ACA-4467-98E5-532EC45D9D1C}" dt="2024-03-11T14:29:41.482" v="24238"/>
          <ac:spMkLst>
            <pc:docMk/>
            <pc:sldMk cId="64855802" sldId="916"/>
            <ac:spMk id="9" creationId="{20E2F488-128A-A03C-4DDA-0BA6FB1A457F}"/>
          </ac:spMkLst>
        </pc:spChg>
        <pc:spChg chg="add del mod modVis">
          <ac:chgData name="Nataliia Chornii (UA)" userId="4e4b8b3d-5f31-49bb-9f80-8a25c04abfff" providerId="ADAL" clId="{EE97D3FE-9ACA-4467-98E5-532EC45D9D1C}" dt="2024-03-01T08:48:59.410" v="1327"/>
          <ac:spMkLst>
            <pc:docMk/>
            <pc:sldMk cId="64855802" sldId="916"/>
            <ac:spMk id="9" creationId="{9B5E04AF-8BE1-7803-D218-BCACE4766F1A}"/>
          </ac:spMkLst>
        </pc:spChg>
        <pc:spChg chg="del mod ord">
          <ac:chgData name="Nataliia Chornii (UA)" userId="4e4b8b3d-5f31-49bb-9f80-8a25c04abfff" providerId="ADAL" clId="{EE97D3FE-9ACA-4467-98E5-532EC45D9D1C}" dt="2024-03-01T15:19:34.328" v="17045" actId="478"/>
          <ac:spMkLst>
            <pc:docMk/>
            <pc:sldMk cId="64855802" sldId="916"/>
            <ac:spMk id="10" creationId="{489B7680-E5EE-2A50-7733-37F2F144B869}"/>
          </ac:spMkLst>
        </pc:spChg>
        <pc:spChg chg="del">
          <ac:chgData name="Nataliia Chornii (UA)" userId="4e4b8b3d-5f31-49bb-9f80-8a25c04abfff" providerId="ADAL" clId="{EE97D3FE-9ACA-4467-98E5-532EC45D9D1C}" dt="2024-03-01T15:09:51.486" v="16183" actId="478"/>
          <ac:spMkLst>
            <pc:docMk/>
            <pc:sldMk cId="64855802" sldId="916"/>
            <ac:spMk id="11" creationId="{327B1A4B-6980-7B00-091C-6006703B82A0}"/>
          </ac:spMkLst>
        </pc:spChg>
        <pc:spChg chg="add del mod modVis">
          <ac:chgData name="Nataliia Chornii (UA)" userId="4e4b8b3d-5f31-49bb-9f80-8a25c04abfff" providerId="ADAL" clId="{EE97D3FE-9ACA-4467-98E5-532EC45D9D1C}" dt="2024-03-01T08:49:33.729" v="2810"/>
          <ac:spMkLst>
            <pc:docMk/>
            <pc:sldMk cId="64855802" sldId="916"/>
            <ac:spMk id="13" creationId="{88E58F6D-29A7-C668-1A01-B2C19F74E90C}"/>
          </ac:spMkLst>
        </pc:spChg>
        <pc:spChg chg="add del mod modVis">
          <ac:chgData name="Nataliia Chornii (UA)" userId="4e4b8b3d-5f31-49bb-9f80-8a25c04abfff" providerId="ADAL" clId="{EE97D3FE-9ACA-4467-98E5-532EC45D9D1C}" dt="2024-03-01T08:49:59.788" v="3798"/>
          <ac:spMkLst>
            <pc:docMk/>
            <pc:sldMk cId="64855802" sldId="916"/>
            <ac:spMk id="14" creationId="{0AC8E3DF-A572-9706-BA15-E956800EA3D2}"/>
          </ac:spMkLst>
        </pc:spChg>
        <pc:spChg chg="add del mod modVis">
          <ac:chgData name="Nataliia Chornii (UA)" userId="4e4b8b3d-5f31-49bb-9f80-8a25c04abfff" providerId="ADAL" clId="{EE97D3FE-9ACA-4467-98E5-532EC45D9D1C}" dt="2024-03-01T08:51:26.106" v="4786"/>
          <ac:spMkLst>
            <pc:docMk/>
            <pc:sldMk cId="64855802" sldId="916"/>
            <ac:spMk id="15" creationId="{5ECCA0D8-E840-E9E5-4757-4D368227019B}"/>
          </ac:spMkLst>
        </pc:spChg>
        <pc:spChg chg="add del mod modVis">
          <ac:chgData name="Nataliia Chornii (UA)" userId="4e4b8b3d-5f31-49bb-9f80-8a25c04abfff" providerId="ADAL" clId="{EE97D3FE-9ACA-4467-98E5-532EC45D9D1C}" dt="2024-03-01T08:51:56.094" v="5775"/>
          <ac:spMkLst>
            <pc:docMk/>
            <pc:sldMk cId="64855802" sldId="916"/>
            <ac:spMk id="16" creationId="{2DE1A61F-1581-3D5D-5FAD-072C48A4C42E}"/>
          </ac:spMkLst>
        </pc:spChg>
        <pc:spChg chg="add del mod modVis">
          <ac:chgData name="Nataliia Chornii (UA)" userId="4e4b8b3d-5f31-49bb-9f80-8a25c04abfff" providerId="ADAL" clId="{EE97D3FE-9ACA-4467-98E5-532EC45D9D1C}" dt="2024-03-01T08:52:18.267" v="6763"/>
          <ac:spMkLst>
            <pc:docMk/>
            <pc:sldMk cId="64855802" sldId="916"/>
            <ac:spMk id="17" creationId="{8E95BE26-95FA-D2FC-AD2C-35D9F44D3EDB}"/>
          </ac:spMkLst>
        </pc:spChg>
        <pc:spChg chg="add del mod ord">
          <ac:chgData name="Nataliia Chornii (UA)" userId="4e4b8b3d-5f31-49bb-9f80-8a25c04abfff" providerId="ADAL" clId="{EE97D3FE-9ACA-4467-98E5-532EC45D9D1C}" dt="2024-03-01T15:09:55.394" v="16184" actId="700"/>
          <ac:spMkLst>
            <pc:docMk/>
            <pc:sldMk cId="64855802" sldId="916"/>
            <ac:spMk id="19" creationId="{BF8167A5-672C-0A83-D859-31D003AC2E13}"/>
          </ac:spMkLst>
        </pc:spChg>
        <pc:spChg chg="add del mod ord">
          <ac:chgData name="Nataliia Chornii (UA)" userId="4e4b8b3d-5f31-49bb-9f80-8a25c04abfff" providerId="ADAL" clId="{EE97D3FE-9ACA-4467-98E5-532EC45D9D1C}" dt="2024-03-01T15:09:56.833" v="16211" actId="478"/>
          <ac:spMkLst>
            <pc:docMk/>
            <pc:sldMk cId="64855802" sldId="916"/>
            <ac:spMk id="20" creationId="{21339D2A-CB44-69C7-40F4-4CB64086937A}"/>
          </ac:spMkLst>
        </pc:spChg>
        <pc:spChg chg="add del mod modVis">
          <ac:chgData name="Nataliia Chornii (UA)" userId="4e4b8b3d-5f31-49bb-9f80-8a25c04abfff" providerId="ADAL" clId="{EE97D3FE-9ACA-4467-98E5-532EC45D9D1C}" dt="2024-03-01T15:09:56.074" v="16208"/>
          <ac:spMkLst>
            <pc:docMk/>
            <pc:sldMk cId="64855802" sldId="916"/>
            <ac:spMk id="21" creationId="{31A19AF2-08B2-409F-C996-A3C66943220B}"/>
          </ac:spMkLst>
        </pc:spChg>
        <pc:spChg chg="add del mod ord">
          <ac:chgData name="Nataliia Chornii (UA)" userId="4e4b8b3d-5f31-49bb-9f80-8a25c04abfff" providerId="ADAL" clId="{EE97D3FE-9ACA-4467-98E5-532EC45D9D1C}" dt="2024-03-01T15:14:31.975" v="16905" actId="478"/>
          <ac:spMkLst>
            <pc:docMk/>
            <pc:sldMk cId="64855802" sldId="916"/>
            <ac:spMk id="22" creationId="{70AE735C-F922-182E-C601-D6A4761A7A63}"/>
          </ac:spMkLst>
        </pc:spChg>
        <pc:spChg chg="add del mod ord">
          <ac:chgData name="Nataliia Chornii (UA)" userId="4e4b8b3d-5f31-49bb-9f80-8a25c04abfff" providerId="ADAL" clId="{EE97D3FE-9ACA-4467-98E5-532EC45D9D1C}" dt="2024-03-01T15:16:26.338" v="16974" actId="478"/>
          <ac:spMkLst>
            <pc:docMk/>
            <pc:sldMk cId="64855802" sldId="916"/>
            <ac:spMk id="23" creationId="{9DA911E3-A1DB-CCF5-744D-18DA986EC773}"/>
          </ac:spMkLst>
        </pc:spChg>
        <pc:spChg chg="add del mod">
          <ac:chgData name="Nataliia Chornii (UA)" userId="4e4b8b3d-5f31-49bb-9f80-8a25c04abfff" providerId="ADAL" clId="{EE97D3FE-9ACA-4467-98E5-532EC45D9D1C}" dt="2024-03-01T15:10:34.669" v="16219" actId="478"/>
          <ac:spMkLst>
            <pc:docMk/>
            <pc:sldMk cId="64855802" sldId="916"/>
            <ac:spMk id="24" creationId="{6B11875D-EDBF-FF3C-3534-091DF43FF050}"/>
          </ac:spMkLst>
        </pc:spChg>
        <pc:spChg chg="add mod ord">
          <ac:chgData name="Nataliia Chornii (UA)" userId="4e4b8b3d-5f31-49bb-9f80-8a25c04abfff" providerId="ADAL" clId="{EE97D3FE-9ACA-4467-98E5-532EC45D9D1C}" dt="2024-03-01T15:15:05.446" v="16926" actId="553"/>
          <ac:spMkLst>
            <pc:docMk/>
            <pc:sldMk cId="64855802" sldId="916"/>
            <ac:spMk id="25" creationId="{3F4B047B-9FFA-12D1-B8AD-AAC2A9759CAF}"/>
          </ac:spMkLst>
        </pc:spChg>
        <pc:spChg chg="add mod ord">
          <ac:chgData name="Nataliia Chornii (UA)" userId="4e4b8b3d-5f31-49bb-9f80-8a25c04abfff" providerId="ADAL" clId="{EE97D3FE-9ACA-4467-98E5-532EC45D9D1C}" dt="2024-03-01T15:15:05.446" v="16926" actId="553"/>
          <ac:spMkLst>
            <pc:docMk/>
            <pc:sldMk cId="64855802" sldId="916"/>
            <ac:spMk id="26" creationId="{515B18CF-E56A-6B40-4A0F-0EAA1C8F56C7}"/>
          </ac:spMkLst>
        </pc:spChg>
        <pc:spChg chg="add mod ord">
          <ac:chgData name="Nataliia Chornii (UA)" userId="4e4b8b3d-5f31-49bb-9f80-8a25c04abfff" providerId="ADAL" clId="{EE97D3FE-9ACA-4467-98E5-532EC45D9D1C}" dt="2024-03-01T15:12:11.383" v="16776"/>
          <ac:spMkLst>
            <pc:docMk/>
            <pc:sldMk cId="64855802" sldId="916"/>
            <ac:spMk id="27" creationId="{DB25174A-0656-78A0-0079-8CF72BC6431E}"/>
          </ac:spMkLst>
        </pc:spChg>
        <pc:spChg chg="add mod ord">
          <ac:chgData name="Nataliia Chornii (UA)" userId="4e4b8b3d-5f31-49bb-9f80-8a25c04abfff" providerId="ADAL" clId="{EE97D3FE-9ACA-4467-98E5-532EC45D9D1C}" dt="2024-03-01T15:12:11.383" v="16778"/>
          <ac:spMkLst>
            <pc:docMk/>
            <pc:sldMk cId="64855802" sldId="916"/>
            <ac:spMk id="28" creationId="{E26856B4-6C3C-09CB-5094-5D5C14CB617C}"/>
          </ac:spMkLst>
        </pc:spChg>
        <pc:spChg chg="add mod ord">
          <ac:chgData name="Nataliia Chornii (UA)" userId="4e4b8b3d-5f31-49bb-9f80-8a25c04abfff" providerId="ADAL" clId="{EE97D3FE-9ACA-4467-98E5-532EC45D9D1C}" dt="2024-03-01T15:12:11.383" v="16780"/>
          <ac:spMkLst>
            <pc:docMk/>
            <pc:sldMk cId="64855802" sldId="916"/>
            <ac:spMk id="29" creationId="{D24D2039-8EB4-6BDE-56F6-C1CF4E0BD27B}"/>
          </ac:spMkLst>
        </pc:spChg>
        <pc:spChg chg="add del mod ord">
          <ac:chgData name="Nataliia Chornii (UA)" userId="4e4b8b3d-5f31-49bb-9f80-8a25c04abfff" providerId="ADAL" clId="{EE97D3FE-9ACA-4467-98E5-532EC45D9D1C}" dt="2024-03-01T15:16:54.104" v="16975" actId="478"/>
          <ac:spMkLst>
            <pc:docMk/>
            <pc:sldMk cId="64855802" sldId="916"/>
            <ac:spMk id="30" creationId="{5DE9D569-A435-1155-3C49-1129FE066856}"/>
          </ac:spMkLst>
        </pc:spChg>
        <pc:spChg chg="add del mod modVis">
          <ac:chgData name="Nataliia Chornii (UA)" userId="4e4b8b3d-5f31-49bb-9f80-8a25c04abfff" providerId="ADAL" clId="{EE97D3FE-9ACA-4467-98E5-532EC45D9D1C}" dt="2024-03-01T15:11:12.141" v="16532"/>
          <ac:spMkLst>
            <pc:docMk/>
            <pc:sldMk cId="64855802" sldId="916"/>
            <ac:spMk id="31" creationId="{D085A1BB-23E7-7350-B7FB-000C975F1CD2}"/>
          </ac:spMkLst>
        </pc:spChg>
        <pc:spChg chg="add mod ord topLvl">
          <ac:chgData name="Nataliia Chornii (UA)" userId="4e4b8b3d-5f31-49bb-9f80-8a25c04abfff" providerId="ADAL" clId="{EE97D3FE-9ACA-4467-98E5-532EC45D9D1C}" dt="2024-03-01T15:15:43.316" v="16964" actId="165"/>
          <ac:spMkLst>
            <pc:docMk/>
            <pc:sldMk cId="64855802" sldId="916"/>
            <ac:spMk id="34" creationId="{AC027842-8E0B-F976-084E-7FD104C43A84}"/>
          </ac:spMkLst>
        </pc:spChg>
        <pc:spChg chg="add mod ord topLvl">
          <ac:chgData name="Nataliia Chornii (UA)" userId="4e4b8b3d-5f31-49bb-9f80-8a25c04abfff" providerId="ADAL" clId="{EE97D3FE-9ACA-4467-98E5-532EC45D9D1C}" dt="2024-03-01T15:17:15.206" v="16978" actId="14100"/>
          <ac:spMkLst>
            <pc:docMk/>
            <pc:sldMk cId="64855802" sldId="916"/>
            <ac:spMk id="35" creationId="{432C5712-D5AD-47F7-FC20-0EB40EAFE2D2}"/>
          </ac:spMkLst>
        </pc:spChg>
        <pc:spChg chg="add mod ord topLvl">
          <ac:chgData name="Nataliia Chornii (UA)" userId="4e4b8b3d-5f31-49bb-9f80-8a25c04abfff" providerId="ADAL" clId="{EE97D3FE-9ACA-4467-98E5-532EC45D9D1C}" dt="2024-03-01T15:15:43.316" v="16964" actId="165"/>
          <ac:spMkLst>
            <pc:docMk/>
            <pc:sldMk cId="64855802" sldId="916"/>
            <ac:spMk id="36" creationId="{1A91B8D2-3367-8EC1-1639-E51629AF1E93}"/>
          </ac:spMkLst>
        </pc:spChg>
        <pc:spChg chg="add mod ord topLvl">
          <ac:chgData name="Nataliia Chornii (UA)" userId="4e4b8b3d-5f31-49bb-9f80-8a25c04abfff" providerId="ADAL" clId="{EE97D3FE-9ACA-4467-98E5-532EC45D9D1C}" dt="2024-03-01T15:15:43.316" v="16964" actId="165"/>
          <ac:spMkLst>
            <pc:docMk/>
            <pc:sldMk cId="64855802" sldId="916"/>
            <ac:spMk id="37" creationId="{43ADB3DB-3BA4-7C31-08CB-601A2D7BCC02}"/>
          </ac:spMkLst>
        </pc:spChg>
        <pc:spChg chg="add mod ord topLvl">
          <ac:chgData name="Nataliia Chornii (UA)" userId="4e4b8b3d-5f31-49bb-9f80-8a25c04abfff" providerId="ADAL" clId="{EE97D3FE-9ACA-4467-98E5-532EC45D9D1C}" dt="2024-03-01T15:15:43.316" v="16964" actId="165"/>
          <ac:spMkLst>
            <pc:docMk/>
            <pc:sldMk cId="64855802" sldId="916"/>
            <ac:spMk id="38" creationId="{BD7935CE-15D8-1811-94CE-B987A34E5FB0}"/>
          </ac:spMkLst>
        </pc:spChg>
        <pc:spChg chg="add mod ord topLvl">
          <ac:chgData name="Nataliia Chornii (UA)" userId="4e4b8b3d-5f31-49bb-9f80-8a25c04abfff" providerId="ADAL" clId="{EE97D3FE-9ACA-4467-98E5-532EC45D9D1C}" dt="2024-03-01T15:15:43.316" v="16964" actId="165"/>
          <ac:spMkLst>
            <pc:docMk/>
            <pc:sldMk cId="64855802" sldId="916"/>
            <ac:spMk id="39" creationId="{B6D3ACFB-DDDC-6CAA-D35D-49EA05634711}"/>
          </ac:spMkLst>
        </pc:spChg>
        <pc:spChg chg="add mod ord topLvl">
          <ac:chgData name="Nataliia Chornii (UA)" userId="4e4b8b3d-5f31-49bb-9f80-8a25c04abfff" providerId="ADAL" clId="{EE97D3FE-9ACA-4467-98E5-532EC45D9D1C}" dt="2024-03-01T15:15:43.316" v="16964" actId="165"/>
          <ac:spMkLst>
            <pc:docMk/>
            <pc:sldMk cId="64855802" sldId="916"/>
            <ac:spMk id="40" creationId="{7EBB5C10-CFEF-60B6-E81C-B496F1A52649}"/>
          </ac:spMkLst>
        </pc:spChg>
        <pc:spChg chg="add mod ord topLvl">
          <ac:chgData name="Nataliia Chornii (UA)" userId="4e4b8b3d-5f31-49bb-9f80-8a25c04abfff" providerId="ADAL" clId="{EE97D3FE-9ACA-4467-98E5-532EC45D9D1C}" dt="2024-03-01T15:15:43.316" v="16964" actId="165"/>
          <ac:spMkLst>
            <pc:docMk/>
            <pc:sldMk cId="64855802" sldId="916"/>
            <ac:spMk id="41" creationId="{985E6054-94C7-8CF3-851D-FD85DE2F92CB}"/>
          </ac:spMkLst>
        </pc:spChg>
        <pc:spChg chg="add mod ord topLvl">
          <ac:chgData name="Nataliia Chornii (UA)" userId="4e4b8b3d-5f31-49bb-9f80-8a25c04abfff" providerId="ADAL" clId="{EE97D3FE-9ACA-4467-98E5-532EC45D9D1C}" dt="2024-03-01T15:15:43.316" v="16964" actId="165"/>
          <ac:spMkLst>
            <pc:docMk/>
            <pc:sldMk cId="64855802" sldId="916"/>
            <ac:spMk id="42" creationId="{554E30E1-83B8-7761-D567-A1C24032F242}"/>
          </ac:spMkLst>
        </pc:spChg>
        <pc:spChg chg="add mod ord topLvl">
          <ac:chgData name="Nataliia Chornii (UA)" userId="4e4b8b3d-5f31-49bb-9f80-8a25c04abfff" providerId="ADAL" clId="{EE97D3FE-9ACA-4467-98E5-532EC45D9D1C}" dt="2024-03-01T15:17:15.206" v="16978" actId="14100"/>
          <ac:spMkLst>
            <pc:docMk/>
            <pc:sldMk cId="64855802" sldId="916"/>
            <ac:spMk id="43" creationId="{B59B899D-1483-7DB7-884C-1BF5BB66EEF8}"/>
          </ac:spMkLst>
        </pc:spChg>
        <pc:spChg chg="add mod ord topLvl">
          <ac:chgData name="Nataliia Chornii (UA)" userId="4e4b8b3d-5f31-49bb-9f80-8a25c04abfff" providerId="ADAL" clId="{EE97D3FE-9ACA-4467-98E5-532EC45D9D1C}" dt="2024-03-01T15:17:15.206" v="16978" actId="14100"/>
          <ac:spMkLst>
            <pc:docMk/>
            <pc:sldMk cId="64855802" sldId="916"/>
            <ac:spMk id="44" creationId="{94871D9B-9CA0-96F3-8E39-FD36C686E5B2}"/>
          </ac:spMkLst>
        </pc:spChg>
        <pc:spChg chg="add mod ord topLvl">
          <ac:chgData name="Nataliia Chornii (UA)" userId="4e4b8b3d-5f31-49bb-9f80-8a25c04abfff" providerId="ADAL" clId="{EE97D3FE-9ACA-4467-98E5-532EC45D9D1C}" dt="2024-03-01T15:17:15.206" v="16978" actId="14100"/>
          <ac:spMkLst>
            <pc:docMk/>
            <pc:sldMk cId="64855802" sldId="916"/>
            <ac:spMk id="45" creationId="{8D71FF02-0232-FA91-F9B2-51C5765FD1F0}"/>
          </ac:spMkLst>
        </pc:spChg>
        <pc:spChg chg="add mod ord topLvl">
          <ac:chgData name="Nataliia Chornii (UA)" userId="4e4b8b3d-5f31-49bb-9f80-8a25c04abfff" providerId="ADAL" clId="{EE97D3FE-9ACA-4467-98E5-532EC45D9D1C}" dt="2024-03-01T15:17:15.206" v="16978" actId="14100"/>
          <ac:spMkLst>
            <pc:docMk/>
            <pc:sldMk cId="64855802" sldId="916"/>
            <ac:spMk id="46" creationId="{AA6DDFE9-80E6-B7F6-FB38-9917BC91B4D2}"/>
          </ac:spMkLst>
        </pc:spChg>
        <pc:spChg chg="add mod ord topLvl">
          <ac:chgData name="Nataliia Chornii (UA)" userId="4e4b8b3d-5f31-49bb-9f80-8a25c04abfff" providerId="ADAL" clId="{EE97D3FE-9ACA-4467-98E5-532EC45D9D1C}" dt="2024-03-01T15:17:15.206" v="16978" actId="14100"/>
          <ac:spMkLst>
            <pc:docMk/>
            <pc:sldMk cId="64855802" sldId="916"/>
            <ac:spMk id="47" creationId="{115D63E8-2A8B-9CF7-1918-27AD2BA124D4}"/>
          </ac:spMkLst>
        </pc:spChg>
        <pc:spChg chg="add mod ord topLvl">
          <ac:chgData name="Nataliia Chornii (UA)" userId="4e4b8b3d-5f31-49bb-9f80-8a25c04abfff" providerId="ADAL" clId="{EE97D3FE-9ACA-4467-98E5-532EC45D9D1C}" dt="2024-03-01T15:17:15.206" v="16978" actId="14100"/>
          <ac:spMkLst>
            <pc:docMk/>
            <pc:sldMk cId="64855802" sldId="916"/>
            <ac:spMk id="48" creationId="{45C97A8C-D8E3-502E-7F55-E280CB660E7E}"/>
          </ac:spMkLst>
        </pc:spChg>
        <pc:spChg chg="add mod ord topLvl">
          <ac:chgData name="Nataliia Chornii (UA)" userId="4e4b8b3d-5f31-49bb-9f80-8a25c04abfff" providerId="ADAL" clId="{EE97D3FE-9ACA-4467-98E5-532EC45D9D1C}" dt="2024-03-01T15:17:15.206" v="16978" actId="14100"/>
          <ac:spMkLst>
            <pc:docMk/>
            <pc:sldMk cId="64855802" sldId="916"/>
            <ac:spMk id="49" creationId="{1D2FF4CB-94E6-2366-A7D2-CA1C854C04A2}"/>
          </ac:spMkLst>
        </pc:spChg>
        <pc:spChg chg="add mod ord topLvl">
          <ac:chgData name="Nataliia Chornii (UA)" userId="4e4b8b3d-5f31-49bb-9f80-8a25c04abfff" providerId="ADAL" clId="{EE97D3FE-9ACA-4467-98E5-532EC45D9D1C}" dt="2024-03-01T15:15:43.316" v="16964" actId="165"/>
          <ac:spMkLst>
            <pc:docMk/>
            <pc:sldMk cId="64855802" sldId="916"/>
            <ac:spMk id="57" creationId="{35163424-634C-D958-12E3-B664D6A7060F}"/>
          </ac:spMkLst>
        </pc:spChg>
        <pc:spChg chg="add mod ord topLvl">
          <ac:chgData name="Nataliia Chornii (UA)" userId="4e4b8b3d-5f31-49bb-9f80-8a25c04abfff" providerId="ADAL" clId="{EE97D3FE-9ACA-4467-98E5-532EC45D9D1C}" dt="2024-03-01T15:15:43.316" v="16964" actId="165"/>
          <ac:spMkLst>
            <pc:docMk/>
            <pc:sldMk cId="64855802" sldId="916"/>
            <ac:spMk id="59" creationId="{240305AB-D314-184B-8241-309CAA3C49C9}"/>
          </ac:spMkLst>
        </pc:spChg>
        <pc:spChg chg="add mod ord topLvl">
          <ac:chgData name="Nataliia Chornii (UA)" userId="4e4b8b3d-5f31-49bb-9f80-8a25c04abfff" providerId="ADAL" clId="{EE97D3FE-9ACA-4467-98E5-532EC45D9D1C}" dt="2024-03-01T15:15:43.316" v="16964" actId="165"/>
          <ac:spMkLst>
            <pc:docMk/>
            <pc:sldMk cId="64855802" sldId="916"/>
            <ac:spMk id="60" creationId="{39B1999B-DA2B-AEF1-F527-5B55E3A4F6D3}"/>
          </ac:spMkLst>
        </pc:spChg>
        <pc:spChg chg="add mod ord topLvl">
          <ac:chgData name="Nataliia Chornii (UA)" userId="4e4b8b3d-5f31-49bb-9f80-8a25c04abfff" providerId="ADAL" clId="{EE97D3FE-9ACA-4467-98E5-532EC45D9D1C}" dt="2024-03-01T15:15:43.316" v="16964" actId="165"/>
          <ac:spMkLst>
            <pc:docMk/>
            <pc:sldMk cId="64855802" sldId="916"/>
            <ac:spMk id="61" creationId="{C89C6CFF-F3F8-4409-558D-AB15D4B22B52}"/>
          </ac:spMkLst>
        </pc:spChg>
        <pc:spChg chg="add mod ord topLvl">
          <ac:chgData name="Nataliia Chornii (UA)" userId="4e4b8b3d-5f31-49bb-9f80-8a25c04abfff" providerId="ADAL" clId="{EE97D3FE-9ACA-4467-98E5-532EC45D9D1C}" dt="2024-03-01T15:15:43.316" v="16964" actId="165"/>
          <ac:spMkLst>
            <pc:docMk/>
            <pc:sldMk cId="64855802" sldId="916"/>
            <ac:spMk id="62" creationId="{D6533196-5085-05A8-2364-DAC27889663F}"/>
          </ac:spMkLst>
        </pc:spChg>
        <pc:spChg chg="add mod ord topLvl">
          <ac:chgData name="Nataliia Chornii (UA)" userId="4e4b8b3d-5f31-49bb-9f80-8a25c04abfff" providerId="ADAL" clId="{EE97D3FE-9ACA-4467-98E5-532EC45D9D1C}" dt="2024-03-01T15:15:43.316" v="16964" actId="165"/>
          <ac:spMkLst>
            <pc:docMk/>
            <pc:sldMk cId="64855802" sldId="916"/>
            <ac:spMk id="63" creationId="{B0F6447E-D4BB-398C-BA99-969BA786C7C5}"/>
          </ac:spMkLst>
        </pc:spChg>
        <pc:spChg chg="add mod ord topLvl">
          <ac:chgData name="Nataliia Chornii (UA)" userId="4e4b8b3d-5f31-49bb-9f80-8a25c04abfff" providerId="ADAL" clId="{EE97D3FE-9ACA-4467-98E5-532EC45D9D1C}" dt="2024-03-01T15:15:43.316" v="16964" actId="165"/>
          <ac:spMkLst>
            <pc:docMk/>
            <pc:sldMk cId="64855802" sldId="916"/>
            <ac:spMk id="64" creationId="{84B6B728-C388-AF06-A34F-8B985415F504}"/>
          </ac:spMkLst>
        </pc:spChg>
        <pc:spChg chg="add mod ord topLvl">
          <ac:chgData name="Nataliia Chornii (UA)" userId="4e4b8b3d-5f31-49bb-9f80-8a25c04abfff" providerId="ADAL" clId="{EE97D3FE-9ACA-4467-98E5-532EC45D9D1C}" dt="2024-03-01T15:15:43.316" v="16964" actId="165"/>
          <ac:spMkLst>
            <pc:docMk/>
            <pc:sldMk cId="64855802" sldId="916"/>
            <ac:spMk id="65" creationId="{DE4C2663-EB37-60FA-2D68-70149F921862}"/>
          </ac:spMkLst>
        </pc:spChg>
        <pc:spChg chg="add mod ord topLvl">
          <ac:chgData name="Nataliia Chornii (UA)" userId="4e4b8b3d-5f31-49bb-9f80-8a25c04abfff" providerId="ADAL" clId="{EE97D3FE-9ACA-4467-98E5-532EC45D9D1C}" dt="2024-03-01T15:15:43.316" v="16964" actId="165"/>
          <ac:spMkLst>
            <pc:docMk/>
            <pc:sldMk cId="64855802" sldId="916"/>
            <ac:spMk id="66" creationId="{889CCFBC-A6F2-A8F7-79F0-D31DB6126C09}"/>
          </ac:spMkLst>
        </pc:spChg>
        <pc:spChg chg="add mod ord topLvl">
          <ac:chgData name="Nataliia Chornii (UA)" userId="4e4b8b3d-5f31-49bb-9f80-8a25c04abfff" providerId="ADAL" clId="{EE97D3FE-9ACA-4467-98E5-532EC45D9D1C}" dt="2024-03-01T15:15:43.316" v="16964" actId="165"/>
          <ac:spMkLst>
            <pc:docMk/>
            <pc:sldMk cId="64855802" sldId="916"/>
            <ac:spMk id="67" creationId="{694D06CB-4FD9-F8F4-87A6-52624FE80486}"/>
          </ac:spMkLst>
        </pc:spChg>
        <pc:spChg chg="add mod ord topLvl">
          <ac:chgData name="Nataliia Chornii (UA)" userId="4e4b8b3d-5f31-49bb-9f80-8a25c04abfff" providerId="ADAL" clId="{EE97D3FE-9ACA-4467-98E5-532EC45D9D1C}" dt="2024-03-01T15:15:43.316" v="16964" actId="165"/>
          <ac:spMkLst>
            <pc:docMk/>
            <pc:sldMk cId="64855802" sldId="916"/>
            <ac:spMk id="68" creationId="{F301D25A-DA36-DB7B-23E6-238516D081C8}"/>
          </ac:spMkLst>
        </pc:spChg>
        <pc:spChg chg="add mod ord topLvl">
          <ac:chgData name="Nataliia Chornii (UA)" userId="4e4b8b3d-5f31-49bb-9f80-8a25c04abfff" providerId="ADAL" clId="{EE97D3FE-9ACA-4467-98E5-532EC45D9D1C}" dt="2024-03-01T15:17:15.206" v="16978" actId="14100"/>
          <ac:spMkLst>
            <pc:docMk/>
            <pc:sldMk cId="64855802" sldId="916"/>
            <ac:spMk id="70" creationId="{715CB4D8-B109-4E3E-BFCE-C99080E076DC}"/>
          </ac:spMkLst>
        </pc:spChg>
        <pc:spChg chg="add mod ord">
          <ac:chgData name="Nataliia Chornii (UA)" userId="4e4b8b3d-5f31-49bb-9f80-8a25c04abfff" providerId="ADAL" clId="{EE97D3FE-9ACA-4467-98E5-532EC45D9D1C}" dt="2024-03-01T15:15:42.682" v="16963" actId="552"/>
          <ac:spMkLst>
            <pc:docMk/>
            <pc:sldMk cId="64855802" sldId="916"/>
            <ac:spMk id="71" creationId="{D177213A-A08F-109F-C321-81C74500428F}"/>
          </ac:spMkLst>
        </pc:spChg>
        <pc:spChg chg="add mod ord">
          <ac:chgData name="Nataliia Chornii (UA)" userId="4e4b8b3d-5f31-49bb-9f80-8a25c04abfff" providerId="ADAL" clId="{EE97D3FE-9ACA-4467-98E5-532EC45D9D1C}" dt="2024-03-01T15:15:27.074" v="16958" actId="164"/>
          <ac:spMkLst>
            <pc:docMk/>
            <pc:sldMk cId="64855802" sldId="916"/>
            <ac:spMk id="72" creationId="{97B86F27-97BF-A053-40CF-13B6F7A90C0B}"/>
          </ac:spMkLst>
        </pc:spChg>
        <pc:spChg chg="add mod ord">
          <ac:chgData name="Nataliia Chornii (UA)" userId="4e4b8b3d-5f31-49bb-9f80-8a25c04abfff" providerId="ADAL" clId="{EE97D3FE-9ACA-4467-98E5-532EC45D9D1C}" dt="2024-03-01T15:15:27.074" v="16958" actId="164"/>
          <ac:spMkLst>
            <pc:docMk/>
            <pc:sldMk cId="64855802" sldId="916"/>
            <ac:spMk id="73" creationId="{097C697C-20DC-498D-E06D-AE4A61FACDF5}"/>
          </ac:spMkLst>
        </pc:spChg>
        <pc:spChg chg="add mod ord">
          <ac:chgData name="Nataliia Chornii (UA)" userId="4e4b8b3d-5f31-49bb-9f80-8a25c04abfff" providerId="ADAL" clId="{EE97D3FE-9ACA-4467-98E5-532EC45D9D1C}" dt="2024-03-01T15:15:27.074" v="16958" actId="164"/>
          <ac:spMkLst>
            <pc:docMk/>
            <pc:sldMk cId="64855802" sldId="916"/>
            <ac:spMk id="74" creationId="{604C031C-FBD8-99DD-C008-0B6D6174CE10}"/>
          </ac:spMkLst>
        </pc:spChg>
        <pc:spChg chg="add del mod ord">
          <ac:chgData name="Nataliia Chornii (UA)" userId="4e4b8b3d-5f31-49bb-9f80-8a25c04abfff" providerId="ADAL" clId="{EE97D3FE-9ACA-4467-98E5-532EC45D9D1C}" dt="2024-03-01T15:17:11.723" v="16977" actId="478"/>
          <ac:spMkLst>
            <pc:docMk/>
            <pc:sldMk cId="64855802" sldId="916"/>
            <ac:spMk id="75" creationId="{079D48FE-D738-0D17-A7A4-425DF42BCF35}"/>
          </ac:spMkLst>
        </pc:spChg>
        <pc:spChg chg="add mod">
          <ac:chgData name="Nataliia Chornii (UA)" userId="4e4b8b3d-5f31-49bb-9f80-8a25c04abfff" providerId="ADAL" clId="{EE97D3FE-9ACA-4467-98E5-532EC45D9D1C}" dt="2024-03-01T15:15:00.589" v="16923" actId="553"/>
          <ac:spMkLst>
            <pc:docMk/>
            <pc:sldMk cId="64855802" sldId="916"/>
            <ac:spMk id="76" creationId="{749FF834-8FDC-D7F2-E12F-D667F2758F1D}"/>
          </ac:spMkLst>
        </pc:spChg>
        <pc:spChg chg="add mod topLvl">
          <ac:chgData name="Nataliia Chornii (UA)" userId="4e4b8b3d-5f31-49bb-9f80-8a25c04abfff" providerId="ADAL" clId="{EE97D3FE-9ACA-4467-98E5-532EC45D9D1C}" dt="2024-03-04T10:00:13.508" v="20228" actId="12788"/>
          <ac:spMkLst>
            <pc:docMk/>
            <pc:sldMk cId="64855802" sldId="916"/>
            <ac:spMk id="77" creationId="{500B9E5D-04F9-8EC8-DB30-15926D654D38}"/>
          </ac:spMkLst>
        </pc:spChg>
        <pc:spChg chg="add mod topLvl">
          <ac:chgData name="Nataliia Chornii (UA)" userId="4e4b8b3d-5f31-49bb-9f80-8a25c04abfff" providerId="ADAL" clId="{EE97D3FE-9ACA-4467-98E5-532EC45D9D1C}" dt="2024-03-01T15:15:01.175" v="16924" actId="165"/>
          <ac:spMkLst>
            <pc:docMk/>
            <pc:sldMk cId="64855802" sldId="916"/>
            <ac:spMk id="78" creationId="{67F23E57-E858-E4CF-4200-B52A6C07C68B}"/>
          </ac:spMkLst>
        </pc:spChg>
        <pc:spChg chg="add mod">
          <ac:chgData name="Nataliia Chornii (UA)" userId="4e4b8b3d-5f31-49bb-9f80-8a25c04abfff" providerId="ADAL" clId="{EE97D3FE-9ACA-4467-98E5-532EC45D9D1C}" dt="2024-03-01T15:14:53.562" v="16920" actId="14100"/>
          <ac:spMkLst>
            <pc:docMk/>
            <pc:sldMk cId="64855802" sldId="916"/>
            <ac:spMk id="88" creationId="{FAE4F479-75A7-AEA5-4879-7B116D34F1DF}"/>
          </ac:spMkLst>
        </pc:spChg>
        <pc:spChg chg="add del mod modVis">
          <ac:chgData name="Nataliia Chornii (UA)" userId="4e4b8b3d-5f31-49bb-9f80-8a25c04abfff" providerId="ADAL" clId="{EE97D3FE-9ACA-4467-98E5-532EC45D9D1C}" dt="2024-03-01T15:15:05.985" v="16950"/>
          <ac:spMkLst>
            <pc:docMk/>
            <pc:sldMk cId="64855802" sldId="916"/>
            <ac:spMk id="92" creationId="{A1C36D98-18DC-4C7A-2D2A-021B6ADCC9A1}"/>
          </ac:spMkLst>
        </pc:spChg>
        <pc:spChg chg="add del mod">
          <ac:chgData name="Nataliia Chornii (UA)" userId="4e4b8b3d-5f31-49bb-9f80-8a25c04abfff" providerId="ADAL" clId="{EE97D3FE-9ACA-4467-98E5-532EC45D9D1C}" dt="2024-03-01T15:15:36.196" v="16961" actId="478"/>
          <ac:spMkLst>
            <pc:docMk/>
            <pc:sldMk cId="64855802" sldId="916"/>
            <ac:spMk id="93" creationId="{BB7851A2-078D-3B3D-5E73-70BD1E6889C0}"/>
          </ac:spMkLst>
        </pc:spChg>
        <pc:spChg chg="add del mod">
          <ac:chgData name="Nataliia Chornii (UA)" userId="4e4b8b3d-5f31-49bb-9f80-8a25c04abfff" providerId="ADAL" clId="{EE97D3FE-9ACA-4467-98E5-532EC45D9D1C}" dt="2024-03-01T15:15:36.196" v="16961" actId="478"/>
          <ac:spMkLst>
            <pc:docMk/>
            <pc:sldMk cId="64855802" sldId="916"/>
            <ac:spMk id="94" creationId="{5220973F-0C71-CF2E-6DCD-B099022F2420}"/>
          </ac:spMkLst>
        </pc:spChg>
        <pc:spChg chg="add del mod modVis">
          <ac:chgData name="Nataliia Chornii (UA)" userId="4e4b8b3d-5f31-49bb-9f80-8a25c04abfff" providerId="ADAL" clId="{EE97D3FE-9ACA-4467-98E5-532EC45D9D1C}" dt="2024-03-01T15:19:27.316" v="17037" actId="962"/>
          <ac:spMkLst>
            <pc:docMk/>
            <pc:sldMk cId="64855802" sldId="916"/>
            <ac:spMk id="113" creationId="{21C5F4B4-BF09-49DE-648F-70490D52734C}"/>
          </ac:spMkLst>
        </pc:spChg>
        <pc:spChg chg="add del mod">
          <ac:chgData name="Nataliia Chornii (UA)" userId="4e4b8b3d-5f31-49bb-9f80-8a25c04abfff" providerId="ADAL" clId="{EE97D3FE-9ACA-4467-98E5-532EC45D9D1C}" dt="2024-03-11T14:29:42.758" v="24239" actId="478"/>
          <ac:spMkLst>
            <pc:docMk/>
            <pc:sldMk cId="64855802" sldId="916"/>
            <ac:spMk id="114" creationId="{8FD2B430-BC9C-4743-24E0-E9DBFBF0D83C}"/>
          </ac:spMkLst>
        </pc:spChg>
        <pc:spChg chg="add del mod modVis">
          <ac:chgData name="Nataliia Chornii (UA)" userId="4e4b8b3d-5f31-49bb-9f80-8a25c04abfff" providerId="ADAL" clId="{EE97D3FE-9ACA-4467-98E5-532EC45D9D1C}" dt="2024-03-01T15:23:27.765" v="17167"/>
          <ac:spMkLst>
            <pc:docMk/>
            <pc:sldMk cId="64855802" sldId="916"/>
            <ac:spMk id="115" creationId="{C8F0FECA-501D-4A4D-F4C1-AAD17591F030}"/>
          </ac:spMkLst>
        </pc:spChg>
        <pc:grpChg chg="add mod">
          <ac:chgData name="Nataliia Chornii (UA)" userId="4e4b8b3d-5f31-49bb-9f80-8a25c04abfff" providerId="ADAL" clId="{EE97D3FE-9ACA-4467-98E5-532EC45D9D1C}" dt="2024-03-04T10:00:13.508" v="20228" actId="12788"/>
          <ac:grpSpMkLst>
            <pc:docMk/>
            <pc:sldMk cId="64855802" sldId="916"/>
            <ac:grpSpMk id="2" creationId="{05FA1246-3867-2443-FF59-A381162CA3D4}"/>
          </ac:grpSpMkLst>
        </pc:grpChg>
        <pc:grpChg chg="add del mod">
          <ac:chgData name="Nataliia Chornii (UA)" userId="4e4b8b3d-5f31-49bb-9f80-8a25c04abfff" providerId="ADAL" clId="{EE97D3FE-9ACA-4467-98E5-532EC45D9D1C}" dt="2024-03-01T15:13:23.341" v="16885" actId="165"/>
          <ac:grpSpMkLst>
            <pc:docMk/>
            <pc:sldMk cId="64855802" sldId="916"/>
            <ac:grpSpMk id="79" creationId="{0825EA95-F077-E1FD-251B-108E940FE651}"/>
          </ac:grpSpMkLst>
        </pc:grpChg>
        <pc:grpChg chg="add del mod">
          <ac:chgData name="Nataliia Chornii (UA)" userId="4e4b8b3d-5f31-49bb-9f80-8a25c04abfff" providerId="ADAL" clId="{EE97D3FE-9ACA-4467-98E5-532EC45D9D1C}" dt="2024-03-01T15:15:01.175" v="16924" actId="165"/>
          <ac:grpSpMkLst>
            <pc:docMk/>
            <pc:sldMk cId="64855802" sldId="916"/>
            <ac:grpSpMk id="91" creationId="{6DAC6435-D26B-2761-7787-0E833DB2232D}"/>
          </ac:grpSpMkLst>
        </pc:grpChg>
        <pc:grpChg chg="add mod">
          <ac:chgData name="Nataliia Chornii (UA)" userId="4e4b8b3d-5f31-49bb-9f80-8a25c04abfff" providerId="ADAL" clId="{EE97D3FE-9ACA-4467-98E5-532EC45D9D1C}" dt="2024-03-01T15:15:28.907" v="16959" actId="553"/>
          <ac:grpSpMkLst>
            <pc:docMk/>
            <pc:sldMk cId="64855802" sldId="916"/>
            <ac:grpSpMk id="95" creationId="{E56160CB-407D-C18B-F89E-976411FAF04D}"/>
          </ac:grpSpMkLst>
        </pc:grpChg>
        <pc:grpChg chg="add del mod">
          <ac:chgData name="Nataliia Chornii (UA)" userId="4e4b8b3d-5f31-49bb-9f80-8a25c04abfff" providerId="ADAL" clId="{EE97D3FE-9ACA-4467-98E5-532EC45D9D1C}" dt="2024-03-01T15:15:43.316" v="16964" actId="165"/>
          <ac:grpSpMkLst>
            <pc:docMk/>
            <pc:sldMk cId="64855802" sldId="916"/>
            <ac:grpSpMk id="96" creationId="{D642A83D-9EF0-F521-9D07-BEC9429971B1}"/>
          </ac:grpSpMkLst>
        </pc:grpChg>
        <pc:graphicFrameChg chg="add mod ord modVis replST">
          <ac:chgData name="Nataliia Chornii (UA)" userId="4e4b8b3d-5f31-49bb-9f80-8a25c04abfff" providerId="ADAL" clId="{EE97D3FE-9ACA-4467-98E5-532EC45D9D1C}" dt="2024-03-01T15:23:27.770" v="17169"/>
          <ac:graphicFrameMkLst>
            <pc:docMk/>
            <pc:sldMk cId="64855802" sldId="916"/>
            <ac:graphicFrameMk id="12" creationId="{FA433BE6-1CEA-AB6A-7754-67F567E06375}"/>
          </ac:graphicFrameMkLst>
        </pc:graphicFrameChg>
        <pc:picChg chg="add del mod ord modCrop">
          <ac:chgData name="Nataliia Chornii (UA)" userId="4e4b8b3d-5f31-49bb-9f80-8a25c04abfff" providerId="ADAL" clId="{EE97D3FE-9ACA-4467-98E5-532EC45D9D1C}" dt="2024-03-01T15:16:55.445" v="16976" actId="478"/>
          <ac:picMkLst>
            <pc:docMk/>
            <pc:sldMk cId="64855802" sldId="916"/>
            <ac:picMk id="33" creationId="{B9AF62BD-ABB9-97DA-1C92-46403DF86335}"/>
          </ac:picMkLst>
        </pc:picChg>
        <pc:picChg chg="add del">
          <ac:chgData name="Nataliia Chornii (UA)" userId="4e4b8b3d-5f31-49bb-9f80-8a25c04abfff" providerId="ADAL" clId="{EE97D3FE-9ACA-4467-98E5-532EC45D9D1C}" dt="2024-03-01T15:14:28.550" v="16903" actId="22"/>
          <ac:picMkLst>
            <pc:docMk/>
            <pc:sldMk cId="64855802" sldId="916"/>
            <ac:picMk id="90" creationId="{9439D098-42AE-727B-6A43-AE2973452CA1}"/>
          </ac:picMkLst>
        </pc:picChg>
        <pc:cxnChg chg="add mod ord topLvl">
          <ac:chgData name="Nataliia Chornii (UA)" userId="4e4b8b3d-5f31-49bb-9f80-8a25c04abfff" providerId="ADAL" clId="{EE97D3FE-9ACA-4467-98E5-532EC45D9D1C}" dt="2024-03-01T15:17:15.206" v="16978" actId="14100"/>
          <ac:cxnSpMkLst>
            <pc:docMk/>
            <pc:sldMk cId="64855802" sldId="916"/>
            <ac:cxnSpMk id="50" creationId="{17653C16-CA97-6000-D7DD-7E037FD85C05}"/>
          </ac:cxnSpMkLst>
        </pc:cxnChg>
        <pc:cxnChg chg="add mod ord topLvl">
          <ac:chgData name="Nataliia Chornii (UA)" userId="4e4b8b3d-5f31-49bb-9f80-8a25c04abfff" providerId="ADAL" clId="{EE97D3FE-9ACA-4467-98E5-532EC45D9D1C}" dt="2024-03-01T15:17:15.206" v="16978" actId="14100"/>
          <ac:cxnSpMkLst>
            <pc:docMk/>
            <pc:sldMk cId="64855802" sldId="916"/>
            <ac:cxnSpMk id="51" creationId="{537A688A-62B8-6587-C298-654E7B6FDBF3}"/>
          </ac:cxnSpMkLst>
        </pc:cxnChg>
        <pc:cxnChg chg="add mod ord topLvl">
          <ac:chgData name="Nataliia Chornii (UA)" userId="4e4b8b3d-5f31-49bb-9f80-8a25c04abfff" providerId="ADAL" clId="{EE97D3FE-9ACA-4467-98E5-532EC45D9D1C}" dt="2024-03-01T15:17:15.206" v="16978" actId="14100"/>
          <ac:cxnSpMkLst>
            <pc:docMk/>
            <pc:sldMk cId="64855802" sldId="916"/>
            <ac:cxnSpMk id="52" creationId="{F4C3403E-2696-D97B-0B87-BE29207A69F6}"/>
          </ac:cxnSpMkLst>
        </pc:cxnChg>
        <pc:cxnChg chg="add mod ord topLvl">
          <ac:chgData name="Nataliia Chornii (UA)" userId="4e4b8b3d-5f31-49bb-9f80-8a25c04abfff" providerId="ADAL" clId="{EE97D3FE-9ACA-4467-98E5-532EC45D9D1C}" dt="2024-03-01T15:17:15.206" v="16978" actId="14100"/>
          <ac:cxnSpMkLst>
            <pc:docMk/>
            <pc:sldMk cId="64855802" sldId="916"/>
            <ac:cxnSpMk id="53" creationId="{FD46ACCE-2596-0F71-8814-2633D9B4F1BE}"/>
          </ac:cxnSpMkLst>
        </pc:cxnChg>
        <pc:cxnChg chg="add mod ord topLvl">
          <ac:chgData name="Nataliia Chornii (UA)" userId="4e4b8b3d-5f31-49bb-9f80-8a25c04abfff" providerId="ADAL" clId="{EE97D3FE-9ACA-4467-98E5-532EC45D9D1C}" dt="2024-03-01T15:17:15.206" v="16978" actId="14100"/>
          <ac:cxnSpMkLst>
            <pc:docMk/>
            <pc:sldMk cId="64855802" sldId="916"/>
            <ac:cxnSpMk id="54" creationId="{AC8294AA-CBC2-5CBD-9450-3317CF937180}"/>
          </ac:cxnSpMkLst>
        </pc:cxnChg>
        <pc:cxnChg chg="add mod ord topLvl">
          <ac:chgData name="Nataliia Chornii (UA)" userId="4e4b8b3d-5f31-49bb-9f80-8a25c04abfff" providerId="ADAL" clId="{EE97D3FE-9ACA-4467-98E5-532EC45D9D1C}" dt="2024-03-01T15:17:15.206" v="16978" actId="14100"/>
          <ac:cxnSpMkLst>
            <pc:docMk/>
            <pc:sldMk cId="64855802" sldId="916"/>
            <ac:cxnSpMk id="55" creationId="{9A3968C7-859E-E0DE-F046-98C0A6D07AE5}"/>
          </ac:cxnSpMkLst>
        </pc:cxnChg>
        <pc:cxnChg chg="add mod ord topLvl">
          <ac:chgData name="Nataliia Chornii (UA)" userId="4e4b8b3d-5f31-49bb-9f80-8a25c04abfff" providerId="ADAL" clId="{EE97D3FE-9ACA-4467-98E5-532EC45D9D1C}" dt="2024-03-01T15:17:15.206" v="16978" actId="14100"/>
          <ac:cxnSpMkLst>
            <pc:docMk/>
            <pc:sldMk cId="64855802" sldId="916"/>
            <ac:cxnSpMk id="56" creationId="{7964D58B-981E-A694-5D12-09F59079F6DE}"/>
          </ac:cxnSpMkLst>
        </pc:cxnChg>
        <pc:cxnChg chg="add mod ord topLvl">
          <ac:chgData name="Nataliia Chornii (UA)" userId="4e4b8b3d-5f31-49bb-9f80-8a25c04abfff" providerId="ADAL" clId="{EE97D3FE-9ACA-4467-98E5-532EC45D9D1C}" dt="2024-03-01T15:15:43.316" v="16964" actId="165"/>
          <ac:cxnSpMkLst>
            <pc:docMk/>
            <pc:sldMk cId="64855802" sldId="916"/>
            <ac:cxnSpMk id="58" creationId="{2198E519-68F7-63B8-1155-0724B785D3FE}"/>
          </ac:cxnSpMkLst>
        </pc:cxnChg>
        <pc:cxnChg chg="add mod ord topLvl">
          <ac:chgData name="Nataliia Chornii (UA)" userId="4e4b8b3d-5f31-49bb-9f80-8a25c04abfff" providerId="ADAL" clId="{EE97D3FE-9ACA-4467-98E5-532EC45D9D1C}" dt="2024-03-01T15:17:15.206" v="16978" actId="14100"/>
          <ac:cxnSpMkLst>
            <pc:docMk/>
            <pc:sldMk cId="64855802" sldId="916"/>
            <ac:cxnSpMk id="69" creationId="{822E8826-40ED-42E9-6EB5-CAEA9A5D9E75}"/>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2:38.580" v="22438"/>
              <pc2:cmMkLst xmlns:pc2="http://schemas.microsoft.com/office/powerpoint/2019/9/main/command">
                <pc:docMk/>
                <pc:sldMk cId="64855802" sldId="916"/>
                <pc2:cmMk id="{E19E04FF-80D3-4B5A-AF99-4359BE452283}"/>
              </pc2:cmMkLst>
            </pc226:cmChg>
          </p:ext>
        </pc:extLst>
      </pc:sldChg>
      <pc:sldChg chg="addSp delSp modSp mod modClrScheme chgLayout">
        <pc:chgData name="Nataliia Chornii (UA)" userId="4e4b8b3d-5f31-49bb-9f80-8a25c04abfff" providerId="ADAL" clId="{EE97D3FE-9ACA-4467-98E5-532EC45D9D1C}" dt="2024-03-11T14:29:50.016" v="24243"/>
        <pc:sldMkLst>
          <pc:docMk/>
          <pc:sldMk cId="4273639525" sldId="917"/>
        </pc:sldMkLst>
        <pc:spChg chg="add del mod modVis">
          <ac:chgData name="Nataliia Chornii (UA)" userId="4e4b8b3d-5f31-49bb-9f80-8a25c04abfff" providerId="ADAL" clId="{EE97D3FE-9ACA-4467-98E5-532EC45D9D1C}" dt="2024-03-04T08:45:50.670" v="17564" actId="962"/>
          <ac:spMkLst>
            <pc:docMk/>
            <pc:sldMk cId="4273639525" sldId="917"/>
            <ac:spMk id="2" creationId="{53DB6974-9318-8799-8036-40BB639A478F}"/>
          </ac:spMkLst>
        </pc:spChg>
        <pc:spChg chg="add del mod modVis">
          <ac:chgData name="Nataliia Chornii (UA)" userId="4e4b8b3d-5f31-49bb-9f80-8a25c04abfff" providerId="ADAL" clId="{EE97D3FE-9ACA-4467-98E5-532EC45D9D1C}" dt="2024-03-01T08:48:59.770" v="1510"/>
          <ac:spMkLst>
            <pc:docMk/>
            <pc:sldMk cId="4273639525" sldId="917"/>
            <ac:spMk id="2" creationId="{BBE1171B-4CCE-9305-B3F6-E7880E6AD5C6}"/>
          </ac:spMkLst>
        </pc:spChg>
        <pc:spChg chg="add mod">
          <ac:chgData name="Nataliia Chornii (UA)" userId="4e4b8b3d-5f31-49bb-9f80-8a25c04abfff" providerId="ADAL" clId="{EE97D3FE-9ACA-4467-98E5-532EC45D9D1C}" dt="2024-03-11T14:26:07.744" v="24087"/>
          <ac:spMkLst>
            <pc:docMk/>
            <pc:sldMk cId="4273639525" sldId="917"/>
            <ac:spMk id="2" creationId="{D7DBFC3E-020C-9EFD-28EB-4631D3580F32}"/>
          </ac:spMkLst>
        </pc:spChg>
        <pc:spChg chg="mod ord">
          <ac:chgData name="Nataliia Chornii (UA)" userId="4e4b8b3d-5f31-49bb-9f80-8a25c04abfff" providerId="ADAL" clId="{EE97D3FE-9ACA-4467-98E5-532EC45D9D1C}" dt="2024-03-04T08:45:50.670" v="17566" actId="1076"/>
          <ac:spMkLst>
            <pc:docMk/>
            <pc:sldMk cId="4273639525" sldId="917"/>
            <ac:spMk id="3" creationId="{F4CCF02E-F3C4-C376-8F56-61BD85A2E74B}"/>
          </ac:spMkLst>
        </pc:spChg>
        <pc:spChg chg="mod ord">
          <ac:chgData name="Nataliia Chornii (UA)" userId="4e4b8b3d-5f31-49bb-9f80-8a25c04abfff" providerId="ADAL" clId="{EE97D3FE-9ACA-4467-98E5-532EC45D9D1C}" dt="2024-03-01T15:25:09.264" v="17172" actId="700"/>
          <ac:spMkLst>
            <pc:docMk/>
            <pc:sldMk cId="4273639525" sldId="917"/>
            <ac:spMk id="4" creationId="{872966CD-924A-B939-E655-A6BAF817DCBF}"/>
          </ac:spMkLst>
        </pc:spChg>
        <pc:spChg chg="del">
          <ac:chgData name="Nataliia Chornii (UA)" userId="4e4b8b3d-5f31-49bb-9f80-8a25c04abfff" providerId="ADAL" clId="{EE97D3FE-9ACA-4467-98E5-532EC45D9D1C}" dt="2024-03-01T15:25:05.856" v="17171" actId="478"/>
          <ac:spMkLst>
            <pc:docMk/>
            <pc:sldMk cId="4273639525" sldId="917"/>
            <ac:spMk id="5" creationId="{FF11D90A-8D15-0E43-4C2E-D42257331C13}"/>
          </ac:spMkLst>
        </pc:spChg>
        <pc:spChg chg="del">
          <ac:chgData name="Nataliia Chornii (UA)" userId="4e4b8b3d-5f31-49bb-9f80-8a25c04abfff" providerId="ADAL" clId="{EE97D3FE-9ACA-4467-98E5-532EC45D9D1C}" dt="2024-03-01T15:25:05.856" v="17171" actId="478"/>
          <ac:spMkLst>
            <pc:docMk/>
            <pc:sldMk cId="4273639525" sldId="917"/>
            <ac:spMk id="6" creationId="{0F377277-EC46-FAC5-F379-194FCD82679C}"/>
          </ac:spMkLst>
        </pc:spChg>
        <pc:spChg chg="mod">
          <ac:chgData name="Nataliia Chornii (UA)" userId="4e4b8b3d-5f31-49bb-9f80-8a25c04abfff" providerId="ADAL" clId="{EE97D3FE-9ACA-4467-98E5-532EC45D9D1C}" dt="2024-03-11T14:26:07.744" v="24087"/>
          <ac:spMkLst>
            <pc:docMk/>
            <pc:sldMk cId="4273639525" sldId="917"/>
            <ac:spMk id="6" creationId="{33DB6A3D-5CD9-69A6-3462-7AA8615A7E9C}"/>
          </ac:spMkLst>
        </pc:spChg>
        <pc:spChg chg="del mod">
          <ac:chgData name="Nataliia Chornii (UA)" userId="4e4b8b3d-5f31-49bb-9f80-8a25c04abfff" providerId="ADAL" clId="{EE97D3FE-9ACA-4467-98E5-532EC45D9D1C}" dt="2024-03-04T08:45:48.584" v="17516" actId="478"/>
          <ac:spMkLst>
            <pc:docMk/>
            <pc:sldMk cId="4273639525" sldId="917"/>
            <ac:spMk id="7" creationId="{8E846963-540E-9336-DE83-B87EC3AB5727}"/>
          </ac:spMkLst>
        </pc:spChg>
        <pc:spChg chg="mod">
          <ac:chgData name="Nataliia Chornii (UA)" userId="4e4b8b3d-5f31-49bb-9f80-8a25c04abfff" providerId="ADAL" clId="{EE97D3FE-9ACA-4467-98E5-532EC45D9D1C}" dt="2024-03-11T14:26:07.744" v="24087"/>
          <ac:spMkLst>
            <pc:docMk/>
            <pc:sldMk cId="4273639525" sldId="917"/>
            <ac:spMk id="7" creationId="{960F59F2-A583-9F2A-D4FA-F21C162D948A}"/>
          </ac:spMkLst>
        </pc:spChg>
        <pc:spChg chg="del mod">
          <ac:chgData name="Nataliia Chornii (UA)" userId="4e4b8b3d-5f31-49bb-9f80-8a25c04abfff" providerId="ADAL" clId="{EE97D3FE-9ACA-4467-98E5-532EC45D9D1C}" dt="2024-03-01T15:26:22.152" v="17227" actId="478"/>
          <ac:spMkLst>
            <pc:docMk/>
            <pc:sldMk cId="4273639525" sldId="917"/>
            <ac:spMk id="8" creationId="{598AB23C-0BF9-85FE-4B7A-DC0CF1A85603}"/>
          </ac:spMkLst>
        </pc:spChg>
        <pc:spChg chg="mod">
          <ac:chgData name="Nataliia Chornii (UA)" userId="4e4b8b3d-5f31-49bb-9f80-8a25c04abfff" providerId="ADAL" clId="{EE97D3FE-9ACA-4467-98E5-532EC45D9D1C}" dt="2024-03-11T14:26:07.744" v="24087"/>
          <ac:spMkLst>
            <pc:docMk/>
            <pc:sldMk cId="4273639525" sldId="917"/>
            <ac:spMk id="8" creationId="{99104B9A-FDF2-49D1-30D0-6C0DDED27800}"/>
          </ac:spMkLst>
        </pc:spChg>
        <pc:spChg chg="mod">
          <ac:chgData name="Nataliia Chornii (UA)" userId="4e4b8b3d-5f31-49bb-9f80-8a25c04abfff" providerId="ADAL" clId="{EE97D3FE-9ACA-4467-98E5-532EC45D9D1C}" dt="2024-03-11T14:26:07.744" v="24087"/>
          <ac:spMkLst>
            <pc:docMk/>
            <pc:sldMk cId="4273639525" sldId="917"/>
            <ac:spMk id="10" creationId="{0EE67A76-1885-5E99-F124-323F37C406B3}"/>
          </ac:spMkLst>
        </pc:spChg>
        <pc:spChg chg="del">
          <ac:chgData name="Nataliia Chornii (UA)" userId="4e4b8b3d-5f31-49bb-9f80-8a25c04abfff" providerId="ADAL" clId="{EE97D3FE-9ACA-4467-98E5-532EC45D9D1C}" dt="2024-03-01T15:19:42.830" v="17048" actId="478"/>
          <ac:spMkLst>
            <pc:docMk/>
            <pc:sldMk cId="4273639525" sldId="917"/>
            <ac:spMk id="10" creationId="{489B7680-E5EE-2A50-7733-37F2F144B869}"/>
          </ac:spMkLst>
        </pc:spChg>
        <pc:spChg chg="del mod">
          <ac:chgData name="Nataliia Chornii (UA)" userId="4e4b8b3d-5f31-49bb-9f80-8a25c04abfff" providerId="ADAL" clId="{EE97D3FE-9ACA-4467-98E5-532EC45D9D1C}" dt="2024-03-01T15:25:26.460" v="17204" actId="478"/>
          <ac:spMkLst>
            <pc:docMk/>
            <pc:sldMk cId="4273639525" sldId="917"/>
            <ac:spMk id="11" creationId="{327B1A4B-6980-7B00-091C-6006703B82A0}"/>
          </ac:spMkLst>
        </pc:spChg>
        <pc:spChg chg="mod">
          <ac:chgData name="Nataliia Chornii (UA)" userId="4e4b8b3d-5f31-49bb-9f80-8a25c04abfff" providerId="ADAL" clId="{EE97D3FE-9ACA-4467-98E5-532EC45D9D1C}" dt="2024-03-11T14:26:07.744" v="24087"/>
          <ac:spMkLst>
            <pc:docMk/>
            <pc:sldMk cId="4273639525" sldId="917"/>
            <ac:spMk id="11" creationId="{7E307BE7-D7DC-5304-39AA-B01B3B34493C}"/>
          </ac:spMkLst>
        </pc:spChg>
        <pc:spChg chg="mod">
          <ac:chgData name="Nataliia Chornii (UA)" userId="4e4b8b3d-5f31-49bb-9f80-8a25c04abfff" providerId="ADAL" clId="{EE97D3FE-9ACA-4467-98E5-532EC45D9D1C}" dt="2024-03-11T14:26:07.744" v="24087"/>
          <ac:spMkLst>
            <pc:docMk/>
            <pc:sldMk cId="4273639525" sldId="917"/>
            <ac:spMk id="12" creationId="{885E99EE-25BC-E3F4-4FED-C79348C33BB1}"/>
          </ac:spMkLst>
        </pc:spChg>
        <pc:spChg chg="add del mod modVis">
          <ac:chgData name="Nataliia Chornii (UA)" userId="4e4b8b3d-5f31-49bb-9f80-8a25c04abfff" providerId="ADAL" clId="{EE97D3FE-9ACA-4467-98E5-532EC45D9D1C}" dt="2024-03-01T08:49:33.792" v="2850"/>
          <ac:spMkLst>
            <pc:docMk/>
            <pc:sldMk cId="4273639525" sldId="917"/>
            <ac:spMk id="12" creationId="{E78FEC1C-98EF-18AD-CAB7-E0B0398FF12E}"/>
          </ac:spMkLst>
        </pc:spChg>
        <pc:spChg chg="add del mod modVis">
          <ac:chgData name="Nataliia Chornii (UA)" userId="4e4b8b3d-5f31-49bb-9f80-8a25c04abfff" providerId="ADAL" clId="{EE97D3FE-9ACA-4467-98E5-532EC45D9D1C}" dt="2024-03-01T08:49:59.819" v="3838"/>
          <ac:spMkLst>
            <pc:docMk/>
            <pc:sldMk cId="4273639525" sldId="917"/>
            <ac:spMk id="13" creationId="{493BF9E3-0493-F8F8-6D61-4FE6C0CA48C9}"/>
          </ac:spMkLst>
        </pc:spChg>
        <pc:spChg chg="add mod">
          <ac:chgData name="Nataliia Chornii (UA)" userId="4e4b8b3d-5f31-49bb-9f80-8a25c04abfff" providerId="ADAL" clId="{EE97D3FE-9ACA-4467-98E5-532EC45D9D1C}" dt="2024-03-11T14:29:50.016" v="24243"/>
          <ac:spMkLst>
            <pc:docMk/>
            <pc:sldMk cId="4273639525" sldId="917"/>
            <ac:spMk id="13" creationId="{C81B52B7-F84D-1B15-1AE2-EF4ADAA752C8}"/>
          </ac:spMkLst>
        </pc:spChg>
        <pc:spChg chg="add del mod modVis">
          <ac:chgData name="Nataliia Chornii (UA)" userId="4e4b8b3d-5f31-49bb-9f80-8a25c04abfff" providerId="ADAL" clId="{EE97D3FE-9ACA-4467-98E5-532EC45D9D1C}" dt="2024-03-01T08:51:26.139" v="4826"/>
          <ac:spMkLst>
            <pc:docMk/>
            <pc:sldMk cId="4273639525" sldId="917"/>
            <ac:spMk id="14" creationId="{0FE34EBC-3372-0F84-9009-4F2F2AE0A0A5}"/>
          </ac:spMkLst>
        </pc:spChg>
        <pc:spChg chg="add del mod modVis">
          <ac:chgData name="Nataliia Chornii (UA)" userId="4e4b8b3d-5f31-49bb-9f80-8a25c04abfff" providerId="ADAL" clId="{EE97D3FE-9ACA-4467-98E5-532EC45D9D1C}" dt="2024-03-01T08:51:56.157" v="5815"/>
          <ac:spMkLst>
            <pc:docMk/>
            <pc:sldMk cId="4273639525" sldId="917"/>
            <ac:spMk id="15" creationId="{0B0C430F-8E17-5ED4-48FF-C87F96350656}"/>
          </ac:spMkLst>
        </pc:spChg>
        <pc:spChg chg="add del mod modVis">
          <ac:chgData name="Nataliia Chornii (UA)" userId="4e4b8b3d-5f31-49bb-9f80-8a25c04abfff" providerId="ADAL" clId="{EE97D3FE-9ACA-4467-98E5-532EC45D9D1C}" dt="2024-03-01T08:52:18.312" v="6803"/>
          <ac:spMkLst>
            <pc:docMk/>
            <pc:sldMk cId="4273639525" sldId="917"/>
            <ac:spMk id="16" creationId="{9458843A-C554-120F-86DC-CD7D49ED7090}"/>
          </ac:spMkLst>
        </pc:spChg>
        <pc:spChg chg="add del mod">
          <ac:chgData name="Nataliia Chornii (UA)" userId="4e4b8b3d-5f31-49bb-9f80-8a25c04abfff" providerId="ADAL" clId="{EE97D3FE-9ACA-4467-98E5-532EC45D9D1C}" dt="2024-03-11T14:29:49.670" v="24242" actId="478"/>
          <ac:spMkLst>
            <pc:docMk/>
            <pc:sldMk cId="4273639525" sldId="917"/>
            <ac:spMk id="17" creationId="{71229291-CDE2-2F53-B84C-B74BF2C3F4F0}"/>
          </ac:spMkLst>
        </pc:spChg>
        <pc:spChg chg="add del mod ord">
          <ac:chgData name="Nataliia Chornii (UA)" userId="4e4b8b3d-5f31-49bb-9f80-8a25c04abfff" providerId="ADAL" clId="{EE97D3FE-9ACA-4467-98E5-532EC45D9D1C}" dt="2024-03-01T15:25:11.206" v="17199" actId="478"/>
          <ac:spMkLst>
            <pc:docMk/>
            <pc:sldMk cId="4273639525" sldId="917"/>
            <ac:spMk id="18" creationId="{0EB2360A-0AAD-E5F2-C768-D20A8DB183AD}"/>
          </ac:spMkLst>
        </pc:spChg>
        <pc:spChg chg="add del mod modVis">
          <ac:chgData name="Nataliia Chornii (UA)" userId="4e4b8b3d-5f31-49bb-9f80-8a25c04abfff" providerId="ADAL" clId="{EE97D3FE-9ACA-4467-98E5-532EC45D9D1C}" dt="2024-03-01T15:25:09.817" v="17196"/>
          <ac:spMkLst>
            <pc:docMk/>
            <pc:sldMk cId="4273639525" sldId="917"/>
            <ac:spMk id="19" creationId="{50C84EDD-0ACA-623F-2F1E-57CBDD6074A5}"/>
          </ac:spMkLst>
        </pc:spChg>
        <pc:spChg chg="add mod">
          <ac:chgData name="Nataliia Chornii (UA)" userId="4e4b8b3d-5f31-49bb-9f80-8a25c04abfff" providerId="ADAL" clId="{EE97D3FE-9ACA-4467-98E5-532EC45D9D1C}" dt="2024-03-04T08:46:31.273" v="17577" actId="403"/>
          <ac:spMkLst>
            <pc:docMk/>
            <pc:sldMk cId="4273639525" sldId="917"/>
            <ac:spMk id="20" creationId="{71A7C7C0-2A0C-7790-FB11-2C935A397516}"/>
          </ac:spMkLst>
        </pc:spChg>
        <pc:spChg chg="add mod">
          <ac:chgData name="Nataliia Chornii (UA)" userId="4e4b8b3d-5f31-49bb-9f80-8a25c04abfff" providerId="ADAL" clId="{EE97D3FE-9ACA-4467-98E5-532EC45D9D1C}" dt="2024-03-04T08:46:23.350" v="17576" actId="14100"/>
          <ac:spMkLst>
            <pc:docMk/>
            <pc:sldMk cId="4273639525" sldId="917"/>
            <ac:spMk id="21" creationId="{2AE882DB-6A87-19F7-49D2-A2C7AF5D76FD}"/>
          </ac:spMkLst>
        </pc:spChg>
        <pc:spChg chg="add mod">
          <ac:chgData name="Nataliia Chornii (UA)" userId="4e4b8b3d-5f31-49bb-9f80-8a25c04abfff" providerId="ADAL" clId="{EE97D3FE-9ACA-4467-98E5-532EC45D9D1C}" dt="2024-03-01T15:25:17.896" v="17201"/>
          <ac:spMkLst>
            <pc:docMk/>
            <pc:sldMk cId="4273639525" sldId="917"/>
            <ac:spMk id="22" creationId="{D512C8CC-021C-3D02-627D-E9AFCCFA9CAF}"/>
          </ac:spMkLst>
        </pc:spChg>
        <pc:spChg chg="add mod">
          <ac:chgData name="Nataliia Chornii (UA)" userId="4e4b8b3d-5f31-49bb-9f80-8a25c04abfff" providerId="ADAL" clId="{EE97D3FE-9ACA-4467-98E5-532EC45D9D1C}" dt="2024-03-01T15:25:17.896" v="17201"/>
          <ac:spMkLst>
            <pc:docMk/>
            <pc:sldMk cId="4273639525" sldId="917"/>
            <ac:spMk id="23" creationId="{5365EF17-B219-A2D9-E9C0-8D98FAFA07D9}"/>
          </ac:spMkLst>
        </pc:spChg>
        <pc:spChg chg="add mod">
          <ac:chgData name="Nataliia Chornii (UA)" userId="4e4b8b3d-5f31-49bb-9f80-8a25c04abfff" providerId="ADAL" clId="{EE97D3FE-9ACA-4467-98E5-532EC45D9D1C}" dt="2024-03-01T15:25:17.896" v="17201"/>
          <ac:spMkLst>
            <pc:docMk/>
            <pc:sldMk cId="4273639525" sldId="917"/>
            <ac:spMk id="24" creationId="{EDAAB878-3F85-4CF2-D593-26F5C6B40D68}"/>
          </ac:spMkLst>
        </pc:spChg>
        <pc:spChg chg="add mod">
          <ac:chgData name="Nataliia Chornii (UA)" userId="4e4b8b3d-5f31-49bb-9f80-8a25c04abfff" providerId="ADAL" clId="{EE97D3FE-9ACA-4467-98E5-532EC45D9D1C}" dt="2024-03-04T08:46:19.411" v="17575" actId="14100"/>
          <ac:spMkLst>
            <pc:docMk/>
            <pc:sldMk cId="4273639525" sldId="917"/>
            <ac:spMk id="25" creationId="{F25DA104-C4AB-B1D2-2A0D-66C0FB817D87}"/>
          </ac:spMkLst>
        </pc:spChg>
        <pc:spChg chg="mod">
          <ac:chgData name="Nataliia Chornii (UA)" userId="4e4b8b3d-5f31-49bb-9f80-8a25c04abfff" providerId="ADAL" clId="{EE97D3FE-9ACA-4467-98E5-532EC45D9D1C}" dt="2024-03-01T15:25:17.896" v="17201"/>
          <ac:spMkLst>
            <pc:docMk/>
            <pc:sldMk cId="4273639525" sldId="917"/>
            <ac:spMk id="27" creationId="{92B45411-117E-3A9B-8D05-A274C276C732}"/>
          </ac:spMkLst>
        </pc:spChg>
        <pc:spChg chg="mod">
          <ac:chgData name="Nataliia Chornii (UA)" userId="4e4b8b3d-5f31-49bb-9f80-8a25c04abfff" providerId="ADAL" clId="{EE97D3FE-9ACA-4467-98E5-532EC45D9D1C}" dt="2024-03-01T15:25:17.896" v="17201"/>
          <ac:spMkLst>
            <pc:docMk/>
            <pc:sldMk cId="4273639525" sldId="917"/>
            <ac:spMk id="28" creationId="{118C0778-7C73-7259-A140-8702FEA7D408}"/>
          </ac:spMkLst>
        </pc:spChg>
        <pc:spChg chg="mod">
          <ac:chgData name="Nataliia Chornii (UA)" userId="4e4b8b3d-5f31-49bb-9f80-8a25c04abfff" providerId="ADAL" clId="{EE97D3FE-9ACA-4467-98E5-532EC45D9D1C}" dt="2024-03-01T15:25:17.896" v="17201"/>
          <ac:spMkLst>
            <pc:docMk/>
            <pc:sldMk cId="4273639525" sldId="917"/>
            <ac:spMk id="29" creationId="{D0BBF4F3-2759-9647-C8BA-1EDB4EBC21E7}"/>
          </ac:spMkLst>
        </pc:spChg>
        <pc:spChg chg="add del mod">
          <ac:chgData name="Nataliia Chornii (UA)" userId="4e4b8b3d-5f31-49bb-9f80-8a25c04abfff" providerId="ADAL" clId="{EE97D3FE-9ACA-4467-98E5-532EC45D9D1C}" dt="2024-03-04T08:45:48.584" v="17516" actId="478"/>
          <ac:spMkLst>
            <pc:docMk/>
            <pc:sldMk cId="4273639525" sldId="917"/>
            <ac:spMk id="30" creationId="{1241A2FB-D5DB-4ED5-43EB-C84FD589F83D}"/>
          </ac:spMkLst>
        </pc:spChg>
        <pc:spChg chg="add del mod">
          <ac:chgData name="Nataliia Chornii (UA)" userId="4e4b8b3d-5f31-49bb-9f80-8a25c04abfff" providerId="ADAL" clId="{EE97D3FE-9ACA-4467-98E5-532EC45D9D1C}" dt="2024-03-04T08:45:52.165" v="17569" actId="478"/>
          <ac:spMkLst>
            <pc:docMk/>
            <pc:sldMk cId="4273639525" sldId="917"/>
            <ac:spMk id="31" creationId="{3EA04E00-D54B-679A-DD99-E297F70FBD44}"/>
          </ac:spMkLst>
        </pc:spChg>
        <pc:spChg chg="add del mod">
          <ac:chgData name="Nataliia Chornii (UA)" userId="4e4b8b3d-5f31-49bb-9f80-8a25c04abfff" providerId="ADAL" clId="{EE97D3FE-9ACA-4467-98E5-532EC45D9D1C}" dt="2024-03-04T08:45:52.165" v="17569" actId="478"/>
          <ac:spMkLst>
            <pc:docMk/>
            <pc:sldMk cId="4273639525" sldId="917"/>
            <ac:spMk id="32" creationId="{4D4EF4F7-0FFE-5A8A-D320-85D88F159538}"/>
          </ac:spMkLst>
        </pc:spChg>
        <pc:spChg chg="add del mod">
          <ac:chgData name="Nataliia Chornii (UA)" userId="4e4b8b3d-5f31-49bb-9f80-8a25c04abfff" providerId="ADAL" clId="{EE97D3FE-9ACA-4467-98E5-532EC45D9D1C}" dt="2024-03-04T08:45:48.584" v="17516" actId="478"/>
          <ac:spMkLst>
            <pc:docMk/>
            <pc:sldMk cId="4273639525" sldId="917"/>
            <ac:spMk id="33" creationId="{6D65D625-9616-E792-21D0-514D748B10A7}"/>
          </ac:spMkLst>
        </pc:spChg>
        <pc:spChg chg="add mod">
          <ac:chgData name="Nataliia Chornii (UA)" userId="4e4b8b3d-5f31-49bb-9f80-8a25c04abfff" providerId="ADAL" clId="{EE97D3FE-9ACA-4467-98E5-532EC45D9D1C}" dt="2024-03-04T08:45:59.554" v="17570" actId="1076"/>
          <ac:spMkLst>
            <pc:docMk/>
            <pc:sldMk cId="4273639525" sldId="917"/>
            <ac:spMk id="34" creationId="{30F86F50-8DB0-02A8-CC78-51DDA84DE4AD}"/>
          </ac:spMkLst>
        </pc:spChg>
        <pc:spChg chg="add mod">
          <ac:chgData name="Nataliia Chornii (UA)" userId="4e4b8b3d-5f31-49bb-9f80-8a25c04abfff" providerId="ADAL" clId="{EE97D3FE-9ACA-4467-98E5-532EC45D9D1C}" dt="2024-03-04T08:45:59.554" v="17570" actId="1076"/>
          <ac:spMkLst>
            <pc:docMk/>
            <pc:sldMk cId="4273639525" sldId="917"/>
            <ac:spMk id="35" creationId="{C2AF3EEF-18F4-C17A-DE3C-2AC17A224682}"/>
          </ac:spMkLst>
        </pc:spChg>
        <pc:spChg chg="add mod">
          <ac:chgData name="Nataliia Chornii (UA)" userId="4e4b8b3d-5f31-49bb-9f80-8a25c04abfff" providerId="ADAL" clId="{EE97D3FE-9ACA-4467-98E5-532EC45D9D1C}" dt="2024-03-04T08:45:59.554" v="17570" actId="1076"/>
          <ac:spMkLst>
            <pc:docMk/>
            <pc:sldMk cId="4273639525" sldId="917"/>
            <ac:spMk id="36" creationId="{204DB6A7-E2DC-AA3D-E581-AA339DD36342}"/>
          </ac:spMkLst>
        </pc:spChg>
        <pc:spChg chg="add mod">
          <ac:chgData name="Nataliia Chornii (UA)" userId="4e4b8b3d-5f31-49bb-9f80-8a25c04abfff" providerId="ADAL" clId="{EE97D3FE-9ACA-4467-98E5-532EC45D9D1C}" dt="2024-03-04T08:45:59.554" v="17570" actId="1076"/>
          <ac:spMkLst>
            <pc:docMk/>
            <pc:sldMk cId="4273639525" sldId="917"/>
            <ac:spMk id="37" creationId="{26DBADC2-4B76-14EA-99C9-12C38A242436}"/>
          </ac:spMkLst>
        </pc:spChg>
        <pc:spChg chg="add mod">
          <ac:chgData name="Nataliia Chornii (UA)" userId="4e4b8b3d-5f31-49bb-9f80-8a25c04abfff" providerId="ADAL" clId="{EE97D3FE-9ACA-4467-98E5-532EC45D9D1C}" dt="2024-03-04T08:45:59.554" v="17570" actId="1076"/>
          <ac:spMkLst>
            <pc:docMk/>
            <pc:sldMk cId="4273639525" sldId="917"/>
            <ac:spMk id="38" creationId="{FDC03DDD-26FD-DD24-F947-CB586C9EFB29}"/>
          </ac:spMkLst>
        </pc:spChg>
        <pc:spChg chg="add mod">
          <ac:chgData name="Nataliia Chornii (UA)" userId="4e4b8b3d-5f31-49bb-9f80-8a25c04abfff" providerId="ADAL" clId="{EE97D3FE-9ACA-4467-98E5-532EC45D9D1C}" dt="2024-03-04T08:45:59.554" v="17570" actId="1076"/>
          <ac:spMkLst>
            <pc:docMk/>
            <pc:sldMk cId="4273639525" sldId="917"/>
            <ac:spMk id="39" creationId="{A60821DC-9E63-C7BD-AA14-946E64DA12AA}"/>
          </ac:spMkLst>
        </pc:spChg>
        <pc:spChg chg="add mod">
          <ac:chgData name="Nataliia Chornii (UA)" userId="4e4b8b3d-5f31-49bb-9f80-8a25c04abfff" providerId="ADAL" clId="{EE97D3FE-9ACA-4467-98E5-532EC45D9D1C}" dt="2024-03-04T08:45:59.554" v="17570" actId="1076"/>
          <ac:spMkLst>
            <pc:docMk/>
            <pc:sldMk cId="4273639525" sldId="917"/>
            <ac:spMk id="41" creationId="{03DE8749-C6D4-08C9-5257-31FFAF66E74C}"/>
          </ac:spMkLst>
        </pc:spChg>
        <pc:spChg chg="add mod">
          <ac:chgData name="Nataliia Chornii (UA)" userId="4e4b8b3d-5f31-49bb-9f80-8a25c04abfff" providerId="ADAL" clId="{EE97D3FE-9ACA-4467-98E5-532EC45D9D1C}" dt="2024-03-04T08:45:59.554" v="17570" actId="1076"/>
          <ac:spMkLst>
            <pc:docMk/>
            <pc:sldMk cId="4273639525" sldId="917"/>
            <ac:spMk id="42" creationId="{CFB3B2CE-10DB-C325-3DCB-865DCD72D32E}"/>
          </ac:spMkLst>
        </pc:spChg>
        <pc:spChg chg="add mod">
          <ac:chgData name="Nataliia Chornii (UA)" userId="4e4b8b3d-5f31-49bb-9f80-8a25c04abfff" providerId="ADAL" clId="{EE97D3FE-9ACA-4467-98E5-532EC45D9D1C}" dt="2024-03-04T08:45:59.554" v="17570" actId="1076"/>
          <ac:spMkLst>
            <pc:docMk/>
            <pc:sldMk cId="4273639525" sldId="917"/>
            <ac:spMk id="43" creationId="{8D33C578-FD40-5DAA-B6FF-379DD51EC137}"/>
          </ac:spMkLst>
        </pc:spChg>
        <pc:spChg chg="add mod">
          <ac:chgData name="Nataliia Chornii (UA)" userId="4e4b8b3d-5f31-49bb-9f80-8a25c04abfff" providerId="ADAL" clId="{EE97D3FE-9ACA-4467-98E5-532EC45D9D1C}" dt="2024-03-04T08:45:59.554" v="17570" actId="1076"/>
          <ac:spMkLst>
            <pc:docMk/>
            <pc:sldMk cId="4273639525" sldId="917"/>
            <ac:spMk id="44" creationId="{82C87D7B-B0FE-FFE8-F8A9-03FD9DC7F2C5}"/>
          </ac:spMkLst>
        </pc:spChg>
        <pc:spChg chg="add mod">
          <ac:chgData name="Nataliia Chornii (UA)" userId="4e4b8b3d-5f31-49bb-9f80-8a25c04abfff" providerId="ADAL" clId="{EE97D3FE-9ACA-4467-98E5-532EC45D9D1C}" dt="2024-03-04T08:45:59.554" v="17570" actId="1076"/>
          <ac:spMkLst>
            <pc:docMk/>
            <pc:sldMk cId="4273639525" sldId="917"/>
            <ac:spMk id="45" creationId="{FA7526CE-0059-8849-9B87-5C05050F5DDD}"/>
          </ac:spMkLst>
        </pc:spChg>
        <pc:spChg chg="add mod">
          <ac:chgData name="Nataliia Chornii (UA)" userId="4e4b8b3d-5f31-49bb-9f80-8a25c04abfff" providerId="ADAL" clId="{EE97D3FE-9ACA-4467-98E5-532EC45D9D1C}" dt="2024-03-04T08:45:59.554" v="17570" actId="1076"/>
          <ac:spMkLst>
            <pc:docMk/>
            <pc:sldMk cId="4273639525" sldId="917"/>
            <ac:spMk id="46" creationId="{881A65C4-F5CF-91F1-3868-BF33E25C5686}"/>
          </ac:spMkLst>
        </pc:spChg>
        <pc:spChg chg="add mod">
          <ac:chgData name="Nataliia Chornii (UA)" userId="4e4b8b3d-5f31-49bb-9f80-8a25c04abfff" providerId="ADAL" clId="{EE97D3FE-9ACA-4467-98E5-532EC45D9D1C}" dt="2024-03-04T08:45:59.554" v="17570" actId="1076"/>
          <ac:spMkLst>
            <pc:docMk/>
            <pc:sldMk cId="4273639525" sldId="917"/>
            <ac:spMk id="47" creationId="{8954E102-9C1D-455C-0923-C45A01B097F0}"/>
          </ac:spMkLst>
        </pc:spChg>
        <pc:spChg chg="add mod">
          <ac:chgData name="Nataliia Chornii (UA)" userId="4e4b8b3d-5f31-49bb-9f80-8a25c04abfff" providerId="ADAL" clId="{EE97D3FE-9ACA-4467-98E5-532EC45D9D1C}" dt="2024-03-04T08:46:12.256" v="17573" actId="14100"/>
          <ac:spMkLst>
            <pc:docMk/>
            <pc:sldMk cId="4273639525" sldId="917"/>
            <ac:spMk id="48" creationId="{EBAA83D0-B767-9E96-1B47-C078CEEE614B}"/>
          </ac:spMkLst>
        </pc:spChg>
        <pc:spChg chg="add mod">
          <ac:chgData name="Nataliia Chornii (UA)" userId="4e4b8b3d-5f31-49bb-9f80-8a25c04abfff" providerId="ADAL" clId="{EE97D3FE-9ACA-4467-98E5-532EC45D9D1C}" dt="2024-03-04T08:46:16.444" v="17574" actId="553"/>
          <ac:spMkLst>
            <pc:docMk/>
            <pc:sldMk cId="4273639525" sldId="917"/>
            <ac:spMk id="49" creationId="{61741A74-5C7B-7766-FAC2-162B3E3B5946}"/>
          </ac:spMkLst>
        </pc:spChg>
        <pc:spChg chg="add mod">
          <ac:chgData name="Nataliia Chornii (UA)" userId="4e4b8b3d-5f31-49bb-9f80-8a25c04abfff" providerId="ADAL" clId="{EE97D3FE-9ACA-4467-98E5-532EC45D9D1C}" dt="2024-03-04T08:46:12.256" v="17573" actId="14100"/>
          <ac:spMkLst>
            <pc:docMk/>
            <pc:sldMk cId="4273639525" sldId="917"/>
            <ac:spMk id="50" creationId="{A0C0290C-4BE9-3776-4546-3DEF56D11991}"/>
          </ac:spMkLst>
        </pc:spChg>
        <pc:spChg chg="add mod">
          <ac:chgData name="Nataliia Chornii (UA)" userId="4e4b8b3d-5f31-49bb-9f80-8a25c04abfff" providerId="ADAL" clId="{EE97D3FE-9ACA-4467-98E5-532EC45D9D1C}" dt="2024-03-04T08:46:12.256" v="17573" actId="14100"/>
          <ac:spMkLst>
            <pc:docMk/>
            <pc:sldMk cId="4273639525" sldId="917"/>
            <ac:spMk id="51" creationId="{BAB0F656-869B-B0AF-322D-5E8BBB041A61}"/>
          </ac:spMkLst>
        </pc:spChg>
        <pc:spChg chg="add mod">
          <ac:chgData name="Nataliia Chornii (UA)" userId="4e4b8b3d-5f31-49bb-9f80-8a25c04abfff" providerId="ADAL" clId="{EE97D3FE-9ACA-4467-98E5-532EC45D9D1C}" dt="2024-03-04T08:46:12.256" v="17573" actId="14100"/>
          <ac:spMkLst>
            <pc:docMk/>
            <pc:sldMk cId="4273639525" sldId="917"/>
            <ac:spMk id="52" creationId="{DAED98C7-E0EF-C092-E3F8-D2FBD65700E3}"/>
          </ac:spMkLst>
        </pc:spChg>
        <pc:spChg chg="add mod">
          <ac:chgData name="Nataliia Chornii (UA)" userId="4e4b8b3d-5f31-49bb-9f80-8a25c04abfff" providerId="ADAL" clId="{EE97D3FE-9ACA-4467-98E5-532EC45D9D1C}" dt="2024-03-04T08:46:12.256" v="17573" actId="14100"/>
          <ac:spMkLst>
            <pc:docMk/>
            <pc:sldMk cId="4273639525" sldId="917"/>
            <ac:spMk id="53" creationId="{18418CB4-C7BA-DDC9-0605-BD3AD04DF988}"/>
          </ac:spMkLst>
        </pc:spChg>
        <pc:grpChg chg="add mod">
          <ac:chgData name="Nataliia Chornii (UA)" userId="4e4b8b3d-5f31-49bb-9f80-8a25c04abfff" providerId="ADAL" clId="{EE97D3FE-9ACA-4467-98E5-532EC45D9D1C}" dt="2024-03-11T14:26:07.744" v="24087"/>
          <ac:grpSpMkLst>
            <pc:docMk/>
            <pc:sldMk cId="4273639525" sldId="917"/>
            <ac:grpSpMk id="5" creationId="{02753959-1A41-D792-A20B-C72D5DDDD89F}"/>
          </ac:grpSpMkLst>
        </pc:grpChg>
        <pc:grpChg chg="add mod">
          <ac:chgData name="Nataliia Chornii (UA)" userId="4e4b8b3d-5f31-49bb-9f80-8a25c04abfff" providerId="ADAL" clId="{EE97D3FE-9ACA-4467-98E5-532EC45D9D1C}" dt="2024-03-04T08:46:16.444" v="17574" actId="553"/>
          <ac:grpSpMkLst>
            <pc:docMk/>
            <pc:sldMk cId="4273639525" sldId="917"/>
            <ac:grpSpMk id="26" creationId="{E3370077-1573-2794-544A-AE97973345F5}"/>
          </ac:grpSpMkLst>
        </pc:grpChg>
        <pc:graphicFrameChg chg="add mod ord modVis replST">
          <ac:chgData name="Nataliia Chornii (UA)" userId="4e4b8b3d-5f31-49bb-9f80-8a25c04abfff" providerId="ADAL" clId="{EE97D3FE-9ACA-4467-98E5-532EC45D9D1C}" dt="2024-03-04T08:45:50.687" v="17568"/>
          <ac:graphicFrameMkLst>
            <pc:docMk/>
            <pc:sldMk cId="4273639525" sldId="917"/>
            <ac:graphicFrameMk id="9" creationId="{4E94DAC8-1E8F-3291-FA16-E6E35EB47422}"/>
          </ac:graphicFrameMkLst>
        </pc:graphicFrameChg>
        <pc:cxnChg chg="add mod">
          <ac:chgData name="Nataliia Chornii (UA)" userId="4e4b8b3d-5f31-49bb-9f80-8a25c04abfff" providerId="ADAL" clId="{EE97D3FE-9ACA-4467-98E5-532EC45D9D1C}" dt="2024-03-04T08:45:59.554" v="17570" actId="1076"/>
          <ac:cxnSpMkLst>
            <pc:docMk/>
            <pc:sldMk cId="4273639525" sldId="917"/>
            <ac:cxnSpMk id="40" creationId="{AEA46143-65A0-F604-7AFA-8190A092D080}"/>
          </ac:cxnSpMkLst>
        </pc:cxnChg>
        <pc:cxnChg chg="add mod">
          <ac:chgData name="Nataliia Chornii (UA)" userId="4e4b8b3d-5f31-49bb-9f80-8a25c04abfff" providerId="ADAL" clId="{EE97D3FE-9ACA-4467-98E5-532EC45D9D1C}" dt="2024-03-04T08:46:12.256" v="17573" actId="14100"/>
          <ac:cxnSpMkLst>
            <pc:docMk/>
            <pc:sldMk cId="4273639525" sldId="917"/>
            <ac:cxnSpMk id="54" creationId="{4281C6C9-CAE5-FE3D-692E-4632AFDD42D6}"/>
          </ac:cxnSpMkLst>
        </pc:cxnChg>
        <pc:cxnChg chg="add mod">
          <ac:chgData name="Nataliia Chornii (UA)" userId="4e4b8b3d-5f31-49bb-9f80-8a25c04abfff" providerId="ADAL" clId="{EE97D3FE-9ACA-4467-98E5-532EC45D9D1C}" dt="2024-03-04T08:46:12.256" v="17573" actId="14100"/>
          <ac:cxnSpMkLst>
            <pc:docMk/>
            <pc:sldMk cId="4273639525" sldId="917"/>
            <ac:cxnSpMk id="55" creationId="{C204DE99-827A-F3C1-EF6A-10E3F0F8DA85}"/>
          </ac:cxnSpMkLst>
        </pc:cxnChg>
        <pc:cxnChg chg="add mod">
          <ac:chgData name="Nataliia Chornii (UA)" userId="4e4b8b3d-5f31-49bb-9f80-8a25c04abfff" providerId="ADAL" clId="{EE97D3FE-9ACA-4467-98E5-532EC45D9D1C}" dt="2024-03-04T08:46:12.256" v="17573" actId="14100"/>
          <ac:cxnSpMkLst>
            <pc:docMk/>
            <pc:sldMk cId="4273639525" sldId="917"/>
            <ac:cxnSpMk id="56" creationId="{3747D388-5C9D-8CB8-22C8-4081EA6BC8AE}"/>
          </ac:cxnSpMkLst>
        </pc:cxnChg>
        <pc:cxnChg chg="add mod">
          <ac:chgData name="Nataliia Chornii (UA)" userId="4e4b8b3d-5f31-49bb-9f80-8a25c04abfff" providerId="ADAL" clId="{EE97D3FE-9ACA-4467-98E5-532EC45D9D1C}" dt="2024-03-04T08:46:12.256" v="17573" actId="14100"/>
          <ac:cxnSpMkLst>
            <pc:docMk/>
            <pc:sldMk cId="4273639525" sldId="917"/>
            <ac:cxnSpMk id="57" creationId="{3756723B-C315-85E8-1B45-2DA50AA203A1}"/>
          </ac:cxnSpMkLst>
        </pc:cxnChg>
        <pc:cxnChg chg="add mod">
          <ac:chgData name="Nataliia Chornii (UA)" userId="4e4b8b3d-5f31-49bb-9f80-8a25c04abfff" providerId="ADAL" clId="{EE97D3FE-9ACA-4467-98E5-532EC45D9D1C}" dt="2024-03-04T08:46:12.256" v="17573" actId="14100"/>
          <ac:cxnSpMkLst>
            <pc:docMk/>
            <pc:sldMk cId="4273639525" sldId="917"/>
            <ac:cxnSpMk id="58" creationId="{BBCE494F-89AF-8E94-59B9-02836329B37E}"/>
          </ac:cxnSpMkLst>
        </pc:cxnChg>
      </pc:sldChg>
      <pc:sldChg chg="addSp delSp modSp mod modClrScheme modCm chgLayout">
        <pc:chgData name="Nataliia Chornii (UA)" userId="4e4b8b3d-5f31-49bb-9f80-8a25c04abfff" providerId="ADAL" clId="{EE97D3FE-9ACA-4467-98E5-532EC45D9D1C}" dt="2024-03-11T14:29:47.729" v="24241"/>
        <pc:sldMkLst>
          <pc:docMk/>
          <pc:sldMk cId="785221003" sldId="918"/>
        </pc:sldMkLst>
        <pc:spChg chg="del mod">
          <ac:chgData name="Nataliia Chornii (UA)" userId="4e4b8b3d-5f31-49bb-9f80-8a25c04abfff" providerId="ADAL" clId="{EE97D3FE-9ACA-4467-98E5-532EC45D9D1C}" dt="2024-03-01T15:21:02.149" v="17052" actId="478"/>
          <ac:spMkLst>
            <pc:docMk/>
            <pc:sldMk cId="785221003" sldId="918"/>
            <ac:spMk id="2" creationId="{A1EA5253-E431-DFFC-E94A-6F8E087CC2C0}"/>
          </ac:spMkLst>
        </pc:spChg>
        <pc:spChg chg="mod ord">
          <ac:chgData name="Nataliia Chornii (UA)" userId="4e4b8b3d-5f31-49bb-9f80-8a25c04abfff" providerId="ADAL" clId="{EE97D3FE-9ACA-4467-98E5-532EC45D9D1C}" dt="2024-03-01T15:22:08.474" v="17098" actId="948"/>
          <ac:spMkLst>
            <pc:docMk/>
            <pc:sldMk cId="785221003" sldId="918"/>
            <ac:spMk id="3" creationId="{F4CCF02E-F3C4-C376-8F56-61BD85A2E74B}"/>
          </ac:spMkLst>
        </pc:spChg>
        <pc:spChg chg="mod ord">
          <ac:chgData name="Nataliia Chornii (UA)" userId="4e4b8b3d-5f31-49bb-9f80-8a25c04abfff" providerId="ADAL" clId="{EE97D3FE-9ACA-4467-98E5-532EC45D9D1C}" dt="2024-03-01T15:21:06.627" v="17053" actId="700"/>
          <ac:spMkLst>
            <pc:docMk/>
            <pc:sldMk cId="785221003" sldId="918"/>
            <ac:spMk id="4" creationId="{872966CD-924A-B939-E655-A6BAF817DCBF}"/>
          </ac:spMkLst>
        </pc:spChg>
        <pc:spChg chg="mod">
          <ac:chgData name="Nataliia Chornii (UA)" userId="4e4b8b3d-5f31-49bb-9f80-8a25c04abfff" providerId="ADAL" clId="{EE97D3FE-9ACA-4467-98E5-532EC45D9D1C}" dt="2024-03-04T10:00:19.911" v="20229"/>
          <ac:spMkLst>
            <pc:docMk/>
            <pc:sldMk cId="785221003" sldId="918"/>
            <ac:spMk id="5" creationId="{E11A9D5A-8E51-59DF-2E6E-3D637E7AA57E}"/>
          </ac:spMkLst>
        </pc:spChg>
        <pc:spChg chg="del mod ord">
          <ac:chgData name="Nataliia Chornii (UA)" userId="4e4b8b3d-5f31-49bb-9f80-8a25c04abfff" providerId="ADAL" clId="{EE97D3FE-9ACA-4467-98E5-532EC45D9D1C}" dt="2024-03-01T15:21:09.200" v="17080" actId="478"/>
          <ac:spMkLst>
            <pc:docMk/>
            <pc:sldMk cId="785221003" sldId="918"/>
            <ac:spMk id="5" creationId="{FF11D90A-8D15-0E43-4C2E-D42257331C13}"/>
          </ac:spMkLst>
        </pc:spChg>
        <pc:spChg chg="del mod ord">
          <ac:chgData name="Nataliia Chornii (UA)" userId="4e4b8b3d-5f31-49bb-9f80-8a25c04abfff" providerId="ADAL" clId="{EE97D3FE-9ACA-4467-98E5-532EC45D9D1C}" dt="2024-03-01T15:21:09.200" v="17080" actId="478"/>
          <ac:spMkLst>
            <pc:docMk/>
            <pc:sldMk cId="785221003" sldId="918"/>
            <ac:spMk id="6" creationId="{0F377277-EC46-FAC5-F379-194FCD82679C}"/>
          </ac:spMkLst>
        </pc:spChg>
        <pc:spChg chg="mod">
          <ac:chgData name="Nataliia Chornii (UA)" userId="4e4b8b3d-5f31-49bb-9f80-8a25c04abfff" providerId="ADAL" clId="{EE97D3FE-9ACA-4467-98E5-532EC45D9D1C}" dt="2024-03-04T10:00:19.911" v="20229"/>
          <ac:spMkLst>
            <pc:docMk/>
            <pc:sldMk cId="785221003" sldId="918"/>
            <ac:spMk id="6" creationId="{6307E12D-8818-3ECA-6181-7E94A3D6C8D0}"/>
          </ac:spMkLst>
        </pc:spChg>
        <pc:spChg chg="mod">
          <ac:chgData name="Nataliia Chornii (UA)" userId="4e4b8b3d-5f31-49bb-9f80-8a25c04abfff" providerId="ADAL" clId="{EE97D3FE-9ACA-4467-98E5-532EC45D9D1C}" dt="2024-03-04T10:00:19.911" v="20229"/>
          <ac:spMkLst>
            <pc:docMk/>
            <pc:sldMk cId="785221003" sldId="918"/>
            <ac:spMk id="7" creationId="{47D87D78-B0B4-1ED8-A0B0-A0CE22744212}"/>
          </ac:spMkLst>
        </pc:spChg>
        <pc:spChg chg="del mod">
          <ac:chgData name="Nataliia Chornii (UA)" userId="4e4b8b3d-5f31-49bb-9f80-8a25c04abfff" providerId="ADAL" clId="{EE97D3FE-9ACA-4467-98E5-532EC45D9D1C}" dt="2024-03-01T15:21:27.853" v="17089" actId="478"/>
          <ac:spMkLst>
            <pc:docMk/>
            <pc:sldMk cId="785221003" sldId="918"/>
            <ac:spMk id="7" creationId="{8E846963-540E-9336-DE83-B87EC3AB5727}"/>
          </ac:spMkLst>
        </pc:spChg>
        <pc:spChg chg="mod">
          <ac:chgData name="Nataliia Chornii (UA)" userId="4e4b8b3d-5f31-49bb-9f80-8a25c04abfff" providerId="ADAL" clId="{EE97D3FE-9ACA-4467-98E5-532EC45D9D1C}" dt="2024-03-04T10:00:19.911" v="20229"/>
          <ac:spMkLst>
            <pc:docMk/>
            <pc:sldMk cId="785221003" sldId="918"/>
            <ac:spMk id="8" creationId="{0639B4B7-C04C-3972-0434-7F6234C301E2}"/>
          </ac:spMkLst>
        </pc:spChg>
        <pc:spChg chg="del mod">
          <ac:chgData name="Nataliia Chornii (UA)" userId="4e4b8b3d-5f31-49bb-9f80-8a25c04abfff" providerId="ADAL" clId="{EE97D3FE-9ACA-4467-98E5-532EC45D9D1C}" dt="2024-03-01T15:21:02.149" v="17052" actId="478"/>
          <ac:spMkLst>
            <pc:docMk/>
            <pc:sldMk cId="785221003" sldId="918"/>
            <ac:spMk id="8" creationId="{598AB23C-0BF9-85FE-4B7A-DC0CF1A85603}"/>
          </ac:spMkLst>
        </pc:spChg>
        <pc:spChg chg="add del mod modVis">
          <ac:chgData name="Nataliia Chornii (UA)" userId="4e4b8b3d-5f31-49bb-9f80-8a25c04abfff" providerId="ADAL" clId="{EE97D3FE-9ACA-4467-98E5-532EC45D9D1C}" dt="2024-03-01T08:48:59.424" v="1344"/>
          <ac:spMkLst>
            <pc:docMk/>
            <pc:sldMk cId="785221003" sldId="918"/>
            <ac:spMk id="9" creationId="{D1E1762F-AEF4-0A34-3EF0-1F5A88985AA1}"/>
          </ac:spMkLst>
        </pc:spChg>
        <pc:spChg chg="add mod">
          <ac:chgData name="Nataliia Chornii (UA)" userId="4e4b8b3d-5f31-49bb-9f80-8a25c04abfff" providerId="ADAL" clId="{EE97D3FE-9ACA-4467-98E5-532EC45D9D1C}" dt="2024-03-11T14:29:47.729" v="24241"/>
          <ac:spMkLst>
            <pc:docMk/>
            <pc:sldMk cId="785221003" sldId="918"/>
            <ac:spMk id="9" creationId="{D6675418-2A93-363B-B413-4411681F4838}"/>
          </ac:spMkLst>
        </pc:spChg>
        <pc:spChg chg="del">
          <ac:chgData name="Nataliia Chornii (UA)" userId="4e4b8b3d-5f31-49bb-9f80-8a25c04abfff" providerId="ADAL" clId="{EE97D3FE-9ACA-4467-98E5-532EC45D9D1C}" dt="2024-03-01T15:19:40.751" v="17046" actId="478"/>
          <ac:spMkLst>
            <pc:docMk/>
            <pc:sldMk cId="785221003" sldId="918"/>
            <ac:spMk id="10" creationId="{489B7680-E5EE-2A50-7733-37F2F144B869}"/>
          </ac:spMkLst>
        </pc:spChg>
        <pc:spChg chg="del mod">
          <ac:chgData name="Nataliia Chornii (UA)" userId="4e4b8b3d-5f31-49bb-9f80-8a25c04abfff" providerId="ADAL" clId="{EE97D3FE-9ACA-4467-98E5-532EC45D9D1C}" dt="2024-03-01T15:21:02.149" v="17052" actId="478"/>
          <ac:spMkLst>
            <pc:docMk/>
            <pc:sldMk cId="785221003" sldId="918"/>
            <ac:spMk id="11" creationId="{327B1A4B-6980-7B00-091C-6006703B82A0}"/>
          </ac:spMkLst>
        </pc:spChg>
        <pc:spChg chg="add del mod modVis">
          <ac:chgData name="Nataliia Chornii (UA)" userId="4e4b8b3d-5f31-49bb-9f80-8a25c04abfff" providerId="ADAL" clId="{EE97D3FE-9ACA-4467-98E5-532EC45D9D1C}" dt="2024-03-01T08:49:33.738" v="2814"/>
          <ac:spMkLst>
            <pc:docMk/>
            <pc:sldMk cId="785221003" sldId="918"/>
            <ac:spMk id="13" creationId="{F2F39DDB-97BF-07D4-08F0-4D77FE014842}"/>
          </ac:spMkLst>
        </pc:spChg>
        <pc:spChg chg="add del mod modVis">
          <ac:chgData name="Nataliia Chornii (UA)" userId="4e4b8b3d-5f31-49bb-9f80-8a25c04abfff" providerId="ADAL" clId="{EE97D3FE-9ACA-4467-98E5-532EC45D9D1C}" dt="2024-03-01T08:49:59.788" v="3802"/>
          <ac:spMkLst>
            <pc:docMk/>
            <pc:sldMk cId="785221003" sldId="918"/>
            <ac:spMk id="14" creationId="{5F35AFF9-51E3-210C-E519-1B81CADF5693}"/>
          </ac:spMkLst>
        </pc:spChg>
        <pc:spChg chg="add del mod modVis">
          <ac:chgData name="Nataliia Chornii (UA)" userId="4e4b8b3d-5f31-49bb-9f80-8a25c04abfff" providerId="ADAL" clId="{EE97D3FE-9ACA-4467-98E5-532EC45D9D1C}" dt="2024-03-01T08:51:26.106" v="4790"/>
          <ac:spMkLst>
            <pc:docMk/>
            <pc:sldMk cId="785221003" sldId="918"/>
            <ac:spMk id="15" creationId="{E5530182-F8A7-FC09-87C9-CBF87BA553FD}"/>
          </ac:spMkLst>
        </pc:spChg>
        <pc:spChg chg="add del mod modVis">
          <ac:chgData name="Nataliia Chornii (UA)" userId="4e4b8b3d-5f31-49bb-9f80-8a25c04abfff" providerId="ADAL" clId="{EE97D3FE-9ACA-4467-98E5-532EC45D9D1C}" dt="2024-03-01T08:51:56.094" v="5779"/>
          <ac:spMkLst>
            <pc:docMk/>
            <pc:sldMk cId="785221003" sldId="918"/>
            <ac:spMk id="16" creationId="{8DAF834F-898A-3EC3-B954-4118463FEB08}"/>
          </ac:spMkLst>
        </pc:spChg>
        <pc:spChg chg="add del mod modVis">
          <ac:chgData name="Nataliia Chornii (UA)" userId="4e4b8b3d-5f31-49bb-9f80-8a25c04abfff" providerId="ADAL" clId="{EE97D3FE-9ACA-4467-98E5-532EC45D9D1C}" dt="2024-03-01T08:52:18.267" v="6767"/>
          <ac:spMkLst>
            <pc:docMk/>
            <pc:sldMk cId="785221003" sldId="918"/>
            <ac:spMk id="17" creationId="{88C5AEF0-2751-EFE0-3FE2-3A6864E410F0}"/>
          </ac:spMkLst>
        </pc:spChg>
        <pc:spChg chg="add del mod">
          <ac:chgData name="Nataliia Chornii (UA)" userId="4e4b8b3d-5f31-49bb-9f80-8a25c04abfff" providerId="ADAL" clId="{EE97D3FE-9ACA-4467-98E5-532EC45D9D1C}" dt="2024-03-11T14:29:47.411" v="24240" actId="478"/>
          <ac:spMkLst>
            <pc:docMk/>
            <pc:sldMk cId="785221003" sldId="918"/>
            <ac:spMk id="18" creationId="{23E9260F-7D31-ECC7-43D3-C957B0AE80DF}"/>
          </ac:spMkLst>
        </pc:spChg>
        <pc:spChg chg="add mod">
          <ac:chgData name="Nataliia Chornii (UA)" userId="4e4b8b3d-5f31-49bb-9f80-8a25c04abfff" providerId="ADAL" clId="{EE97D3FE-9ACA-4467-98E5-532EC45D9D1C}" dt="2024-03-01T15:21:23.813" v="17086"/>
          <ac:spMkLst>
            <pc:docMk/>
            <pc:sldMk cId="785221003" sldId="918"/>
            <ac:spMk id="19" creationId="{827EABF6-479E-1D54-0AC1-0797AA292992}"/>
          </ac:spMkLst>
        </pc:spChg>
        <pc:spChg chg="add mod">
          <ac:chgData name="Nataliia Chornii (UA)" userId="4e4b8b3d-5f31-49bb-9f80-8a25c04abfff" providerId="ADAL" clId="{EE97D3FE-9ACA-4467-98E5-532EC45D9D1C}" dt="2024-03-01T15:20:59.939" v="17051"/>
          <ac:spMkLst>
            <pc:docMk/>
            <pc:sldMk cId="785221003" sldId="918"/>
            <ac:spMk id="20" creationId="{847D706E-F710-03AC-BCF0-D538BE2E2785}"/>
          </ac:spMkLst>
        </pc:spChg>
        <pc:spChg chg="add mod">
          <ac:chgData name="Nataliia Chornii (UA)" userId="4e4b8b3d-5f31-49bb-9f80-8a25c04abfff" providerId="ADAL" clId="{EE97D3FE-9ACA-4467-98E5-532EC45D9D1C}" dt="2024-03-01T15:20:59.939" v="17051"/>
          <ac:spMkLst>
            <pc:docMk/>
            <pc:sldMk cId="785221003" sldId="918"/>
            <ac:spMk id="21" creationId="{61C8033F-9026-6947-7EE6-397F054EE5E9}"/>
          </ac:spMkLst>
        </pc:spChg>
        <pc:spChg chg="add mod">
          <ac:chgData name="Nataliia Chornii (UA)" userId="4e4b8b3d-5f31-49bb-9f80-8a25c04abfff" providerId="ADAL" clId="{EE97D3FE-9ACA-4467-98E5-532EC45D9D1C}" dt="2024-03-01T15:20:59.939" v="17051"/>
          <ac:spMkLst>
            <pc:docMk/>
            <pc:sldMk cId="785221003" sldId="918"/>
            <ac:spMk id="22" creationId="{B09E11E2-8AE6-0A0F-4A94-E932ABB73C99}"/>
          </ac:spMkLst>
        </pc:spChg>
        <pc:spChg chg="add mod">
          <ac:chgData name="Nataliia Chornii (UA)" userId="4e4b8b3d-5f31-49bb-9f80-8a25c04abfff" providerId="ADAL" clId="{EE97D3FE-9ACA-4467-98E5-532EC45D9D1C}" dt="2024-03-01T15:20:59.939" v="17051"/>
          <ac:spMkLst>
            <pc:docMk/>
            <pc:sldMk cId="785221003" sldId="918"/>
            <ac:spMk id="23" creationId="{BE5CF2FF-6329-BA97-D895-B7D9631A9ED4}"/>
          </ac:spMkLst>
        </pc:spChg>
        <pc:spChg chg="add mod">
          <ac:chgData name="Nataliia Chornii (UA)" userId="4e4b8b3d-5f31-49bb-9f80-8a25c04abfff" providerId="ADAL" clId="{EE97D3FE-9ACA-4467-98E5-532EC45D9D1C}" dt="2024-03-01T15:21:49.434" v="17094" actId="552"/>
          <ac:spMkLst>
            <pc:docMk/>
            <pc:sldMk cId="785221003" sldId="918"/>
            <ac:spMk id="24" creationId="{626CA42B-7CD9-E034-925C-318DE6B1B621}"/>
          </ac:spMkLst>
        </pc:spChg>
        <pc:spChg chg="mod">
          <ac:chgData name="Nataliia Chornii (UA)" userId="4e4b8b3d-5f31-49bb-9f80-8a25c04abfff" providerId="ADAL" clId="{EE97D3FE-9ACA-4467-98E5-532EC45D9D1C}" dt="2024-03-01T15:20:59.939" v="17051"/>
          <ac:spMkLst>
            <pc:docMk/>
            <pc:sldMk cId="785221003" sldId="918"/>
            <ac:spMk id="26" creationId="{1D5CC5FA-E4E2-B6C1-ED9E-17D84C8C96B1}"/>
          </ac:spMkLst>
        </pc:spChg>
        <pc:spChg chg="mod">
          <ac:chgData name="Nataliia Chornii (UA)" userId="4e4b8b3d-5f31-49bb-9f80-8a25c04abfff" providerId="ADAL" clId="{EE97D3FE-9ACA-4467-98E5-532EC45D9D1C}" dt="2024-03-01T15:20:59.939" v="17051"/>
          <ac:spMkLst>
            <pc:docMk/>
            <pc:sldMk cId="785221003" sldId="918"/>
            <ac:spMk id="27" creationId="{092277DB-BA50-6537-4310-BF69D5C5B122}"/>
          </ac:spMkLst>
        </pc:spChg>
        <pc:spChg chg="mod">
          <ac:chgData name="Nataliia Chornii (UA)" userId="4e4b8b3d-5f31-49bb-9f80-8a25c04abfff" providerId="ADAL" clId="{EE97D3FE-9ACA-4467-98E5-532EC45D9D1C}" dt="2024-03-01T15:20:59.939" v="17051"/>
          <ac:spMkLst>
            <pc:docMk/>
            <pc:sldMk cId="785221003" sldId="918"/>
            <ac:spMk id="28" creationId="{4EE197B0-8DE5-F0F1-FF3C-F17D1EDE6597}"/>
          </ac:spMkLst>
        </pc:spChg>
        <pc:spChg chg="add mod">
          <ac:chgData name="Nataliia Chornii (UA)" userId="4e4b8b3d-5f31-49bb-9f80-8a25c04abfff" providerId="ADAL" clId="{EE97D3FE-9ACA-4467-98E5-532EC45D9D1C}" dt="2024-03-01T15:20:59.939" v="17051"/>
          <ac:spMkLst>
            <pc:docMk/>
            <pc:sldMk cId="785221003" sldId="918"/>
            <ac:spMk id="29" creationId="{EAD00C83-2924-49D8-CEA1-9E5AB7ED0D17}"/>
          </ac:spMkLst>
        </pc:spChg>
        <pc:spChg chg="add mod">
          <ac:chgData name="Nataliia Chornii (UA)" userId="4e4b8b3d-5f31-49bb-9f80-8a25c04abfff" providerId="ADAL" clId="{EE97D3FE-9ACA-4467-98E5-532EC45D9D1C}" dt="2024-03-01T15:20:59.939" v="17051"/>
          <ac:spMkLst>
            <pc:docMk/>
            <pc:sldMk cId="785221003" sldId="918"/>
            <ac:spMk id="30" creationId="{EE8F8324-6D8B-6B2B-257E-B0AD4FD556D2}"/>
          </ac:spMkLst>
        </pc:spChg>
        <pc:spChg chg="add mod">
          <ac:chgData name="Nataliia Chornii (UA)" userId="4e4b8b3d-5f31-49bb-9f80-8a25c04abfff" providerId="ADAL" clId="{EE97D3FE-9ACA-4467-98E5-532EC45D9D1C}" dt="2024-03-01T15:20:59.939" v="17051"/>
          <ac:spMkLst>
            <pc:docMk/>
            <pc:sldMk cId="785221003" sldId="918"/>
            <ac:spMk id="31" creationId="{6E059F87-0DD1-5DD0-DFE1-EAFE24644414}"/>
          </ac:spMkLst>
        </pc:spChg>
        <pc:spChg chg="add mod">
          <ac:chgData name="Nataliia Chornii (UA)" userId="4e4b8b3d-5f31-49bb-9f80-8a25c04abfff" providerId="ADAL" clId="{EE97D3FE-9ACA-4467-98E5-532EC45D9D1C}" dt="2024-03-01T15:22:55.541" v="17137" actId="555"/>
          <ac:spMkLst>
            <pc:docMk/>
            <pc:sldMk cId="785221003" sldId="918"/>
            <ac:spMk id="32" creationId="{498DF9C8-E99C-2B4F-A3C1-C58A792C99F7}"/>
          </ac:spMkLst>
        </pc:spChg>
        <pc:spChg chg="add del mod ord">
          <ac:chgData name="Nataliia Chornii (UA)" userId="4e4b8b3d-5f31-49bb-9f80-8a25c04abfff" providerId="ADAL" clId="{EE97D3FE-9ACA-4467-98E5-532EC45D9D1C}" dt="2024-03-01T15:21:06.627" v="17053" actId="700"/>
          <ac:spMkLst>
            <pc:docMk/>
            <pc:sldMk cId="785221003" sldId="918"/>
            <ac:spMk id="34" creationId="{86E1F084-DFB5-2BFD-A75F-42D9E1623743}"/>
          </ac:spMkLst>
        </pc:spChg>
        <pc:spChg chg="add del mod ord">
          <ac:chgData name="Nataliia Chornii (UA)" userId="4e4b8b3d-5f31-49bb-9f80-8a25c04abfff" providerId="ADAL" clId="{EE97D3FE-9ACA-4467-98E5-532EC45D9D1C}" dt="2024-03-01T15:21:10.098" v="17081" actId="478"/>
          <ac:spMkLst>
            <pc:docMk/>
            <pc:sldMk cId="785221003" sldId="918"/>
            <ac:spMk id="35" creationId="{A2A81ABD-C8D0-00F5-A8E7-FA5FAF31C30C}"/>
          </ac:spMkLst>
        </pc:spChg>
        <pc:spChg chg="add del mod modVis">
          <ac:chgData name="Nataliia Chornii (UA)" userId="4e4b8b3d-5f31-49bb-9f80-8a25c04abfff" providerId="ADAL" clId="{EE97D3FE-9ACA-4467-98E5-532EC45D9D1C}" dt="2024-03-01T15:21:07.148" v="17077"/>
          <ac:spMkLst>
            <pc:docMk/>
            <pc:sldMk cId="785221003" sldId="918"/>
            <ac:spMk id="36" creationId="{19D5B8DA-F523-1423-5EB3-81D4DC05526F}"/>
          </ac:spMkLst>
        </pc:spChg>
        <pc:spChg chg="add del mod">
          <ac:chgData name="Nataliia Chornii (UA)" userId="4e4b8b3d-5f31-49bb-9f80-8a25c04abfff" providerId="ADAL" clId="{EE97D3FE-9ACA-4467-98E5-532EC45D9D1C}" dt="2024-03-01T15:21:25.578" v="17087" actId="478"/>
          <ac:spMkLst>
            <pc:docMk/>
            <pc:sldMk cId="785221003" sldId="918"/>
            <ac:spMk id="37" creationId="{52DCBF02-20AB-FB78-7F1B-DDFA4AAAC10F}"/>
          </ac:spMkLst>
        </pc:spChg>
        <pc:spChg chg="add del mod">
          <ac:chgData name="Nataliia Chornii (UA)" userId="4e4b8b3d-5f31-49bb-9f80-8a25c04abfff" providerId="ADAL" clId="{EE97D3FE-9ACA-4467-98E5-532EC45D9D1C}" dt="2024-03-01T15:22:45.234" v="17135" actId="478"/>
          <ac:spMkLst>
            <pc:docMk/>
            <pc:sldMk cId="785221003" sldId="918"/>
            <ac:spMk id="38" creationId="{457D081F-7EC8-3099-9C3F-C5869A148F31}"/>
          </ac:spMkLst>
        </pc:spChg>
        <pc:spChg chg="add del mod">
          <ac:chgData name="Nataliia Chornii (UA)" userId="4e4b8b3d-5f31-49bb-9f80-8a25c04abfff" providerId="ADAL" clId="{EE97D3FE-9ACA-4467-98E5-532EC45D9D1C}" dt="2024-03-01T15:21:25.578" v="17087" actId="478"/>
          <ac:spMkLst>
            <pc:docMk/>
            <pc:sldMk cId="785221003" sldId="918"/>
            <ac:spMk id="39" creationId="{C9CCA64B-1AB2-BA41-8AD5-77EF9C8084C7}"/>
          </ac:spMkLst>
        </pc:spChg>
        <pc:spChg chg="add mod topLvl">
          <ac:chgData name="Nataliia Chornii (UA)" userId="4e4b8b3d-5f31-49bb-9f80-8a25c04abfff" providerId="ADAL" clId="{EE97D3FE-9ACA-4467-98E5-532EC45D9D1C}" dt="2024-03-01T15:21:50.317" v="17095" actId="165"/>
          <ac:spMkLst>
            <pc:docMk/>
            <pc:sldMk cId="785221003" sldId="918"/>
            <ac:spMk id="40" creationId="{E7DFDF9F-592A-F0CA-2966-D927B82170D7}"/>
          </ac:spMkLst>
        </pc:spChg>
        <pc:spChg chg="add mod topLvl">
          <ac:chgData name="Nataliia Chornii (UA)" userId="4e4b8b3d-5f31-49bb-9f80-8a25c04abfff" providerId="ADAL" clId="{EE97D3FE-9ACA-4467-98E5-532EC45D9D1C}" dt="2024-03-01T15:21:50.317" v="17095" actId="165"/>
          <ac:spMkLst>
            <pc:docMk/>
            <pc:sldMk cId="785221003" sldId="918"/>
            <ac:spMk id="41" creationId="{948C0DCA-7348-FCD6-02E7-70F96CB85371}"/>
          </ac:spMkLst>
        </pc:spChg>
        <pc:spChg chg="add mod topLvl">
          <ac:chgData name="Nataliia Chornii (UA)" userId="4e4b8b3d-5f31-49bb-9f80-8a25c04abfff" providerId="ADAL" clId="{EE97D3FE-9ACA-4467-98E5-532EC45D9D1C}" dt="2024-03-01T15:22:59.262" v="17138" actId="465"/>
          <ac:spMkLst>
            <pc:docMk/>
            <pc:sldMk cId="785221003" sldId="918"/>
            <ac:spMk id="42" creationId="{D0960EB4-A2F3-DA4E-033D-4FC6F9827739}"/>
          </ac:spMkLst>
        </pc:spChg>
        <pc:spChg chg="add mod topLvl">
          <ac:chgData name="Nataliia Chornii (UA)" userId="4e4b8b3d-5f31-49bb-9f80-8a25c04abfff" providerId="ADAL" clId="{EE97D3FE-9ACA-4467-98E5-532EC45D9D1C}" dt="2024-03-01T15:22:59.262" v="17138" actId="465"/>
          <ac:spMkLst>
            <pc:docMk/>
            <pc:sldMk cId="785221003" sldId="918"/>
            <ac:spMk id="43" creationId="{5E8528F0-B4BD-7341-A99F-8A53E01D7F5D}"/>
          </ac:spMkLst>
        </pc:spChg>
        <pc:spChg chg="add mod topLvl">
          <ac:chgData name="Nataliia Chornii (UA)" userId="4e4b8b3d-5f31-49bb-9f80-8a25c04abfff" providerId="ADAL" clId="{EE97D3FE-9ACA-4467-98E5-532EC45D9D1C}" dt="2024-03-01T15:22:55.541" v="17137" actId="555"/>
          <ac:spMkLst>
            <pc:docMk/>
            <pc:sldMk cId="785221003" sldId="918"/>
            <ac:spMk id="44" creationId="{9F357977-85D3-0A26-C484-1D746BE796D3}"/>
          </ac:spMkLst>
        </pc:spChg>
        <pc:spChg chg="add mod topLvl">
          <ac:chgData name="Nataliia Chornii (UA)" userId="4e4b8b3d-5f31-49bb-9f80-8a25c04abfff" providerId="ADAL" clId="{EE97D3FE-9ACA-4467-98E5-532EC45D9D1C}" dt="2024-03-01T15:21:50.317" v="17095" actId="165"/>
          <ac:spMkLst>
            <pc:docMk/>
            <pc:sldMk cId="785221003" sldId="918"/>
            <ac:spMk id="45" creationId="{F17A6BB1-ABB8-2B7A-05AC-E37C9BF8E581}"/>
          </ac:spMkLst>
        </pc:spChg>
        <pc:spChg chg="add mod topLvl">
          <ac:chgData name="Nataliia Chornii (UA)" userId="4e4b8b3d-5f31-49bb-9f80-8a25c04abfff" providerId="ADAL" clId="{EE97D3FE-9ACA-4467-98E5-532EC45D9D1C}" dt="2024-03-01T15:21:50.317" v="17095" actId="165"/>
          <ac:spMkLst>
            <pc:docMk/>
            <pc:sldMk cId="785221003" sldId="918"/>
            <ac:spMk id="47" creationId="{085AB03D-1000-EACA-A2C3-56C47B409C5B}"/>
          </ac:spMkLst>
        </pc:spChg>
        <pc:spChg chg="add mod topLvl">
          <ac:chgData name="Nataliia Chornii (UA)" userId="4e4b8b3d-5f31-49bb-9f80-8a25c04abfff" providerId="ADAL" clId="{EE97D3FE-9ACA-4467-98E5-532EC45D9D1C}" dt="2024-03-01T15:21:50.317" v="17095" actId="165"/>
          <ac:spMkLst>
            <pc:docMk/>
            <pc:sldMk cId="785221003" sldId="918"/>
            <ac:spMk id="48" creationId="{AB2CB7B3-00A8-4BDF-F99B-904321C2FB7F}"/>
          </ac:spMkLst>
        </pc:spChg>
        <pc:spChg chg="add mod topLvl">
          <ac:chgData name="Nataliia Chornii (UA)" userId="4e4b8b3d-5f31-49bb-9f80-8a25c04abfff" providerId="ADAL" clId="{EE97D3FE-9ACA-4467-98E5-532EC45D9D1C}" dt="2024-03-01T15:23:07.617" v="17141" actId="1035"/>
          <ac:spMkLst>
            <pc:docMk/>
            <pc:sldMk cId="785221003" sldId="918"/>
            <ac:spMk id="49" creationId="{345770BF-53B5-8752-0746-7658F0373CD7}"/>
          </ac:spMkLst>
        </pc:spChg>
        <pc:spChg chg="add mod topLvl">
          <ac:chgData name="Nataliia Chornii (UA)" userId="4e4b8b3d-5f31-49bb-9f80-8a25c04abfff" providerId="ADAL" clId="{EE97D3FE-9ACA-4467-98E5-532EC45D9D1C}" dt="2024-03-01T15:23:03.343" v="17139" actId="1076"/>
          <ac:spMkLst>
            <pc:docMk/>
            <pc:sldMk cId="785221003" sldId="918"/>
            <ac:spMk id="50" creationId="{7F881EA9-8822-B77F-AFA9-7F65F90F62C7}"/>
          </ac:spMkLst>
        </pc:spChg>
        <pc:spChg chg="add mod topLvl">
          <ac:chgData name="Nataliia Chornii (UA)" userId="4e4b8b3d-5f31-49bb-9f80-8a25c04abfff" providerId="ADAL" clId="{EE97D3FE-9ACA-4467-98E5-532EC45D9D1C}" dt="2024-03-01T15:21:50.317" v="17095" actId="165"/>
          <ac:spMkLst>
            <pc:docMk/>
            <pc:sldMk cId="785221003" sldId="918"/>
            <ac:spMk id="51" creationId="{A8A06EA0-CE73-3CAC-664B-15CD52DDE7C1}"/>
          </ac:spMkLst>
        </pc:spChg>
        <pc:spChg chg="add mod topLvl">
          <ac:chgData name="Nataliia Chornii (UA)" userId="4e4b8b3d-5f31-49bb-9f80-8a25c04abfff" providerId="ADAL" clId="{EE97D3FE-9ACA-4467-98E5-532EC45D9D1C}" dt="2024-03-01T15:21:50.317" v="17095" actId="165"/>
          <ac:spMkLst>
            <pc:docMk/>
            <pc:sldMk cId="785221003" sldId="918"/>
            <ac:spMk id="52" creationId="{E0491BA6-4EAC-C6A2-0710-B8EBE4271701}"/>
          </ac:spMkLst>
        </pc:spChg>
        <pc:spChg chg="add mod topLvl">
          <ac:chgData name="Nataliia Chornii (UA)" userId="4e4b8b3d-5f31-49bb-9f80-8a25c04abfff" providerId="ADAL" clId="{EE97D3FE-9ACA-4467-98E5-532EC45D9D1C}" dt="2024-03-01T15:21:50.317" v="17095" actId="165"/>
          <ac:spMkLst>
            <pc:docMk/>
            <pc:sldMk cId="785221003" sldId="918"/>
            <ac:spMk id="53" creationId="{BE991518-07C2-B796-3C8E-E23AB9701B79}"/>
          </ac:spMkLst>
        </pc:spChg>
        <pc:spChg chg="add mod">
          <ac:chgData name="Nataliia Chornii (UA)" userId="4e4b8b3d-5f31-49bb-9f80-8a25c04abfff" providerId="ADAL" clId="{EE97D3FE-9ACA-4467-98E5-532EC45D9D1C}" dt="2024-03-01T15:22:20.373" v="17129"/>
          <ac:spMkLst>
            <pc:docMk/>
            <pc:sldMk cId="785221003" sldId="918"/>
            <ac:spMk id="55" creationId="{0AC02ECA-987D-40AF-BE7A-B239872F0524}"/>
          </ac:spMkLst>
        </pc:spChg>
        <pc:spChg chg="add mod">
          <ac:chgData name="Nataliia Chornii (UA)" userId="4e4b8b3d-5f31-49bb-9f80-8a25c04abfff" providerId="ADAL" clId="{EE97D3FE-9ACA-4467-98E5-532EC45D9D1C}" dt="2024-03-01T15:23:13.846" v="17142" actId="465"/>
          <ac:spMkLst>
            <pc:docMk/>
            <pc:sldMk cId="785221003" sldId="918"/>
            <ac:spMk id="56" creationId="{C3C28A52-D275-6E2C-BE22-283C8364819D}"/>
          </ac:spMkLst>
        </pc:spChg>
        <pc:spChg chg="add mod">
          <ac:chgData name="Nataliia Chornii (UA)" userId="4e4b8b3d-5f31-49bb-9f80-8a25c04abfff" providerId="ADAL" clId="{EE97D3FE-9ACA-4467-98E5-532EC45D9D1C}" dt="2024-03-01T15:23:13.846" v="17142" actId="465"/>
          <ac:spMkLst>
            <pc:docMk/>
            <pc:sldMk cId="785221003" sldId="918"/>
            <ac:spMk id="57" creationId="{B157BBC1-EAD4-45A3-5D5A-DD3191AD5488}"/>
          </ac:spMkLst>
        </pc:spChg>
        <pc:spChg chg="add mod">
          <ac:chgData name="Nataliia Chornii (UA)" userId="4e4b8b3d-5f31-49bb-9f80-8a25c04abfff" providerId="ADAL" clId="{EE97D3FE-9ACA-4467-98E5-532EC45D9D1C}" dt="2024-03-01T15:23:13.846" v="17142" actId="465"/>
          <ac:spMkLst>
            <pc:docMk/>
            <pc:sldMk cId="785221003" sldId="918"/>
            <ac:spMk id="58" creationId="{2BCD24FF-F127-6E9F-1E4E-2363B2E8176F}"/>
          </ac:spMkLst>
        </pc:spChg>
        <pc:spChg chg="add del mod">
          <ac:chgData name="Nataliia Chornii (UA)" userId="4e4b8b3d-5f31-49bb-9f80-8a25c04abfff" providerId="ADAL" clId="{EE97D3FE-9ACA-4467-98E5-532EC45D9D1C}" dt="2024-03-01T15:22:02.351" v="17097" actId="478"/>
          <ac:spMkLst>
            <pc:docMk/>
            <pc:sldMk cId="785221003" sldId="918"/>
            <ac:spMk id="59" creationId="{291BBA69-D575-0548-0E88-91CA0CB3E942}"/>
          </ac:spMkLst>
        </pc:spChg>
        <pc:spChg chg="add del mod">
          <ac:chgData name="Nataliia Chornii (UA)" userId="4e4b8b3d-5f31-49bb-9f80-8a25c04abfff" providerId="ADAL" clId="{EE97D3FE-9ACA-4467-98E5-532EC45D9D1C}" dt="2024-03-01T15:22:02.351" v="17097" actId="478"/>
          <ac:spMkLst>
            <pc:docMk/>
            <pc:sldMk cId="785221003" sldId="918"/>
            <ac:spMk id="60" creationId="{B249CFB6-A675-2E07-4398-A58ECA14A3F6}"/>
          </ac:spMkLst>
        </pc:spChg>
        <pc:spChg chg="add mod">
          <ac:chgData name="Nataliia Chornii (UA)" userId="4e4b8b3d-5f31-49bb-9f80-8a25c04abfff" providerId="ADAL" clId="{EE97D3FE-9ACA-4467-98E5-532EC45D9D1C}" dt="2024-03-01T15:23:13.846" v="17142" actId="465"/>
          <ac:spMkLst>
            <pc:docMk/>
            <pc:sldMk cId="785221003" sldId="918"/>
            <ac:spMk id="61" creationId="{E5F98DAA-B86C-DE09-039A-F11E1F0780A4}"/>
          </ac:spMkLst>
        </pc:spChg>
        <pc:spChg chg="add mod">
          <ac:chgData name="Nataliia Chornii (UA)" userId="4e4b8b3d-5f31-49bb-9f80-8a25c04abfff" providerId="ADAL" clId="{EE97D3FE-9ACA-4467-98E5-532EC45D9D1C}" dt="2024-03-01T15:22:44.240" v="17134"/>
          <ac:spMkLst>
            <pc:docMk/>
            <pc:sldMk cId="785221003" sldId="918"/>
            <ac:spMk id="62" creationId="{D4227107-781D-25F3-67A7-75215C978573}"/>
          </ac:spMkLst>
        </pc:spChg>
        <pc:spChg chg="add del mod">
          <ac:chgData name="Nataliia Chornii (UA)" userId="4e4b8b3d-5f31-49bb-9f80-8a25c04abfff" providerId="ADAL" clId="{EE97D3FE-9ACA-4467-98E5-532EC45D9D1C}" dt="2024-03-01T15:22:02.351" v="17097" actId="478"/>
          <ac:spMkLst>
            <pc:docMk/>
            <pc:sldMk cId="785221003" sldId="918"/>
            <ac:spMk id="71" creationId="{F72BC3DD-7D5A-9125-A00C-A261924FF068}"/>
          </ac:spMkLst>
        </pc:spChg>
        <pc:grpChg chg="add mod">
          <ac:chgData name="Nataliia Chornii (UA)" userId="4e4b8b3d-5f31-49bb-9f80-8a25c04abfff" providerId="ADAL" clId="{EE97D3FE-9ACA-4467-98E5-532EC45D9D1C}" dt="2024-03-04T10:00:19.911" v="20229"/>
          <ac:grpSpMkLst>
            <pc:docMk/>
            <pc:sldMk cId="785221003" sldId="918"/>
            <ac:grpSpMk id="2" creationId="{8F0CE6DF-CA25-0F5B-805D-A9F9AE65047A}"/>
          </ac:grpSpMkLst>
        </pc:grpChg>
        <pc:grpChg chg="add mod">
          <ac:chgData name="Nataliia Chornii (UA)" userId="4e4b8b3d-5f31-49bb-9f80-8a25c04abfff" providerId="ADAL" clId="{EE97D3FE-9ACA-4467-98E5-532EC45D9D1C}" dt="2024-03-01T15:20:59.939" v="17051"/>
          <ac:grpSpMkLst>
            <pc:docMk/>
            <pc:sldMk cId="785221003" sldId="918"/>
            <ac:grpSpMk id="25" creationId="{8EEEE7BA-6741-828E-2C36-7DB0A2110164}"/>
          </ac:grpSpMkLst>
        </pc:grpChg>
        <pc:grpChg chg="add del mod">
          <ac:chgData name="Nataliia Chornii (UA)" userId="4e4b8b3d-5f31-49bb-9f80-8a25c04abfff" providerId="ADAL" clId="{EE97D3FE-9ACA-4467-98E5-532EC45D9D1C}" dt="2024-03-01T15:21:50.317" v="17095" actId="165"/>
          <ac:grpSpMkLst>
            <pc:docMk/>
            <pc:sldMk cId="785221003" sldId="918"/>
            <ac:grpSpMk id="54" creationId="{8B26D26D-342F-A3C0-4525-B44F0ADD1AA2}"/>
          </ac:grpSpMkLst>
        </pc:grpChg>
        <pc:graphicFrameChg chg="add mod ord modVis replST">
          <ac:chgData name="Nataliia Chornii (UA)" userId="4e4b8b3d-5f31-49bb-9f80-8a25c04abfff" providerId="ADAL" clId="{EE97D3FE-9ACA-4467-98E5-532EC45D9D1C}" dt="2024-03-01T15:22:08.489" v="17126"/>
          <ac:graphicFrameMkLst>
            <pc:docMk/>
            <pc:sldMk cId="785221003" sldId="918"/>
            <ac:graphicFrameMk id="12" creationId="{D666C9E8-6DFD-D4D1-8102-E97D69DD7F8B}"/>
          </ac:graphicFrameMkLst>
        </pc:graphicFrameChg>
        <pc:cxnChg chg="add mod topLvl">
          <ac:chgData name="Nataliia Chornii (UA)" userId="4e4b8b3d-5f31-49bb-9f80-8a25c04abfff" providerId="ADAL" clId="{EE97D3FE-9ACA-4467-98E5-532EC45D9D1C}" dt="2024-03-01T15:21:50.317" v="17095" actId="165"/>
          <ac:cxnSpMkLst>
            <pc:docMk/>
            <pc:sldMk cId="785221003" sldId="918"/>
            <ac:cxnSpMk id="46" creationId="{27AFD618-7ECB-3F0F-6F2E-55DBF37153BC}"/>
          </ac:cxnSpMkLst>
        </pc:cxnChg>
        <pc:cxnChg chg="add mod">
          <ac:chgData name="Nataliia Chornii (UA)" userId="4e4b8b3d-5f31-49bb-9f80-8a25c04abfff" providerId="ADAL" clId="{EE97D3FE-9ACA-4467-98E5-532EC45D9D1C}" dt="2024-03-01T15:23:13.846" v="17142" actId="465"/>
          <ac:cxnSpMkLst>
            <pc:docMk/>
            <pc:sldMk cId="785221003" sldId="918"/>
            <ac:cxnSpMk id="63" creationId="{31B040CF-6540-E531-4FCB-56B59B80EB7F}"/>
          </ac:cxnSpMkLst>
        </pc:cxnChg>
        <pc:cxnChg chg="add mod">
          <ac:chgData name="Nataliia Chornii (UA)" userId="4e4b8b3d-5f31-49bb-9f80-8a25c04abfff" providerId="ADAL" clId="{EE97D3FE-9ACA-4467-98E5-532EC45D9D1C}" dt="2024-03-01T15:23:13.846" v="17142" actId="465"/>
          <ac:cxnSpMkLst>
            <pc:docMk/>
            <pc:sldMk cId="785221003" sldId="918"/>
            <ac:cxnSpMk id="64" creationId="{96AF9122-AE78-ECF6-9687-CBD7365E3A59}"/>
          </ac:cxnSpMkLst>
        </pc:cxnChg>
        <pc:cxnChg chg="add mod">
          <ac:chgData name="Nataliia Chornii (UA)" userId="4e4b8b3d-5f31-49bb-9f80-8a25c04abfff" providerId="ADAL" clId="{EE97D3FE-9ACA-4467-98E5-532EC45D9D1C}" dt="2024-03-01T15:23:13.846" v="17142" actId="465"/>
          <ac:cxnSpMkLst>
            <pc:docMk/>
            <pc:sldMk cId="785221003" sldId="918"/>
            <ac:cxnSpMk id="65" creationId="{8579AF8C-577F-0814-EFD6-67A60D929ED2}"/>
          </ac:cxnSpMkLst>
        </pc:cxnChg>
        <pc:cxnChg chg="add mod">
          <ac:chgData name="Nataliia Chornii (UA)" userId="4e4b8b3d-5f31-49bb-9f80-8a25c04abfff" providerId="ADAL" clId="{EE97D3FE-9ACA-4467-98E5-532EC45D9D1C}" dt="2024-03-01T15:23:13.846" v="17142" actId="465"/>
          <ac:cxnSpMkLst>
            <pc:docMk/>
            <pc:sldMk cId="785221003" sldId="918"/>
            <ac:cxnSpMk id="66" creationId="{73045070-3E8B-1D35-97F3-7226B0B5550A}"/>
          </ac:cxnSpMkLst>
        </pc:cxnChg>
        <pc:cxnChg chg="add mod">
          <ac:chgData name="Nataliia Chornii (UA)" userId="4e4b8b3d-5f31-49bb-9f80-8a25c04abfff" providerId="ADAL" clId="{EE97D3FE-9ACA-4467-98E5-532EC45D9D1C}" dt="2024-03-01T15:23:13.846" v="17142" actId="465"/>
          <ac:cxnSpMkLst>
            <pc:docMk/>
            <pc:sldMk cId="785221003" sldId="918"/>
            <ac:cxnSpMk id="67" creationId="{8303DD6B-855C-69D1-AA97-9B41427E38B6}"/>
          </ac:cxnSpMkLst>
        </pc:cxnChg>
        <pc:cxnChg chg="add del mod">
          <ac:chgData name="Nataliia Chornii (UA)" userId="4e4b8b3d-5f31-49bb-9f80-8a25c04abfff" providerId="ADAL" clId="{EE97D3FE-9ACA-4467-98E5-532EC45D9D1C}" dt="2024-03-01T15:22:02.351" v="17097" actId="478"/>
          <ac:cxnSpMkLst>
            <pc:docMk/>
            <pc:sldMk cId="785221003" sldId="918"/>
            <ac:cxnSpMk id="68" creationId="{5371978A-ACD9-85EE-86E7-3E5CFDDA6848}"/>
          </ac:cxnSpMkLst>
        </pc:cxnChg>
        <pc:cxnChg chg="add del mod">
          <ac:chgData name="Nataliia Chornii (UA)" userId="4e4b8b3d-5f31-49bb-9f80-8a25c04abfff" providerId="ADAL" clId="{EE97D3FE-9ACA-4467-98E5-532EC45D9D1C}" dt="2024-03-01T15:22:02.351" v="17097" actId="478"/>
          <ac:cxnSpMkLst>
            <pc:docMk/>
            <pc:sldMk cId="785221003" sldId="918"/>
            <ac:cxnSpMk id="69" creationId="{4D496650-DADC-2C00-3B88-31B2D386FBBD}"/>
          </ac:cxnSpMkLst>
        </pc:cxnChg>
        <pc:cxnChg chg="add del mod">
          <ac:chgData name="Nataliia Chornii (UA)" userId="4e4b8b3d-5f31-49bb-9f80-8a25c04abfff" providerId="ADAL" clId="{EE97D3FE-9ACA-4467-98E5-532EC45D9D1C}" dt="2024-03-01T15:22:02.351" v="17097" actId="478"/>
          <ac:cxnSpMkLst>
            <pc:docMk/>
            <pc:sldMk cId="785221003" sldId="918"/>
            <ac:cxnSpMk id="70" creationId="{B2E62905-AFB9-7777-B280-80CB214257D2}"/>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2:41.119" v="22439"/>
              <pc2:cmMkLst xmlns:pc2="http://schemas.microsoft.com/office/powerpoint/2019/9/main/command">
                <pc:docMk/>
                <pc:sldMk cId="785221003" sldId="918"/>
                <pc2:cmMk id="{39B106E8-C7E7-4FB5-92B8-011F0FC0D0A6}"/>
              </pc2:cmMkLst>
            </pc226:cmChg>
          </p:ext>
        </pc:extLst>
      </pc:sldChg>
      <pc:sldChg chg="addSp delSp modSp mod modClrScheme modCm chgLayout">
        <pc:chgData name="Nataliia Chornii (UA)" userId="4e4b8b3d-5f31-49bb-9f80-8a25c04abfff" providerId="ADAL" clId="{EE97D3FE-9ACA-4467-98E5-532EC45D9D1C}" dt="2024-03-11T14:29:59.392" v="24247" actId="478"/>
        <pc:sldMkLst>
          <pc:docMk/>
          <pc:sldMk cId="2008209705" sldId="919"/>
        </pc:sldMkLst>
        <pc:spChg chg="add mod">
          <ac:chgData name="Nataliia Chornii (UA)" userId="4e4b8b3d-5f31-49bb-9f80-8a25c04abfff" providerId="ADAL" clId="{EE97D3FE-9ACA-4467-98E5-532EC45D9D1C}" dt="2024-03-11T14:26:08.974" v="24088"/>
          <ac:spMkLst>
            <pc:docMk/>
            <pc:sldMk cId="2008209705" sldId="919"/>
            <ac:spMk id="2" creationId="{1A11DA6D-DA25-ED8D-5C57-8D2D2452FA26}"/>
          </ac:spMkLst>
        </pc:spChg>
        <pc:spChg chg="add del mod modVis">
          <ac:chgData name="Nataliia Chornii (UA)" userId="4e4b8b3d-5f31-49bb-9f80-8a25c04abfff" providerId="ADAL" clId="{EE97D3FE-9ACA-4467-98E5-532EC45D9D1C}" dt="2024-03-04T10:01:08.076" v="20316"/>
          <ac:spMkLst>
            <pc:docMk/>
            <pc:sldMk cId="2008209705" sldId="919"/>
            <ac:spMk id="2" creationId="{7E4C7FE7-55F1-72DD-75BC-C464DE7E098F}"/>
          </ac:spMkLst>
        </pc:spChg>
        <pc:spChg chg="del mod ord">
          <ac:chgData name="Nataliia Chornii (UA)" userId="4e4b8b3d-5f31-49bb-9f80-8a25c04abfff" providerId="ADAL" clId="{EE97D3FE-9ACA-4467-98E5-532EC45D9D1C}" dt="2024-03-01T13:21:51.294" v="12988" actId="478"/>
          <ac:spMkLst>
            <pc:docMk/>
            <pc:sldMk cId="2008209705" sldId="919"/>
            <ac:spMk id="2" creationId="{C9BF2A51-7557-EA83-DCCB-BCD30FDA6886}"/>
          </ac:spMkLst>
        </pc:spChg>
        <pc:spChg chg="mod ord">
          <ac:chgData name="Nataliia Chornii (UA)" userId="4e4b8b3d-5f31-49bb-9f80-8a25c04abfff" providerId="ADAL" clId="{EE97D3FE-9ACA-4467-98E5-532EC45D9D1C}" dt="2024-03-04T10:01:08.046" v="20274"/>
          <ac:spMkLst>
            <pc:docMk/>
            <pc:sldMk cId="2008209705" sldId="919"/>
            <ac:spMk id="3" creationId="{F4CCF02E-F3C4-C376-8F56-61BD85A2E74B}"/>
          </ac:spMkLst>
        </pc:spChg>
        <pc:spChg chg="mod ord">
          <ac:chgData name="Nataliia Chornii (UA)" userId="4e4b8b3d-5f31-49bb-9f80-8a25c04abfff" providerId="ADAL" clId="{EE97D3FE-9ACA-4467-98E5-532EC45D9D1C}" dt="2024-03-04T10:01:08.060" v="20276"/>
          <ac:spMkLst>
            <pc:docMk/>
            <pc:sldMk cId="2008209705" sldId="919"/>
            <ac:spMk id="4" creationId="{872966CD-924A-B939-E655-A6BAF817DCBF}"/>
          </ac:spMkLst>
        </pc:spChg>
        <pc:spChg chg="del">
          <ac:chgData name="Nataliia Chornii (UA)" userId="4e4b8b3d-5f31-49bb-9f80-8a25c04abfff" providerId="ADAL" clId="{EE97D3FE-9ACA-4467-98E5-532EC45D9D1C}" dt="2024-03-01T13:11:46.439" v="12383" actId="478"/>
          <ac:spMkLst>
            <pc:docMk/>
            <pc:sldMk cId="2008209705" sldId="919"/>
            <ac:spMk id="5" creationId="{FF11D90A-8D15-0E43-4C2E-D42257331C13}"/>
          </ac:spMkLst>
        </pc:spChg>
        <pc:spChg chg="del">
          <ac:chgData name="Nataliia Chornii (UA)" userId="4e4b8b3d-5f31-49bb-9f80-8a25c04abfff" providerId="ADAL" clId="{EE97D3FE-9ACA-4467-98E5-532EC45D9D1C}" dt="2024-03-01T13:11:46.439" v="12383" actId="478"/>
          <ac:spMkLst>
            <pc:docMk/>
            <pc:sldMk cId="2008209705" sldId="919"/>
            <ac:spMk id="6" creationId="{0F377277-EC46-FAC5-F379-194FCD82679C}"/>
          </ac:spMkLst>
        </pc:spChg>
        <pc:spChg chg="mod">
          <ac:chgData name="Nataliia Chornii (UA)" userId="4e4b8b3d-5f31-49bb-9f80-8a25c04abfff" providerId="ADAL" clId="{EE97D3FE-9ACA-4467-98E5-532EC45D9D1C}" dt="2024-03-11T14:26:08.974" v="24088"/>
          <ac:spMkLst>
            <pc:docMk/>
            <pc:sldMk cId="2008209705" sldId="919"/>
            <ac:spMk id="6" creationId="{152E980B-0604-EA1B-8C57-97CFA23B0841}"/>
          </ac:spMkLst>
        </pc:spChg>
        <pc:spChg chg="add del mod modVis">
          <ac:chgData name="Nataliia Chornii (UA)" userId="4e4b8b3d-5f31-49bb-9f80-8a25c04abfff" providerId="ADAL" clId="{EE97D3FE-9ACA-4467-98E5-532EC45D9D1C}" dt="2024-03-01T08:48:59.610" v="1427"/>
          <ac:spMkLst>
            <pc:docMk/>
            <pc:sldMk cId="2008209705" sldId="919"/>
            <ac:spMk id="7" creationId="{19D901D0-FE20-0FC2-C9F2-13934D534929}"/>
          </ac:spMkLst>
        </pc:spChg>
        <pc:spChg chg="mod">
          <ac:chgData name="Nataliia Chornii (UA)" userId="4e4b8b3d-5f31-49bb-9f80-8a25c04abfff" providerId="ADAL" clId="{EE97D3FE-9ACA-4467-98E5-532EC45D9D1C}" dt="2024-03-11T14:26:08.974" v="24088"/>
          <ac:spMkLst>
            <pc:docMk/>
            <pc:sldMk cId="2008209705" sldId="919"/>
            <ac:spMk id="7" creationId="{A12EB2C9-E210-E124-0273-45E27BBAAEA5}"/>
          </ac:spMkLst>
        </pc:spChg>
        <pc:spChg chg="mod">
          <ac:chgData name="Nataliia Chornii (UA)" userId="4e4b8b3d-5f31-49bb-9f80-8a25c04abfff" providerId="ADAL" clId="{EE97D3FE-9ACA-4467-98E5-532EC45D9D1C}" dt="2024-03-11T14:26:08.974" v="24088"/>
          <ac:spMkLst>
            <pc:docMk/>
            <pc:sldMk cId="2008209705" sldId="919"/>
            <ac:spMk id="8" creationId="{156B2AC7-A7FE-B1BA-FE9A-5319530BAFE9}"/>
          </ac:spMkLst>
        </pc:spChg>
        <pc:spChg chg="del mod ord">
          <ac:chgData name="Nataliia Chornii (UA)" userId="4e4b8b3d-5f31-49bb-9f80-8a25c04abfff" providerId="ADAL" clId="{EE97D3FE-9ACA-4467-98E5-532EC45D9D1C}" dt="2024-03-01T13:13:45.128" v="12464" actId="478"/>
          <ac:spMkLst>
            <pc:docMk/>
            <pc:sldMk cId="2008209705" sldId="919"/>
            <ac:spMk id="8" creationId="{598AB23C-0BF9-85FE-4B7A-DC0CF1A85603}"/>
          </ac:spMkLst>
        </pc:spChg>
        <pc:spChg chg="del mod ord">
          <ac:chgData name="Nataliia Chornii (UA)" userId="4e4b8b3d-5f31-49bb-9f80-8a25c04abfff" providerId="ADAL" clId="{EE97D3FE-9ACA-4467-98E5-532EC45D9D1C}" dt="2024-03-01T13:27:40.456" v="13011" actId="478"/>
          <ac:spMkLst>
            <pc:docMk/>
            <pc:sldMk cId="2008209705" sldId="919"/>
            <ac:spMk id="10" creationId="{489B7680-E5EE-2A50-7733-37F2F144B869}"/>
          </ac:spMkLst>
        </pc:spChg>
        <pc:spChg chg="mod">
          <ac:chgData name="Nataliia Chornii (UA)" userId="4e4b8b3d-5f31-49bb-9f80-8a25c04abfff" providerId="ADAL" clId="{EE97D3FE-9ACA-4467-98E5-532EC45D9D1C}" dt="2024-03-11T14:26:08.974" v="24088"/>
          <ac:spMkLst>
            <pc:docMk/>
            <pc:sldMk cId="2008209705" sldId="919"/>
            <ac:spMk id="10" creationId="{A2887567-A851-FD6C-AF65-C74F0409C5D8}"/>
          </ac:spMkLst>
        </pc:spChg>
        <pc:spChg chg="del mod ord">
          <ac:chgData name="Nataliia Chornii (UA)" userId="4e4b8b3d-5f31-49bb-9f80-8a25c04abfff" providerId="ADAL" clId="{EE97D3FE-9ACA-4467-98E5-532EC45D9D1C}" dt="2024-03-01T13:13:45.128" v="12464" actId="478"/>
          <ac:spMkLst>
            <pc:docMk/>
            <pc:sldMk cId="2008209705" sldId="919"/>
            <ac:spMk id="11" creationId="{327B1A4B-6980-7B00-091C-6006703B82A0}"/>
          </ac:spMkLst>
        </pc:spChg>
        <pc:spChg chg="mod">
          <ac:chgData name="Nataliia Chornii (UA)" userId="4e4b8b3d-5f31-49bb-9f80-8a25c04abfff" providerId="ADAL" clId="{EE97D3FE-9ACA-4467-98E5-532EC45D9D1C}" dt="2024-03-11T14:26:08.974" v="24088"/>
          <ac:spMkLst>
            <pc:docMk/>
            <pc:sldMk cId="2008209705" sldId="919"/>
            <ac:spMk id="11" creationId="{3727D235-C9A9-C09F-892D-2D10558F980F}"/>
          </ac:spMkLst>
        </pc:spChg>
        <pc:spChg chg="mod ord">
          <ac:chgData name="Nataliia Chornii (UA)" userId="4e4b8b3d-5f31-49bb-9f80-8a25c04abfff" providerId="ADAL" clId="{EE97D3FE-9ACA-4467-98E5-532EC45D9D1C}" dt="2024-03-04T10:01:08.046" v="20252"/>
          <ac:spMkLst>
            <pc:docMk/>
            <pc:sldMk cId="2008209705" sldId="919"/>
            <ac:spMk id="12" creationId="{F17E280A-26FF-1631-ADC9-96AE3A637C2C}"/>
          </ac:spMkLst>
        </pc:spChg>
        <pc:spChg chg="mod ord">
          <ac:chgData name="Nataliia Chornii (UA)" userId="4e4b8b3d-5f31-49bb-9f80-8a25c04abfff" providerId="ADAL" clId="{EE97D3FE-9ACA-4467-98E5-532EC45D9D1C}" dt="2024-03-04T10:01:08.046" v="20254"/>
          <ac:spMkLst>
            <pc:docMk/>
            <pc:sldMk cId="2008209705" sldId="919"/>
            <ac:spMk id="13" creationId="{318FD8EE-145C-CF57-FA8A-2208CA63BD22}"/>
          </ac:spMkLst>
        </pc:spChg>
        <pc:spChg chg="add del mod modVis">
          <ac:chgData name="Nataliia Chornii (UA)" userId="4e4b8b3d-5f31-49bb-9f80-8a25c04abfff" providerId="ADAL" clId="{EE97D3FE-9ACA-4467-98E5-532EC45D9D1C}" dt="2024-03-01T08:49:33.777" v="2832"/>
          <ac:spMkLst>
            <pc:docMk/>
            <pc:sldMk cId="2008209705" sldId="919"/>
            <ac:spMk id="14" creationId="{27941896-57EC-EB22-3DEB-88A55F6E91C1}"/>
          </ac:spMkLst>
        </pc:spChg>
        <pc:spChg chg="mod">
          <ac:chgData name="Nataliia Chornii (UA)" userId="4e4b8b3d-5f31-49bb-9f80-8a25c04abfff" providerId="ADAL" clId="{EE97D3FE-9ACA-4467-98E5-532EC45D9D1C}" dt="2024-03-11T14:26:08.974" v="24088"/>
          <ac:spMkLst>
            <pc:docMk/>
            <pc:sldMk cId="2008209705" sldId="919"/>
            <ac:spMk id="14" creationId="{806CF869-9FB9-C60B-30A1-F3CF6D45058E}"/>
          </ac:spMkLst>
        </pc:spChg>
        <pc:spChg chg="add mod">
          <ac:chgData name="Nataliia Chornii (UA)" userId="4e4b8b3d-5f31-49bb-9f80-8a25c04abfff" providerId="ADAL" clId="{EE97D3FE-9ACA-4467-98E5-532EC45D9D1C}" dt="2024-03-11T14:29:58.219" v="24246"/>
          <ac:spMkLst>
            <pc:docMk/>
            <pc:sldMk cId="2008209705" sldId="919"/>
            <ac:spMk id="15" creationId="{5AD0BD56-73F9-7FB2-F558-97697187F40F}"/>
          </ac:spMkLst>
        </pc:spChg>
        <pc:spChg chg="add del mod modVis">
          <ac:chgData name="Nataliia Chornii (UA)" userId="4e4b8b3d-5f31-49bb-9f80-8a25c04abfff" providerId="ADAL" clId="{EE97D3FE-9ACA-4467-98E5-532EC45D9D1C}" dt="2024-03-01T08:49:59.804" v="3820"/>
          <ac:spMkLst>
            <pc:docMk/>
            <pc:sldMk cId="2008209705" sldId="919"/>
            <ac:spMk id="15" creationId="{AF71A073-685D-C316-CC6A-FFDE69F98FDE}"/>
          </ac:spMkLst>
        </pc:spChg>
        <pc:spChg chg="mod ord topLvl">
          <ac:chgData name="Nataliia Chornii (UA)" userId="4e4b8b3d-5f31-49bb-9f80-8a25c04abfff" providerId="ADAL" clId="{EE97D3FE-9ACA-4467-98E5-532EC45D9D1C}" dt="2024-03-04T10:01:08.060" v="20292"/>
          <ac:spMkLst>
            <pc:docMk/>
            <pc:sldMk cId="2008209705" sldId="919"/>
            <ac:spMk id="16" creationId="{30819613-CE74-49B6-0807-44FDBB81D466}"/>
          </ac:spMkLst>
        </pc:spChg>
        <pc:spChg chg="add del mod modVis">
          <ac:chgData name="Nataliia Chornii (UA)" userId="4e4b8b3d-5f31-49bb-9f80-8a25c04abfff" providerId="ADAL" clId="{EE97D3FE-9ACA-4467-98E5-532EC45D9D1C}" dt="2024-03-01T08:51:26.124" v="4808"/>
          <ac:spMkLst>
            <pc:docMk/>
            <pc:sldMk cId="2008209705" sldId="919"/>
            <ac:spMk id="17" creationId="{0D403144-4E7E-B444-0A42-33E700FC5126}"/>
          </ac:spMkLst>
        </pc:spChg>
        <pc:spChg chg="mod ord">
          <ac:chgData name="Nataliia Chornii (UA)" userId="4e4b8b3d-5f31-49bb-9f80-8a25c04abfff" providerId="ADAL" clId="{EE97D3FE-9ACA-4467-98E5-532EC45D9D1C}" dt="2024-03-04T10:01:08.060" v="20294"/>
          <ac:spMkLst>
            <pc:docMk/>
            <pc:sldMk cId="2008209705" sldId="919"/>
            <ac:spMk id="18" creationId="{E1D4AC8F-0322-E8A8-E509-5AF71473A8F4}"/>
          </ac:spMkLst>
        </pc:spChg>
        <pc:spChg chg="add del mod modVis">
          <ac:chgData name="Nataliia Chornii (UA)" userId="4e4b8b3d-5f31-49bb-9f80-8a25c04abfff" providerId="ADAL" clId="{EE97D3FE-9ACA-4467-98E5-532EC45D9D1C}" dt="2024-03-01T08:51:56.127" v="5797"/>
          <ac:spMkLst>
            <pc:docMk/>
            <pc:sldMk cId="2008209705" sldId="919"/>
            <ac:spMk id="19" creationId="{7CD3BC40-CBD0-EA2D-704C-3C157D5DD0B1}"/>
          </ac:spMkLst>
        </pc:spChg>
        <pc:spChg chg="mod ord topLvl">
          <ac:chgData name="Nataliia Chornii (UA)" userId="4e4b8b3d-5f31-49bb-9f80-8a25c04abfff" providerId="ADAL" clId="{EE97D3FE-9ACA-4467-98E5-532EC45D9D1C}" dt="2024-03-04T10:01:08.060" v="20290"/>
          <ac:spMkLst>
            <pc:docMk/>
            <pc:sldMk cId="2008209705" sldId="919"/>
            <ac:spMk id="20" creationId="{BCB0856A-D775-E9B2-A22B-A661D9F8D43C}"/>
          </ac:spMkLst>
        </pc:spChg>
        <pc:spChg chg="add del mod modVis">
          <ac:chgData name="Nataliia Chornii (UA)" userId="4e4b8b3d-5f31-49bb-9f80-8a25c04abfff" providerId="ADAL" clId="{EE97D3FE-9ACA-4467-98E5-532EC45D9D1C}" dt="2024-03-01T08:52:18.284" v="6785"/>
          <ac:spMkLst>
            <pc:docMk/>
            <pc:sldMk cId="2008209705" sldId="919"/>
            <ac:spMk id="21" creationId="{B5A53007-7753-495C-6C14-DA283BBD3FE3}"/>
          </ac:spMkLst>
        </pc:spChg>
        <pc:spChg chg="mod ord">
          <ac:chgData name="Nataliia Chornii (UA)" userId="4e4b8b3d-5f31-49bb-9f80-8a25c04abfff" providerId="ADAL" clId="{EE97D3FE-9ACA-4467-98E5-532EC45D9D1C}" dt="2024-03-04T10:01:08.060" v="20278"/>
          <ac:spMkLst>
            <pc:docMk/>
            <pc:sldMk cId="2008209705" sldId="919"/>
            <ac:spMk id="22" creationId="{044C1CE5-09D8-63ED-7E23-4A59A70CC41B}"/>
          </ac:spMkLst>
        </pc:spChg>
        <pc:spChg chg="del mod ord">
          <ac:chgData name="Nataliia Chornii (UA)" userId="4e4b8b3d-5f31-49bb-9f80-8a25c04abfff" providerId="ADAL" clId="{EE97D3FE-9ACA-4467-98E5-532EC45D9D1C}" dt="2024-03-01T13:25:47.431" v="12991" actId="478"/>
          <ac:spMkLst>
            <pc:docMk/>
            <pc:sldMk cId="2008209705" sldId="919"/>
            <ac:spMk id="23" creationId="{EEA0E558-7D58-6458-34C2-801898E3B0F7}"/>
          </ac:spMkLst>
        </pc:spChg>
        <pc:spChg chg="add del mod ord">
          <ac:chgData name="Nataliia Chornii (UA)" userId="4e4b8b3d-5f31-49bb-9f80-8a25c04abfff" providerId="ADAL" clId="{EE97D3FE-9ACA-4467-98E5-532EC45D9D1C}" dt="2024-03-01T13:11:53.057" v="12411" actId="478"/>
          <ac:spMkLst>
            <pc:docMk/>
            <pc:sldMk cId="2008209705" sldId="919"/>
            <ac:spMk id="24" creationId="{145E4574-92CD-FBE7-613D-090842E4C83E}"/>
          </ac:spMkLst>
        </pc:spChg>
        <pc:spChg chg="add del mod modVis">
          <ac:chgData name="Nataliia Chornii (UA)" userId="4e4b8b3d-5f31-49bb-9f80-8a25c04abfff" providerId="ADAL" clId="{EE97D3FE-9ACA-4467-98E5-532EC45D9D1C}" dt="2024-03-01T13:11:51.669" v="12408"/>
          <ac:spMkLst>
            <pc:docMk/>
            <pc:sldMk cId="2008209705" sldId="919"/>
            <ac:spMk id="25" creationId="{FE521BDC-F21F-11EB-4A80-E31BB8748731}"/>
          </ac:spMkLst>
        </pc:spChg>
        <pc:spChg chg="add mod ord topLvl">
          <ac:chgData name="Nataliia Chornii (UA)" userId="4e4b8b3d-5f31-49bb-9f80-8a25c04abfff" providerId="ADAL" clId="{EE97D3FE-9ACA-4467-98E5-532EC45D9D1C}" dt="2024-03-04T10:01:08.060" v="20282"/>
          <ac:spMkLst>
            <pc:docMk/>
            <pc:sldMk cId="2008209705" sldId="919"/>
            <ac:spMk id="26" creationId="{F4BD1622-7D50-0F82-F4EA-9B149E2C9337}"/>
          </ac:spMkLst>
        </pc:spChg>
        <pc:spChg chg="add mod ord">
          <ac:chgData name="Nataliia Chornii (UA)" userId="4e4b8b3d-5f31-49bb-9f80-8a25c04abfff" providerId="ADAL" clId="{EE97D3FE-9ACA-4467-98E5-532EC45D9D1C}" dt="2024-03-04T10:01:08.046" v="20266"/>
          <ac:spMkLst>
            <pc:docMk/>
            <pc:sldMk cId="2008209705" sldId="919"/>
            <ac:spMk id="27" creationId="{7534A09C-F780-703E-D29D-E15D964028ED}"/>
          </ac:spMkLst>
        </pc:spChg>
        <pc:spChg chg="add mod ord topLvl">
          <ac:chgData name="Nataliia Chornii (UA)" userId="4e4b8b3d-5f31-49bb-9f80-8a25c04abfff" providerId="ADAL" clId="{EE97D3FE-9ACA-4467-98E5-532EC45D9D1C}" dt="2024-03-04T10:01:08.060" v="20284"/>
          <ac:spMkLst>
            <pc:docMk/>
            <pc:sldMk cId="2008209705" sldId="919"/>
            <ac:spMk id="28" creationId="{940F388E-486C-4144-FC48-8EC3F5EB8934}"/>
          </ac:spMkLst>
        </pc:spChg>
        <pc:spChg chg="add mod ord topLvl">
          <ac:chgData name="Nataliia Chornii (UA)" userId="4e4b8b3d-5f31-49bb-9f80-8a25c04abfff" providerId="ADAL" clId="{EE97D3FE-9ACA-4467-98E5-532EC45D9D1C}" dt="2024-03-04T10:01:08.060" v="20286"/>
          <ac:spMkLst>
            <pc:docMk/>
            <pc:sldMk cId="2008209705" sldId="919"/>
            <ac:spMk id="29" creationId="{956EC9FA-D79D-EBB6-415B-5CDF58A619D3}"/>
          </ac:spMkLst>
        </pc:spChg>
        <pc:spChg chg="add mod ord">
          <ac:chgData name="Nataliia Chornii (UA)" userId="4e4b8b3d-5f31-49bb-9f80-8a25c04abfff" providerId="ADAL" clId="{EE97D3FE-9ACA-4467-98E5-532EC45D9D1C}" dt="2024-03-04T10:01:08.046" v="20268"/>
          <ac:spMkLst>
            <pc:docMk/>
            <pc:sldMk cId="2008209705" sldId="919"/>
            <ac:spMk id="30" creationId="{49150277-B275-65B3-4400-351CC3893360}"/>
          </ac:spMkLst>
        </pc:spChg>
        <pc:spChg chg="add mod ord">
          <ac:chgData name="Nataliia Chornii (UA)" userId="4e4b8b3d-5f31-49bb-9f80-8a25c04abfff" providerId="ADAL" clId="{EE97D3FE-9ACA-4467-98E5-532EC45D9D1C}" dt="2024-03-04T10:01:08.046" v="20270"/>
          <ac:spMkLst>
            <pc:docMk/>
            <pc:sldMk cId="2008209705" sldId="919"/>
            <ac:spMk id="31" creationId="{4DB1E4EC-FA2B-5BDF-CD75-83FF77AC514E}"/>
          </ac:spMkLst>
        </pc:spChg>
        <pc:spChg chg="add mod ord topLvl">
          <ac:chgData name="Nataliia Chornii (UA)" userId="4e4b8b3d-5f31-49bb-9f80-8a25c04abfff" providerId="ADAL" clId="{EE97D3FE-9ACA-4467-98E5-532EC45D9D1C}" dt="2024-03-04T10:01:08.060" v="20288"/>
          <ac:spMkLst>
            <pc:docMk/>
            <pc:sldMk cId="2008209705" sldId="919"/>
            <ac:spMk id="32" creationId="{D158687D-E8E5-64E9-B572-2CDA9BEEEC9E}"/>
          </ac:spMkLst>
        </pc:spChg>
        <pc:spChg chg="add mod ord">
          <ac:chgData name="Nataliia Chornii (UA)" userId="4e4b8b3d-5f31-49bb-9f80-8a25c04abfff" providerId="ADAL" clId="{EE97D3FE-9ACA-4467-98E5-532EC45D9D1C}" dt="2024-03-04T10:01:08.046" v="20272"/>
          <ac:spMkLst>
            <pc:docMk/>
            <pc:sldMk cId="2008209705" sldId="919"/>
            <ac:spMk id="33" creationId="{17411BF9-B1C6-CBA6-B71F-2D85B6DD58F7}"/>
          </ac:spMkLst>
        </pc:spChg>
        <pc:spChg chg="add del mod modVis">
          <ac:chgData name="Nataliia Chornii (UA)" userId="4e4b8b3d-5f31-49bb-9f80-8a25c04abfff" providerId="ADAL" clId="{EE97D3FE-9ACA-4467-98E5-532EC45D9D1C}" dt="2024-03-01T13:13:57.224" v="12500"/>
          <ac:spMkLst>
            <pc:docMk/>
            <pc:sldMk cId="2008209705" sldId="919"/>
            <ac:spMk id="34" creationId="{8409701F-ACE7-3175-272F-6CF949F888A0}"/>
          </ac:spMkLst>
        </pc:spChg>
        <pc:spChg chg="add mod ord">
          <ac:chgData name="Nataliia Chornii (UA)" userId="4e4b8b3d-5f31-49bb-9f80-8a25c04abfff" providerId="ADAL" clId="{EE97D3FE-9ACA-4467-98E5-532EC45D9D1C}" dt="2024-03-04T10:01:08.046" v="20262"/>
          <ac:spMkLst>
            <pc:docMk/>
            <pc:sldMk cId="2008209705" sldId="919"/>
            <ac:spMk id="35" creationId="{D0FFCE22-3355-23A5-C05B-A47142787789}"/>
          </ac:spMkLst>
        </pc:spChg>
        <pc:spChg chg="add mod ord">
          <ac:chgData name="Nataliia Chornii (UA)" userId="4e4b8b3d-5f31-49bb-9f80-8a25c04abfff" providerId="ADAL" clId="{EE97D3FE-9ACA-4467-98E5-532EC45D9D1C}" dt="2024-03-04T10:01:08.046" v="20260"/>
          <ac:spMkLst>
            <pc:docMk/>
            <pc:sldMk cId="2008209705" sldId="919"/>
            <ac:spMk id="36" creationId="{A13A384A-4773-8E59-A5BC-38C350A535AD}"/>
          </ac:spMkLst>
        </pc:spChg>
        <pc:spChg chg="add mod ord">
          <ac:chgData name="Nataliia Chornii (UA)" userId="4e4b8b3d-5f31-49bb-9f80-8a25c04abfff" providerId="ADAL" clId="{EE97D3FE-9ACA-4467-98E5-532EC45D9D1C}" dt="2024-03-04T10:01:08.060" v="20296"/>
          <ac:spMkLst>
            <pc:docMk/>
            <pc:sldMk cId="2008209705" sldId="919"/>
            <ac:spMk id="37" creationId="{FBB83616-D769-3BCE-5CC9-32E44E1D0490}"/>
          </ac:spMkLst>
        </pc:spChg>
        <pc:spChg chg="add mod ord">
          <ac:chgData name="Nataliia Chornii (UA)" userId="4e4b8b3d-5f31-49bb-9f80-8a25c04abfff" providerId="ADAL" clId="{EE97D3FE-9ACA-4467-98E5-532EC45D9D1C}" dt="2024-03-04T10:01:08.060" v="20298"/>
          <ac:spMkLst>
            <pc:docMk/>
            <pc:sldMk cId="2008209705" sldId="919"/>
            <ac:spMk id="38" creationId="{8F9FA745-238A-E98E-8CF0-3C76151FB7AE}"/>
          </ac:spMkLst>
        </pc:spChg>
        <pc:spChg chg="add mod ord topLvl">
          <ac:chgData name="Nataliia Chornii (UA)" userId="4e4b8b3d-5f31-49bb-9f80-8a25c04abfff" providerId="ADAL" clId="{EE97D3FE-9ACA-4467-98E5-532EC45D9D1C}" dt="2024-03-04T10:01:08.060" v="20280"/>
          <ac:spMkLst>
            <pc:docMk/>
            <pc:sldMk cId="2008209705" sldId="919"/>
            <ac:spMk id="39" creationId="{B1C2BD6E-F200-2036-F362-0FBDE1CE31EC}"/>
          </ac:spMkLst>
        </pc:spChg>
        <pc:spChg chg="add mod ord">
          <ac:chgData name="Nataliia Chornii (UA)" userId="4e4b8b3d-5f31-49bb-9f80-8a25c04abfff" providerId="ADAL" clId="{EE97D3FE-9ACA-4467-98E5-532EC45D9D1C}" dt="2024-03-04T10:01:08.046" v="20264"/>
          <ac:spMkLst>
            <pc:docMk/>
            <pc:sldMk cId="2008209705" sldId="919"/>
            <ac:spMk id="40" creationId="{A0A100B2-7EFA-1260-2F90-7D239569594F}"/>
          </ac:spMkLst>
        </pc:spChg>
        <pc:spChg chg="add del mod modVis">
          <ac:chgData name="Nataliia Chornii (UA)" userId="4e4b8b3d-5f31-49bb-9f80-8a25c04abfff" providerId="ADAL" clId="{EE97D3FE-9ACA-4467-98E5-532EC45D9D1C}" dt="2024-03-01T13:17:38.777" v="12873"/>
          <ac:spMkLst>
            <pc:docMk/>
            <pc:sldMk cId="2008209705" sldId="919"/>
            <ac:spMk id="41" creationId="{B6B2A400-33CD-E6E9-B60C-2011F028010A}"/>
          </ac:spMkLst>
        </pc:spChg>
        <pc:spChg chg="add del mod modVis">
          <ac:chgData name="Nataliia Chornii (UA)" userId="4e4b8b3d-5f31-49bb-9f80-8a25c04abfff" providerId="ADAL" clId="{EE97D3FE-9ACA-4467-98E5-532EC45D9D1C}" dt="2024-03-01T13:19:31.335" v="12971"/>
          <ac:spMkLst>
            <pc:docMk/>
            <pc:sldMk cId="2008209705" sldId="919"/>
            <ac:spMk id="42" creationId="{F29FD36D-8937-4773-3A21-4A8EE86BC395}"/>
          </ac:spMkLst>
        </pc:spChg>
        <pc:spChg chg="add mod ord">
          <ac:chgData name="Nataliia Chornii (UA)" userId="4e4b8b3d-5f31-49bb-9f80-8a25c04abfff" providerId="ADAL" clId="{EE97D3FE-9ACA-4467-98E5-532EC45D9D1C}" dt="2024-03-04T10:01:08.070" v="20300"/>
          <ac:spMkLst>
            <pc:docMk/>
            <pc:sldMk cId="2008209705" sldId="919"/>
            <ac:spMk id="43" creationId="{08672088-BEE3-1A7C-8215-2BB54DC2401B}"/>
          </ac:spMkLst>
        </pc:spChg>
        <pc:spChg chg="add mod ord">
          <ac:chgData name="Nataliia Chornii (UA)" userId="4e4b8b3d-5f31-49bb-9f80-8a25c04abfff" providerId="ADAL" clId="{EE97D3FE-9ACA-4467-98E5-532EC45D9D1C}" dt="2024-03-04T10:01:08.070" v="20302"/>
          <ac:spMkLst>
            <pc:docMk/>
            <pc:sldMk cId="2008209705" sldId="919"/>
            <ac:spMk id="44" creationId="{6FF10B2E-1E3F-70CE-7D27-FC202A31080A}"/>
          </ac:spMkLst>
        </pc:spChg>
        <pc:spChg chg="add del mod">
          <ac:chgData name="Nataliia Chornii (UA)" userId="4e4b8b3d-5f31-49bb-9f80-8a25c04abfff" providerId="ADAL" clId="{EE97D3FE-9ACA-4467-98E5-532EC45D9D1C}" dt="2024-03-01T13:20:01.674" v="12981" actId="478"/>
          <ac:spMkLst>
            <pc:docMk/>
            <pc:sldMk cId="2008209705" sldId="919"/>
            <ac:spMk id="45" creationId="{39F5F237-D708-66F9-3D2F-B7AC0D2BF73D}"/>
          </ac:spMkLst>
        </pc:spChg>
        <pc:spChg chg="add mod ord">
          <ac:chgData name="Nataliia Chornii (UA)" userId="4e4b8b3d-5f31-49bb-9f80-8a25c04abfff" providerId="ADAL" clId="{EE97D3FE-9ACA-4467-98E5-532EC45D9D1C}" dt="2024-03-04T10:01:08.070" v="20306"/>
          <ac:spMkLst>
            <pc:docMk/>
            <pc:sldMk cId="2008209705" sldId="919"/>
            <ac:spMk id="47" creationId="{C8FD1C37-F5B4-5E7C-A965-521B4DCC5EDC}"/>
          </ac:spMkLst>
        </pc:spChg>
        <pc:spChg chg="add mod ord">
          <ac:chgData name="Nataliia Chornii (UA)" userId="4e4b8b3d-5f31-49bb-9f80-8a25c04abfff" providerId="ADAL" clId="{EE97D3FE-9ACA-4467-98E5-532EC45D9D1C}" dt="2024-03-04T10:01:08.070" v="20308"/>
          <ac:spMkLst>
            <pc:docMk/>
            <pc:sldMk cId="2008209705" sldId="919"/>
            <ac:spMk id="48" creationId="{033F6E87-CC9A-057D-8CE2-3979C0987503}"/>
          </ac:spMkLst>
        </pc:spChg>
        <pc:spChg chg="add mod ord">
          <ac:chgData name="Nataliia Chornii (UA)" userId="4e4b8b3d-5f31-49bb-9f80-8a25c04abfff" providerId="ADAL" clId="{EE97D3FE-9ACA-4467-98E5-532EC45D9D1C}" dt="2024-03-04T10:01:08.070" v="20310"/>
          <ac:spMkLst>
            <pc:docMk/>
            <pc:sldMk cId="2008209705" sldId="919"/>
            <ac:spMk id="49" creationId="{48F28BF5-CEB5-F9B7-B7D3-08B863298812}"/>
          </ac:spMkLst>
        </pc:spChg>
        <pc:spChg chg="add del mod ord">
          <ac:chgData name="Nataliia Chornii (UA)" userId="4e4b8b3d-5f31-49bb-9f80-8a25c04abfff" providerId="ADAL" clId="{EE97D3FE-9ACA-4467-98E5-532EC45D9D1C}" dt="2024-03-11T14:29:59.392" v="24247" actId="478"/>
          <ac:spMkLst>
            <pc:docMk/>
            <pc:sldMk cId="2008209705" sldId="919"/>
            <ac:spMk id="50" creationId="{A6E0EF21-F851-B0E9-4F3F-E386F3795999}"/>
          </ac:spMkLst>
        </pc:spChg>
        <pc:spChg chg="add del mod ord">
          <ac:chgData name="Nataliia Chornii (UA)" userId="4e4b8b3d-5f31-49bb-9f80-8a25c04abfff" providerId="ADAL" clId="{EE97D3FE-9ACA-4467-98E5-532EC45D9D1C}" dt="2024-03-01T13:35:21.323" v="13481"/>
          <ac:spMkLst>
            <pc:docMk/>
            <pc:sldMk cId="2008209705" sldId="919"/>
            <ac:spMk id="51" creationId="{D732DC80-AC22-BD27-0034-F29452D0FC4B}"/>
          </ac:spMkLst>
        </pc:spChg>
        <pc:spChg chg="add del mod ord">
          <ac:chgData name="Nataliia Chornii (UA)" userId="4e4b8b3d-5f31-49bb-9f80-8a25c04abfff" providerId="ADAL" clId="{EE97D3FE-9ACA-4467-98E5-532EC45D9D1C}" dt="2024-03-01T13:35:26.104" v="13482"/>
          <ac:spMkLst>
            <pc:docMk/>
            <pc:sldMk cId="2008209705" sldId="919"/>
            <ac:spMk id="52" creationId="{6F015928-4334-675D-69FD-11ECF7B43904}"/>
          </ac:spMkLst>
        </pc:spChg>
        <pc:spChg chg="add del mod modVis">
          <ac:chgData name="Nataliia Chornii (UA)" userId="4e4b8b3d-5f31-49bb-9f80-8a25c04abfff" providerId="ADAL" clId="{EE97D3FE-9ACA-4467-98E5-532EC45D9D1C}" dt="2024-03-01T13:34:11.974" v="13107"/>
          <ac:spMkLst>
            <pc:docMk/>
            <pc:sldMk cId="2008209705" sldId="919"/>
            <ac:spMk id="53" creationId="{417475C3-B7E4-403B-6F9A-DB02E4CF1A53}"/>
          </ac:spMkLst>
        </pc:spChg>
        <pc:grpChg chg="add mod">
          <ac:chgData name="Nataliia Chornii (UA)" userId="4e4b8b3d-5f31-49bb-9f80-8a25c04abfff" providerId="ADAL" clId="{EE97D3FE-9ACA-4467-98E5-532EC45D9D1C}" dt="2024-03-11T14:26:08.974" v="24088"/>
          <ac:grpSpMkLst>
            <pc:docMk/>
            <pc:sldMk cId="2008209705" sldId="919"/>
            <ac:grpSpMk id="5" creationId="{C6AB7A3D-ED4C-D6A5-8418-660206F05726}"/>
          </ac:grpSpMkLst>
        </pc:grpChg>
        <pc:grpChg chg="add del mod">
          <ac:chgData name="Nataliia Chornii (UA)" userId="4e4b8b3d-5f31-49bb-9f80-8a25c04abfff" providerId="ADAL" clId="{EE97D3FE-9ACA-4467-98E5-532EC45D9D1C}" dt="2024-03-01T14:29:52.905" v="14706" actId="165"/>
          <ac:grpSpMkLst>
            <pc:docMk/>
            <pc:sldMk cId="2008209705" sldId="919"/>
            <ac:grpSpMk id="60" creationId="{2ACC07B1-6F34-468E-16F5-AB6426A40AB8}"/>
          </ac:grpSpMkLst>
        </pc:grpChg>
        <pc:graphicFrameChg chg="add mod ord modVis replST">
          <ac:chgData name="Nataliia Chornii (UA)" userId="4e4b8b3d-5f31-49bb-9f80-8a25c04abfff" providerId="ADAL" clId="{EE97D3FE-9ACA-4467-98E5-532EC45D9D1C}" dt="2024-03-04T10:01:08.076" v="20318"/>
          <ac:graphicFrameMkLst>
            <pc:docMk/>
            <pc:sldMk cId="2008209705" sldId="919"/>
            <ac:graphicFrameMk id="9" creationId="{86CB3FF0-42B4-2144-B8DF-5D9275EFE50B}"/>
          </ac:graphicFrameMkLst>
        </pc:graphicFrameChg>
        <pc:picChg chg="add del mod ord">
          <ac:chgData name="Nataliia Chornii (UA)" userId="4e4b8b3d-5f31-49bb-9f80-8a25c04abfff" providerId="ADAL" clId="{EE97D3FE-9ACA-4467-98E5-532EC45D9D1C}" dt="2024-03-01T13:35:21.323" v="13481"/>
          <ac:picMkLst>
            <pc:docMk/>
            <pc:sldMk cId="2008209705" sldId="919"/>
            <ac:picMk id="55" creationId="{9AE73A19-9D42-464F-4522-A9E94697DEAB}"/>
          </ac:picMkLst>
        </pc:picChg>
        <pc:picChg chg="add del mod ord">
          <ac:chgData name="Nataliia Chornii (UA)" userId="4e4b8b3d-5f31-49bb-9f80-8a25c04abfff" providerId="ADAL" clId="{EE97D3FE-9ACA-4467-98E5-532EC45D9D1C}" dt="2024-03-01T13:35:26.104" v="13482"/>
          <ac:picMkLst>
            <pc:docMk/>
            <pc:sldMk cId="2008209705" sldId="919"/>
            <ac:picMk id="57" creationId="{7B4FD363-40FD-332C-6CC6-0959C2862E27}"/>
          </ac:picMkLst>
        </pc:picChg>
        <pc:picChg chg="del mod ord modCrop">
          <ac:chgData name="Nataliia Chornii (UA)" userId="4e4b8b3d-5f31-49bb-9f80-8a25c04abfff" providerId="ADAL" clId="{EE97D3FE-9ACA-4467-98E5-532EC45D9D1C}" dt="2024-03-04T10:01:11.251" v="20319" actId="478"/>
          <ac:picMkLst>
            <pc:docMk/>
            <pc:sldMk cId="2008209705" sldId="919"/>
            <ac:picMk id="58" creationId="{DC485393-0D43-80D5-76A2-C4BE9CD6F7C4}"/>
          </ac:picMkLst>
        </pc:picChg>
        <pc:picChg chg="del mod ord modCrop">
          <ac:chgData name="Nataliia Chornii (UA)" userId="4e4b8b3d-5f31-49bb-9f80-8a25c04abfff" providerId="ADAL" clId="{EE97D3FE-9ACA-4467-98E5-532EC45D9D1C}" dt="2024-03-04T10:01:11.251" v="20319" actId="478"/>
          <ac:picMkLst>
            <pc:docMk/>
            <pc:sldMk cId="2008209705" sldId="919"/>
            <ac:picMk id="59" creationId="{5DCA2C4E-B520-7A67-56C1-B04419C5FE5F}"/>
          </ac:picMkLst>
        </pc:picChg>
        <pc:cxnChg chg="add mod ord">
          <ac:chgData name="Nataliia Chornii (UA)" userId="4e4b8b3d-5f31-49bb-9f80-8a25c04abfff" providerId="ADAL" clId="{EE97D3FE-9ACA-4467-98E5-532EC45D9D1C}" dt="2024-03-04T10:01:08.070" v="20304"/>
          <ac:cxnSpMkLst>
            <pc:docMk/>
            <pc:sldMk cId="2008209705" sldId="919"/>
            <ac:cxnSpMk id="46" creationId="{1FC65FCF-FD80-DAC7-1847-F385C385E92B}"/>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2:45.816" v="22440"/>
              <pc2:cmMkLst xmlns:pc2="http://schemas.microsoft.com/office/powerpoint/2019/9/main/command">
                <pc:docMk/>
                <pc:sldMk cId="2008209705" sldId="919"/>
                <pc2:cmMk id="{26D3AAD2-275A-49BD-8B7A-0A67E598B3CB}"/>
              </pc2:cmMkLst>
            </pc226:cmChg>
          </p:ext>
        </pc:extLst>
      </pc:sldChg>
      <pc:sldChg chg="addSp delSp modSp mod">
        <pc:chgData name="Nataliia Chornii (UA)" userId="4e4b8b3d-5f31-49bb-9f80-8a25c04abfff" providerId="ADAL" clId="{EE97D3FE-9ACA-4467-98E5-532EC45D9D1C}" dt="2024-03-11T14:30:11.799" v="24253" actId="478"/>
        <pc:sldMkLst>
          <pc:docMk/>
          <pc:sldMk cId="2755231185" sldId="920"/>
        </pc:sldMkLst>
        <pc:spChg chg="add mod">
          <ac:chgData name="Nataliia Chornii (UA)" userId="4e4b8b3d-5f31-49bb-9f80-8a25c04abfff" providerId="ADAL" clId="{EE97D3FE-9ACA-4467-98E5-532EC45D9D1C}" dt="2024-03-04T09:20:12.881" v="18712" actId="207"/>
          <ac:spMkLst>
            <pc:docMk/>
            <pc:sldMk cId="2755231185" sldId="920"/>
            <ac:spMk id="2" creationId="{B893D956-176C-11CE-8C57-0284D21830E0}"/>
          </ac:spMkLst>
        </pc:spChg>
        <pc:spChg chg="del">
          <ac:chgData name="Nataliia Chornii (UA)" userId="4e4b8b3d-5f31-49bb-9f80-8a25c04abfff" providerId="ADAL" clId="{EE97D3FE-9ACA-4467-98E5-532EC45D9D1C}" dt="2024-03-01T14:04:19.148" v="13566" actId="478"/>
          <ac:spMkLst>
            <pc:docMk/>
            <pc:sldMk cId="2755231185" sldId="920"/>
            <ac:spMk id="2" creationId="{C9BF2A51-7557-EA83-DCCB-BCD30FDA6886}"/>
          </ac:spMkLst>
        </pc:spChg>
        <pc:spChg chg="mod ord">
          <ac:chgData name="Nataliia Chornii (UA)" userId="4e4b8b3d-5f31-49bb-9f80-8a25c04abfff" providerId="ADAL" clId="{EE97D3FE-9ACA-4467-98E5-532EC45D9D1C}" dt="2024-03-04T09:19:52.377" v="18692" actId="948"/>
          <ac:spMkLst>
            <pc:docMk/>
            <pc:sldMk cId="2755231185" sldId="920"/>
            <ac:spMk id="3" creationId="{F4CCF02E-F3C4-C376-8F56-61BD85A2E74B}"/>
          </ac:spMkLst>
        </pc:spChg>
        <pc:spChg chg="mod ord">
          <ac:chgData name="Nataliia Chornii (UA)" userId="4e4b8b3d-5f31-49bb-9f80-8a25c04abfff" providerId="ADAL" clId="{EE97D3FE-9ACA-4467-98E5-532EC45D9D1C}" dt="2024-03-01T14:32:51.577" v="14981"/>
          <ac:spMkLst>
            <pc:docMk/>
            <pc:sldMk cId="2755231185" sldId="920"/>
            <ac:spMk id="4" creationId="{872966CD-924A-B939-E655-A6BAF817DCBF}"/>
          </ac:spMkLst>
        </pc:spChg>
        <pc:spChg chg="add mod">
          <ac:chgData name="Nataliia Chornii (UA)" userId="4e4b8b3d-5f31-49bb-9f80-8a25c04abfff" providerId="ADAL" clId="{EE97D3FE-9ACA-4467-98E5-532EC45D9D1C}" dt="2024-03-04T09:20:12.881" v="18712" actId="207"/>
          <ac:spMkLst>
            <pc:docMk/>
            <pc:sldMk cId="2755231185" sldId="920"/>
            <ac:spMk id="5" creationId="{B0E2286B-FF4C-E63E-93B0-B50375ED16F4}"/>
          </ac:spMkLst>
        </pc:spChg>
        <pc:spChg chg="del mod ord">
          <ac:chgData name="Nataliia Chornii (UA)" userId="4e4b8b3d-5f31-49bb-9f80-8a25c04abfff" providerId="ADAL" clId="{EE97D3FE-9ACA-4467-98E5-532EC45D9D1C}" dt="2024-03-01T14:07:57.624" v="13831" actId="478"/>
          <ac:spMkLst>
            <pc:docMk/>
            <pc:sldMk cId="2755231185" sldId="920"/>
            <ac:spMk id="5" creationId="{FF11D90A-8D15-0E43-4C2E-D42257331C13}"/>
          </ac:spMkLst>
        </pc:spChg>
        <pc:spChg chg="del mod ord">
          <ac:chgData name="Nataliia Chornii (UA)" userId="4e4b8b3d-5f31-49bb-9f80-8a25c04abfff" providerId="ADAL" clId="{EE97D3FE-9ACA-4467-98E5-532EC45D9D1C}" dt="2024-03-01T14:07:57.624" v="13831" actId="478"/>
          <ac:spMkLst>
            <pc:docMk/>
            <pc:sldMk cId="2755231185" sldId="920"/>
            <ac:spMk id="6" creationId="{0F377277-EC46-FAC5-F379-194FCD82679C}"/>
          </ac:spMkLst>
        </pc:spChg>
        <pc:spChg chg="add del mod">
          <ac:chgData name="Nataliia Chornii (UA)" userId="4e4b8b3d-5f31-49bb-9f80-8a25c04abfff" providerId="ADAL" clId="{EE97D3FE-9ACA-4467-98E5-532EC45D9D1C}" dt="2024-03-04T09:20:08.877" v="18710" actId="478"/>
          <ac:spMkLst>
            <pc:docMk/>
            <pc:sldMk cId="2755231185" sldId="920"/>
            <ac:spMk id="6" creationId="{8A80E844-591D-0AD4-F797-81A02D34A6AA}"/>
          </ac:spMkLst>
        </pc:spChg>
        <pc:spChg chg="add mod">
          <ac:chgData name="Nataliia Chornii (UA)" userId="4e4b8b3d-5f31-49bb-9f80-8a25c04abfff" providerId="ADAL" clId="{EE97D3FE-9ACA-4467-98E5-532EC45D9D1C}" dt="2024-03-11T14:26:12.584" v="24090"/>
          <ac:spMkLst>
            <pc:docMk/>
            <pc:sldMk cId="2755231185" sldId="920"/>
            <ac:spMk id="6" creationId="{B43CD9A4-2C97-7D6A-7A53-C7898F589C28}"/>
          </ac:spMkLst>
        </pc:spChg>
        <pc:spChg chg="add del mod modVis">
          <ac:chgData name="Nataliia Chornii (UA)" userId="4e4b8b3d-5f31-49bb-9f80-8a25c04abfff" providerId="ADAL" clId="{EE97D3FE-9ACA-4467-98E5-532EC45D9D1C}" dt="2024-03-01T08:48:59.881" v="1559"/>
          <ac:spMkLst>
            <pc:docMk/>
            <pc:sldMk cId="2755231185" sldId="920"/>
            <ac:spMk id="7" creationId="{EBB9FE51-1FB4-1FE6-DA9E-878DBAF4FACC}"/>
          </ac:spMkLst>
        </pc:spChg>
        <pc:spChg chg="add del mod">
          <ac:chgData name="Nataliia Chornii (UA)" userId="4e4b8b3d-5f31-49bb-9f80-8a25c04abfff" providerId="ADAL" clId="{EE97D3FE-9ACA-4467-98E5-532EC45D9D1C}" dt="2024-03-04T09:20:14.986" v="18713" actId="478"/>
          <ac:spMkLst>
            <pc:docMk/>
            <pc:sldMk cId="2755231185" sldId="920"/>
            <ac:spMk id="7" creationId="{F4CD3414-099E-6D17-F011-271B51836094}"/>
          </ac:spMkLst>
        </pc:spChg>
        <pc:spChg chg="add del mod modVis">
          <ac:chgData name="Nataliia Chornii (UA)" userId="4e4b8b3d-5f31-49bb-9f80-8a25c04abfff" providerId="ADAL" clId="{EE97D3FE-9ACA-4467-98E5-532EC45D9D1C}" dt="2024-03-04T09:19:52.139" v="18689"/>
          <ac:spMkLst>
            <pc:docMk/>
            <pc:sldMk cId="2755231185" sldId="920"/>
            <ac:spMk id="8" creationId="{2AAA5224-A901-AD25-6EEF-E9ADF504442B}"/>
          </ac:spMkLst>
        </pc:spChg>
        <pc:spChg chg="del">
          <ac:chgData name="Nataliia Chornii (UA)" userId="4e4b8b3d-5f31-49bb-9f80-8a25c04abfff" providerId="ADAL" clId="{EE97D3FE-9ACA-4467-98E5-532EC45D9D1C}" dt="2024-03-01T14:04:08.692" v="13565" actId="478"/>
          <ac:spMkLst>
            <pc:docMk/>
            <pc:sldMk cId="2755231185" sldId="920"/>
            <ac:spMk id="8" creationId="{598AB23C-0BF9-85FE-4B7A-DC0CF1A85603}"/>
          </ac:spMkLst>
        </pc:spChg>
        <pc:spChg chg="mod">
          <ac:chgData name="Nataliia Chornii (UA)" userId="4e4b8b3d-5f31-49bb-9f80-8a25c04abfff" providerId="ADAL" clId="{EE97D3FE-9ACA-4467-98E5-532EC45D9D1C}" dt="2024-03-11T14:26:12.584" v="24090"/>
          <ac:spMkLst>
            <pc:docMk/>
            <pc:sldMk cId="2755231185" sldId="920"/>
            <ac:spMk id="8" creationId="{7E103022-AF69-1F1A-7456-109B70205321}"/>
          </ac:spMkLst>
        </pc:spChg>
        <pc:spChg chg="del mod">
          <ac:chgData name="Nataliia Chornii (UA)" userId="4e4b8b3d-5f31-49bb-9f80-8a25c04abfff" providerId="ADAL" clId="{EE97D3FE-9ACA-4467-98E5-532EC45D9D1C}" dt="2024-03-01T14:04:26.137" v="13570" actId="478"/>
          <ac:spMkLst>
            <pc:docMk/>
            <pc:sldMk cId="2755231185" sldId="920"/>
            <ac:spMk id="10" creationId="{489B7680-E5EE-2A50-7733-37F2F144B869}"/>
          </ac:spMkLst>
        </pc:spChg>
        <pc:spChg chg="mod">
          <ac:chgData name="Nataliia Chornii (UA)" userId="4e4b8b3d-5f31-49bb-9f80-8a25c04abfff" providerId="ADAL" clId="{EE97D3FE-9ACA-4467-98E5-532EC45D9D1C}" dt="2024-03-11T14:26:12.584" v="24090"/>
          <ac:spMkLst>
            <pc:docMk/>
            <pc:sldMk cId="2755231185" sldId="920"/>
            <ac:spMk id="10" creationId="{51A1E6BB-6DD3-EAF1-9619-FE033F246790}"/>
          </ac:spMkLst>
        </pc:spChg>
        <pc:spChg chg="del">
          <ac:chgData name="Nataliia Chornii (UA)" userId="4e4b8b3d-5f31-49bb-9f80-8a25c04abfff" providerId="ADAL" clId="{EE97D3FE-9ACA-4467-98E5-532EC45D9D1C}" dt="2024-03-01T14:04:08.692" v="13565" actId="478"/>
          <ac:spMkLst>
            <pc:docMk/>
            <pc:sldMk cId="2755231185" sldId="920"/>
            <ac:spMk id="11" creationId="{327B1A4B-6980-7B00-091C-6006703B82A0}"/>
          </ac:spMkLst>
        </pc:spChg>
        <pc:spChg chg="mod">
          <ac:chgData name="Nataliia Chornii (UA)" userId="4e4b8b3d-5f31-49bb-9f80-8a25c04abfff" providerId="ADAL" clId="{EE97D3FE-9ACA-4467-98E5-532EC45D9D1C}" dt="2024-03-11T14:26:12.584" v="24090"/>
          <ac:spMkLst>
            <pc:docMk/>
            <pc:sldMk cId="2755231185" sldId="920"/>
            <ac:spMk id="11" creationId="{CF66F1DD-0349-F422-A5D4-527B69A9FEA7}"/>
          </ac:spMkLst>
        </pc:spChg>
        <pc:spChg chg="mod">
          <ac:chgData name="Nataliia Chornii (UA)" userId="4e4b8b3d-5f31-49bb-9f80-8a25c04abfff" providerId="ADAL" clId="{EE97D3FE-9ACA-4467-98E5-532EC45D9D1C}" dt="2024-03-11T14:26:12.584" v="24090"/>
          <ac:spMkLst>
            <pc:docMk/>
            <pc:sldMk cId="2755231185" sldId="920"/>
            <ac:spMk id="12" creationId="{05332AE7-9331-006A-4480-3E09208ADD02}"/>
          </ac:spMkLst>
        </pc:spChg>
        <pc:spChg chg="del mod ord">
          <ac:chgData name="Nataliia Chornii (UA)" userId="4e4b8b3d-5f31-49bb-9f80-8a25c04abfff" providerId="ADAL" clId="{EE97D3FE-9ACA-4467-98E5-532EC45D9D1C}" dt="2024-03-01T14:06:26.032" v="13656" actId="478"/>
          <ac:spMkLst>
            <pc:docMk/>
            <pc:sldMk cId="2755231185" sldId="920"/>
            <ac:spMk id="12" creationId="{F17E280A-26FF-1631-ADC9-96AE3A637C2C}"/>
          </ac:spMkLst>
        </pc:spChg>
        <pc:spChg chg="del mod ord">
          <ac:chgData name="Nataliia Chornii (UA)" userId="4e4b8b3d-5f31-49bb-9f80-8a25c04abfff" providerId="ADAL" clId="{EE97D3FE-9ACA-4467-98E5-532EC45D9D1C}" dt="2024-03-01T14:06:26.032" v="13656" actId="478"/>
          <ac:spMkLst>
            <pc:docMk/>
            <pc:sldMk cId="2755231185" sldId="920"/>
            <ac:spMk id="13" creationId="{318FD8EE-145C-CF57-FA8A-2208CA63BD22}"/>
          </ac:spMkLst>
        </pc:spChg>
        <pc:spChg chg="mod">
          <ac:chgData name="Nataliia Chornii (UA)" userId="4e4b8b3d-5f31-49bb-9f80-8a25c04abfff" providerId="ADAL" clId="{EE97D3FE-9ACA-4467-98E5-532EC45D9D1C}" dt="2024-03-11T14:26:12.584" v="24090"/>
          <ac:spMkLst>
            <pc:docMk/>
            <pc:sldMk cId="2755231185" sldId="920"/>
            <ac:spMk id="13" creationId="{3F63A660-71EB-62D9-547E-3F76DBBC1660}"/>
          </ac:spMkLst>
        </pc:spChg>
        <pc:spChg chg="add del mod modVis">
          <ac:chgData name="Nataliia Chornii (UA)" userId="4e4b8b3d-5f31-49bb-9f80-8a25c04abfff" providerId="ADAL" clId="{EE97D3FE-9ACA-4467-98E5-532EC45D9D1C}" dt="2024-03-01T08:49:33.808" v="2860"/>
          <ac:spMkLst>
            <pc:docMk/>
            <pc:sldMk cId="2755231185" sldId="920"/>
            <ac:spMk id="14" creationId="{42F99875-6B68-3029-3132-CB9ADA425CD0}"/>
          </ac:spMkLst>
        </pc:spChg>
        <pc:spChg chg="mod">
          <ac:chgData name="Nataliia Chornii (UA)" userId="4e4b8b3d-5f31-49bb-9f80-8a25c04abfff" providerId="ADAL" clId="{EE97D3FE-9ACA-4467-98E5-532EC45D9D1C}" dt="2024-03-11T14:26:12.584" v="24090"/>
          <ac:spMkLst>
            <pc:docMk/>
            <pc:sldMk cId="2755231185" sldId="920"/>
            <ac:spMk id="14" creationId="{B0400B5C-2FF5-4675-DD9C-DD67B46AEF32}"/>
          </ac:spMkLst>
        </pc:spChg>
        <pc:spChg chg="add del mod modVis">
          <ac:chgData name="Nataliia Chornii (UA)" userId="4e4b8b3d-5f31-49bb-9f80-8a25c04abfff" providerId="ADAL" clId="{EE97D3FE-9ACA-4467-98E5-532EC45D9D1C}" dt="2024-03-01T08:49:59.835" v="3848"/>
          <ac:spMkLst>
            <pc:docMk/>
            <pc:sldMk cId="2755231185" sldId="920"/>
            <ac:spMk id="15" creationId="{C69FEDBF-F121-4556-A913-23FD76C63BE9}"/>
          </ac:spMkLst>
        </pc:spChg>
        <pc:spChg chg="add mod">
          <ac:chgData name="Nataliia Chornii (UA)" userId="4e4b8b3d-5f31-49bb-9f80-8a25c04abfff" providerId="ADAL" clId="{EE97D3FE-9ACA-4467-98E5-532EC45D9D1C}" dt="2024-03-11T14:30:10.991" v="24252"/>
          <ac:spMkLst>
            <pc:docMk/>
            <pc:sldMk cId="2755231185" sldId="920"/>
            <ac:spMk id="15" creationId="{F03290B5-C181-1DC0-3FC7-05E4ED60A773}"/>
          </ac:spMkLst>
        </pc:spChg>
        <pc:spChg chg="mod ord">
          <ac:chgData name="Nataliia Chornii (UA)" userId="4e4b8b3d-5f31-49bb-9f80-8a25c04abfff" providerId="ADAL" clId="{EE97D3FE-9ACA-4467-98E5-532EC45D9D1C}" dt="2024-03-01T14:33:23.261" v="15070" actId="552"/>
          <ac:spMkLst>
            <pc:docMk/>
            <pc:sldMk cId="2755231185" sldId="920"/>
            <ac:spMk id="16" creationId="{30819613-CE74-49B6-0807-44FDBB81D466}"/>
          </ac:spMkLst>
        </pc:spChg>
        <pc:spChg chg="add del mod modVis">
          <ac:chgData name="Nataliia Chornii (UA)" userId="4e4b8b3d-5f31-49bb-9f80-8a25c04abfff" providerId="ADAL" clId="{EE97D3FE-9ACA-4467-98E5-532EC45D9D1C}" dt="2024-03-01T08:51:26.154" v="4836"/>
          <ac:spMkLst>
            <pc:docMk/>
            <pc:sldMk cId="2755231185" sldId="920"/>
            <ac:spMk id="17" creationId="{3A38E480-FE0F-0B2A-40ED-A350F8E9AFE7}"/>
          </ac:spMkLst>
        </pc:spChg>
        <pc:spChg chg="mod ord">
          <ac:chgData name="Nataliia Chornii (UA)" userId="4e4b8b3d-5f31-49bb-9f80-8a25c04abfff" providerId="ADAL" clId="{EE97D3FE-9ACA-4467-98E5-532EC45D9D1C}" dt="2024-03-01T14:33:20.607" v="15069" actId="552"/>
          <ac:spMkLst>
            <pc:docMk/>
            <pc:sldMk cId="2755231185" sldId="920"/>
            <ac:spMk id="18" creationId="{E1D4AC8F-0322-E8A8-E509-5AF71473A8F4}"/>
          </ac:spMkLst>
        </pc:spChg>
        <pc:spChg chg="add del mod modVis">
          <ac:chgData name="Nataliia Chornii (UA)" userId="4e4b8b3d-5f31-49bb-9f80-8a25c04abfff" providerId="ADAL" clId="{EE97D3FE-9ACA-4467-98E5-532EC45D9D1C}" dt="2024-03-01T08:51:56.157" v="5825"/>
          <ac:spMkLst>
            <pc:docMk/>
            <pc:sldMk cId="2755231185" sldId="920"/>
            <ac:spMk id="19" creationId="{5AFACB33-7C5E-6014-FFE4-D92F4F1C3031}"/>
          </ac:spMkLst>
        </pc:spChg>
        <pc:spChg chg="mod ord">
          <ac:chgData name="Nataliia Chornii (UA)" userId="4e4b8b3d-5f31-49bb-9f80-8a25c04abfff" providerId="ADAL" clId="{EE97D3FE-9ACA-4467-98E5-532EC45D9D1C}" dt="2024-03-01T14:33:23.261" v="15070" actId="552"/>
          <ac:spMkLst>
            <pc:docMk/>
            <pc:sldMk cId="2755231185" sldId="920"/>
            <ac:spMk id="20" creationId="{BCB0856A-D775-E9B2-A22B-A661D9F8D43C}"/>
          </ac:spMkLst>
        </pc:spChg>
        <pc:spChg chg="add del mod modVis">
          <ac:chgData name="Nataliia Chornii (UA)" userId="4e4b8b3d-5f31-49bb-9f80-8a25c04abfff" providerId="ADAL" clId="{EE97D3FE-9ACA-4467-98E5-532EC45D9D1C}" dt="2024-03-01T08:52:18.312" v="6813"/>
          <ac:spMkLst>
            <pc:docMk/>
            <pc:sldMk cId="2755231185" sldId="920"/>
            <ac:spMk id="21" creationId="{7832E883-E7BB-EEF7-A70E-3195A045EE8F}"/>
          </ac:spMkLst>
        </pc:spChg>
        <pc:spChg chg="mod ord">
          <ac:chgData name="Nataliia Chornii (UA)" userId="4e4b8b3d-5f31-49bb-9f80-8a25c04abfff" providerId="ADAL" clId="{EE97D3FE-9ACA-4467-98E5-532EC45D9D1C}" dt="2024-03-01T14:33:20.607" v="15069" actId="552"/>
          <ac:spMkLst>
            <pc:docMk/>
            <pc:sldMk cId="2755231185" sldId="920"/>
            <ac:spMk id="22" creationId="{044C1CE5-09D8-63ED-7E23-4A59A70CC41B}"/>
          </ac:spMkLst>
        </pc:spChg>
        <pc:spChg chg="add del mod ord">
          <ac:chgData name="Nataliia Chornii (UA)" userId="4e4b8b3d-5f31-49bb-9f80-8a25c04abfff" providerId="ADAL" clId="{EE97D3FE-9ACA-4467-98E5-532EC45D9D1C}" dt="2024-03-11T14:30:11.799" v="24253" actId="478"/>
          <ac:spMkLst>
            <pc:docMk/>
            <pc:sldMk cId="2755231185" sldId="920"/>
            <ac:spMk id="23" creationId="{F0F92295-EBAE-39D7-7494-D9035179A285}"/>
          </ac:spMkLst>
        </pc:spChg>
        <pc:spChg chg="add del mod ord">
          <ac:chgData name="Nataliia Chornii (UA)" userId="4e4b8b3d-5f31-49bb-9f80-8a25c04abfff" providerId="ADAL" clId="{EE97D3FE-9ACA-4467-98E5-532EC45D9D1C}" dt="2024-03-01T14:32:37.828" v="14890" actId="478"/>
          <ac:spMkLst>
            <pc:docMk/>
            <pc:sldMk cId="2755231185" sldId="920"/>
            <ac:spMk id="24" creationId="{6291F660-4399-3100-7AA6-1A96F2BE2FA0}"/>
          </ac:spMkLst>
        </pc:spChg>
        <pc:spChg chg="add del mod ord">
          <ac:chgData name="Nataliia Chornii (UA)" userId="4e4b8b3d-5f31-49bb-9f80-8a25c04abfff" providerId="ADAL" clId="{EE97D3FE-9ACA-4467-98E5-532EC45D9D1C}" dt="2024-03-01T14:32:37.074" v="14889" actId="478"/>
          <ac:spMkLst>
            <pc:docMk/>
            <pc:sldMk cId="2755231185" sldId="920"/>
            <ac:spMk id="25" creationId="{5EF755D9-3B19-3121-7148-7B4F37248EA8}"/>
          </ac:spMkLst>
        </pc:spChg>
        <pc:spChg chg="add del mod ord">
          <ac:chgData name="Nataliia Chornii (UA)" userId="4e4b8b3d-5f31-49bb-9f80-8a25c04abfff" providerId="ADAL" clId="{EE97D3FE-9ACA-4467-98E5-532EC45D9D1C}" dt="2024-03-01T14:32:37.074" v="14889" actId="478"/>
          <ac:spMkLst>
            <pc:docMk/>
            <pc:sldMk cId="2755231185" sldId="920"/>
            <ac:spMk id="26" creationId="{D3B06146-D695-C0D1-DE10-612BD2266EB5}"/>
          </ac:spMkLst>
        </pc:spChg>
        <pc:spChg chg="add del mod ord">
          <ac:chgData name="Nataliia Chornii (UA)" userId="4e4b8b3d-5f31-49bb-9f80-8a25c04abfff" providerId="ADAL" clId="{EE97D3FE-9ACA-4467-98E5-532EC45D9D1C}" dt="2024-03-01T14:32:37.074" v="14889" actId="478"/>
          <ac:spMkLst>
            <pc:docMk/>
            <pc:sldMk cId="2755231185" sldId="920"/>
            <ac:spMk id="27" creationId="{C67C067A-BA44-E473-03E2-74C4CDD50A4F}"/>
          </ac:spMkLst>
        </pc:spChg>
        <pc:spChg chg="add del mod ord">
          <ac:chgData name="Nataliia Chornii (UA)" userId="4e4b8b3d-5f31-49bb-9f80-8a25c04abfff" providerId="ADAL" clId="{EE97D3FE-9ACA-4467-98E5-532EC45D9D1C}" dt="2024-03-01T14:32:37.074" v="14889" actId="478"/>
          <ac:spMkLst>
            <pc:docMk/>
            <pc:sldMk cId="2755231185" sldId="920"/>
            <ac:spMk id="28" creationId="{E6632A91-C990-C64C-6F5B-FCB2451BD5A7}"/>
          </ac:spMkLst>
        </pc:spChg>
        <pc:spChg chg="add del mod ord">
          <ac:chgData name="Nataliia Chornii (UA)" userId="4e4b8b3d-5f31-49bb-9f80-8a25c04abfff" providerId="ADAL" clId="{EE97D3FE-9ACA-4467-98E5-532EC45D9D1C}" dt="2024-03-01T14:32:37.074" v="14889" actId="478"/>
          <ac:spMkLst>
            <pc:docMk/>
            <pc:sldMk cId="2755231185" sldId="920"/>
            <ac:spMk id="29" creationId="{69C14E03-FCEC-D42E-5785-FE3FD67A2269}"/>
          </ac:spMkLst>
        </pc:spChg>
        <pc:spChg chg="add del mod ord">
          <ac:chgData name="Nataliia Chornii (UA)" userId="4e4b8b3d-5f31-49bb-9f80-8a25c04abfff" providerId="ADAL" clId="{EE97D3FE-9ACA-4467-98E5-532EC45D9D1C}" dt="2024-03-01T14:32:37.074" v="14889" actId="478"/>
          <ac:spMkLst>
            <pc:docMk/>
            <pc:sldMk cId="2755231185" sldId="920"/>
            <ac:spMk id="30" creationId="{AD97BBB0-7D2A-0CBE-6249-FB26EF157720}"/>
          </ac:spMkLst>
        </pc:spChg>
        <pc:spChg chg="add del mod ord">
          <ac:chgData name="Nataliia Chornii (UA)" userId="4e4b8b3d-5f31-49bb-9f80-8a25c04abfff" providerId="ADAL" clId="{EE97D3FE-9ACA-4467-98E5-532EC45D9D1C}" dt="2024-03-01T14:32:37.074" v="14889" actId="478"/>
          <ac:spMkLst>
            <pc:docMk/>
            <pc:sldMk cId="2755231185" sldId="920"/>
            <ac:spMk id="31" creationId="{AE1F2CF7-12B2-2C61-02F4-8E90DCAB95C7}"/>
          </ac:spMkLst>
        </pc:spChg>
        <pc:spChg chg="add del mod ord">
          <ac:chgData name="Nataliia Chornii (UA)" userId="4e4b8b3d-5f31-49bb-9f80-8a25c04abfff" providerId="ADAL" clId="{EE97D3FE-9ACA-4467-98E5-532EC45D9D1C}" dt="2024-03-01T14:32:37.074" v="14889" actId="478"/>
          <ac:spMkLst>
            <pc:docMk/>
            <pc:sldMk cId="2755231185" sldId="920"/>
            <ac:spMk id="32" creationId="{AA14433E-3F38-54C2-3C19-F70FDD5BB4F8}"/>
          </ac:spMkLst>
        </pc:spChg>
        <pc:spChg chg="add del mod ord">
          <ac:chgData name="Nataliia Chornii (UA)" userId="4e4b8b3d-5f31-49bb-9f80-8a25c04abfff" providerId="ADAL" clId="{EE97D3FE-9ACA-4467-98E5-532EC45D9D1C}" dt="2024-03-01T14:32:37.074" v="14889" actId="478"/>
          <ac:spMkLst>
            <pc:docMk/>
            <pc:sldMk cId="2755231185" sldId="920"/>
            <ac:spMk id="33" creationId="{F92B9C6C-8C5B-AC82-5DDC-E8DB5ABA08D5}"/>
          </ac:spMkLst>
        </pc:spChg>
        <pc:spChg chg="add del mod ord">
          <ac:chgData name="Nataliia Chornii (UA)" userId="4e4b8b3d-5f31-49bb-9f80-8a25c04abfff" providerId="ADAL" clId="{EE97D3FE-9ACA-4467-98E5-532EC45D9D1C}" dt="2024-03-01T14:32:47.406" v="14943" actId="478"/>
          <ac:spMkLst>
            <pc:docMk/>
            <pc:sldMk cId="2755231185" sldId="920"/>
            <ac:spMk id="34" creationId="{F1D573D1-C07D-A943-A741-380994F48A4F}"/>
          </ac:spMkLst>
        </pc:spChg>
        <pc:spChg chg="add del mod ord">
          <ac:chgData name="Nataliia Chornii (UA)" userId="4e4b8b3d-5f31-49bb-9f80-8a25c04abfff" providerId="ADAL" clId="{EE97D3FE-9ACA-4467-98E5-532EC45D9D1C}" dt="2024-03-01T14:32:47.406" v="14943" actId="478"/>
          <ac:spMkLst>
            <pc:docMk/>
            <pc:sldMk cId="2755231185" sldId="920"/>
            <ac:spMk id="35" creationId="{4F177113-0781-5137-1CD7-3B2F5D62C022}"/>
          </ac:spMkLst>
        </pc:spChg>
        <pc:spChg chg="add mod ord">
          <ac:chgData name="Nataliia Chornii (UA)" userId="4e4b8b3d-5f31-49bb-9f80-8a25c04abfff" providerId="ADAL" clId="{EE97D3FE-9ACA-4467-98E5-532EC45D9D1C}" dt="2024-03-01T14:33:11.606" v="15040" actId="554"/>
          <ac:spMkLst>
            <pc:docMk/>
            <pc:sldMk cId="2755231185" sldId="920"/>
            <ac:spMk id="36" creationId="{A8F39C25-781C-A7DA-387A-D92FCABEE1F5}"/>
          </ac:spMkLst>
        </pc:spChg>
        <pc:spChg chg="add mod ord">
          <ac:chgData name="Nataliia Chornii (UA)" userId="4e4b8b3d-5f31-49bb-9f80-8a25c04abfff" providerId="ADAL" clId="{EE97D3FE-9ACA-4467-98E5-532EC45D9D1C}" dt="2024-03-01T14:33:13.758" v="15041" actId="554"/>
          <ac:spMkLst>
            <pc:docMk/>
            <pc:sldMk cId="2755231185" sldId="920"/>
            <ac:spMk id="37" creationId="{BD11DB78-D65B-9D3C-EED7-1721F1C9BCF6}"/>
          </ac:spMkLst>
        </pc:spChg>
        <pc:spChg chg="add mod ord">
          <ac:chgData name="Nataliia Chornii (UA)" userId="4e4b8b3d-5f31-49bb-9f80-8a25c04abfff" providerId="ADAL" clId="{EE97D3FE-9ACA-4467-98E5-532EC45D9D1C}" dt="2024-03-01T14:33:01.418" v="15017" actId="554"/>
          <ac:spMkLst>
            <pc:docMk/>
            <pc:sldMk cId="2755231185" sldId="920"/>
            <ac:spMk id="38" creationId="{7B1F3CCD-2DE1-C2A8-D340-EAF5B3993679}"/>
          </ac:spMkLst>
        </pc:spChg>
        <pc:spChg chg="add mod ord">
          <ac:chgData name="Nataliia Chornii (UA)" userId="4e4b8b3d-5f31-49bb-9f80-8a25c04abfff" providerId="ADAL" clId="{EE97D3FE-9ACA-4467-98E5-532EC45D9D1C}" dt="2024-03-01T14:33:04.782" v="15018" actId="554"/>
          <ac:spMkLst>
            <pc:docMk/>
            <pc:sldMk cId="2755231185" sldId="920"/>
            <ac:spMk id="39" creationId="{DCB78F50-A328-CF00-9A1A-F2F677D9CB38}"/>
          </ac:spMkLst>
        </pc:spChg>
        <pc:spChg chg="add mod ord">
          <ac:chgData name="Nataliia Chornii (UA)" userId="4e4b8b3d-5f31-49bb-9f80-8a25c04abfff" providerId="ADAL" clId="{EE97D3FE-9ACA-4467-98E5-532EC45D9D1C}" dt="2024-03-01T14:32:51.577" v="14951"/>
          <ac:spMkLst>
            <pc:docMk/>
            <pc:sldMk cId="2755231185" sldId="920"/>
            <ac:spMk id="40" creationId="{20F59D2F-1518-9016-5B9F-D2809CA79C07}"/>
          </ac:spMkLst>
        </pc:spChg>
        <pc:spChg chg="add mod ord">
          <ac:chgData name="Nataliia Chornii (UA)" userId="4e4b8b3d-5f31-49bb-9f80-8a25c04abfff" providerId="ADAL" clId="{EE97D3FE-9ACA-4467-98E5-532EC45D9D1C}" dt="2024-03-01T14:32:51.577" v="14953"/>
          <ac:spMkLst>
            <pc:docMk/>
            <pc:sldMk cId="2755231185" sldId="920"/>
            <ac:spMk id="41" creationId="{0EB00E11-8C1F-B5F4-5905-2A785933B1C2}"/>
          </ac:spMkLst>
        </pc:spChg>
        <pc:spChg chg="add mod ord">
          <ac:chgData name="Nataliia Chornii (UA)" userId="4e4b8b3d-5f31-49bb-9f80-8a25c04abfff" providerId="ADAL" clId="{EE97D3FE-9ACA-4467-98E5-532EC45D9D1C}" dt="2024-03-01T14:33:20.607" v="15069" actId="552"/>
          <ac:spMkLst>
            <pc:docMk/>
            <pc:sldMk cId="2755231185" sldId="920"/>
            <ac:spMk id="42" creationId="{C5E2FBCB-4C78-8BA6-92C2-113E2A9A0F99}"/>
          </ac:spMkLst>
        </pc:spChg>
        <pc:spChg chg="add mod ord">
          <ac:chgData name="Nataliia Chornii (UA)" userId="4e4b8b3d-5f31-49bb-9f80-8a25c04abfff" providerId="ADAL" clId="{EE97D3FE-9ACA-4467-98E5-532EC45D9D1C}" dt="2024-03-01T14:32:51.577" v="14957"/>
          <ac:spMkLst>
            <pc:docMk/>
            <pc:sldMk cId="2755231185" sldId="920"/>
            <ac:spMk id="43" creationId="{E4B9AF95-5B50-0DDD-E36D-06F50BD88F73}"/>
          </ac:spMkLst>
        </pc:spChg>
        <pc:spChg chg="add mod ord">
          <ac:chgData name="Nataliia Chornii (UA)" userId="4e4b8b3d-5f31-49bb-9f80-8a25c04abfff" providerId="ADAL" clId="{EE97D3FE-9ACA-4467-98E5-532EC45D9D1C}" dt="2024-03-01T14:32:51.577" v="14959"/>
          <ac:spMkLst>
            <pc:docMk/>
            <pc:sldMk cId="2755231185" sldId="920"/>
            <ac:spMk id="44" creationId="{432432F1-3AAF-D466-9140-90195C502BE5}"/>
          </ac:spMkLst>
        </pc:spChg>
        <pc:spChg chg="add mod ord">
          <ac:chgData name="Nataliia Chornii (UA)" userId="4e4b8b3d-5f31-49bb-9f80-8a25c04abfff" providerId="ADAL" clId="{EE97D3FE-9ACA-4467-98E5-532EC45D9D1C}" dt="2024-03-01T14:32:51.577" v="14961"/>
          <ac:spMkLst>
            <pc:docMk/>
            <pc:sldMk cId="2755231185" sldId="920"/>
            <ac:spMk id="45" creationId="{BBB618E7-38BE-5D5E-5829-50BF3F885A7A}"/>
          </ac:spMkLst>
        </pc:spChg>
        <pc:spChg chg="add mod ord">
          <ac:chgData name="Nataliia Chornii (UA)" userId="4e4b8b3d-5f31-49bb-9f80-8a25c04abfff" providerId="ADAL" clId="{EE97D3FE-9ACA-4467-98E5-532EC45D9D1C}" dt="2024-03-01T14:33:23.261" v="15070" actId="552"/>
          <ac:spMkLst>
            <pc:docMk/>
            <pc:sldMk cId="2755231185" sldId="920"/>
            <ac:spMk id="46" creationId="{CCBFC508-29E6-E18C-F026-338E7CFE8F62}"/>
          </ac:spMkLst>
        </pc:spChg>
        <pc:spChg chg="add mod ord">
          <ac:chgData name="Nataliia Chornii (UA)" userId="4e4b8b3d-5f31-49bb-9f80-8a25c04abfff" providerId="ADAL" clId="{EE97D3FE-9ACA-4467-98E5-532EC45D9D1C}" dt="2024-03-01T14:32:51.577" v="14965"/>
          <ac:spMkLst>
            <pc:docMk/>
            <pc:sldMk cId="2755231185" sldId="920"/>
            <ac:spMk id="47" creationId="{2250920E-45D4-FCBD-658A-DADC92648ECC}"/>
          </ac:spMkLst>
        </pc:spChg>
        <pc:spChg chg="add mod ord">
          <ac:chgData name="Nataliia Chornii (UA)" userId="4e4b8b3d-5f31-49bb-9f80-8a25c04abfff" providerId="ADAL" clId="{EE97D3FE-9ACA-4467-98E5-532EC45D9D1C}" dt="2024-03-01T14:32:51.577" v="14967"/>
          <ac:spMkLst>
            <pc:docMk/>
            <pc:sldMk cId="2755231185" sldId="920"/>
            <ac:spMk id="48" creationId="{E5159085-1D43-0CA9-BCE2-A9337DBD2665}"/>
          </ac:spMkLst>
        </pc:spChg>
        <pc:spChg chg="add mod ord">
          <ac:chgData name="Nataliia Chornii (UA)" userId="4e4b8b3d-5f31-49bb-9f80-8a25c04abfff" providerId="ADAL" clId="{EE97D3FE-9ACA-4467-98E5-532EC45D9D1C}" dt="2024-03-01T14:32:51.577" v="14969"/>
          <ac:spMkLst>
            <pc:docMk/>
            <pc:sldMk cId="2755231185" sldId="920"/>
            <ac:spMk id="49" creationId="{94C05F3C-8F40-7D2D-07B6-C191DB36D094}"/>
          </ac:spMkLst>
        </pc:spChg>
        <pc:spChg chg="add mod ord">
          <ac:chgData name="Nataliia Chornii (UA)" userId="4e4b8b3d-5f31-49bb-9f80-8a25c04abfff" providerId="ADAL" clId="{EE97D3FE-9ACA-4467-98E5-532EC45D9D1C}" dt="2024-03-01T14:33:04.782" v="15018" actId="554"/>
          <ac:spMkLst>
            <pc:docMk/>
            <pc:sldMk cId="2755231185" sldId="920"/>
            <ac:spMk id="50" creationId="{1A4BBEAC-6EB5-25F4-811D-DB45F02F0295}"/>
          </ac:spMkLst>
        </pc:spChg>
        <pc:spChg chg="add mod ord">
          <ac:chgData name="Nataliia Chornii (UA)" userId="4e4b8b3d-5f31-49bb-9f80-8a25c04abfff" providerId="ADAL" clId="{EE97D3FE-9ACA-4467-98E5-532EC45D9D1C}" dt="2024-03-01T14:33:01.418" v="15017" actId="554"/>
          <ac:spMkLst>
            <pc:docMk/>
            <pc:sldMk cId="2755231185" sldId="920"/>
            <ac:spMk id="51" creationId="{0E0F8141-5C16-7EC2-B865-14B3D6B78AD4}"/>
          </ac:spMkLst>
        </pc:spChg>
        <pc:grpChg chg="add mod">
          <ac:chgData name="Nataliia Chornii (UA)" userId="4e4b8b3d-5f31-49bb-9f80-8a25c04abfff" providerId="ADAL" clId="{EE97D3FE-9ACA-4467-98E5-532EC45D9D1C}" dt="2024-03-11T14:26:12.584" v="24090"/>
          <ac:grpSpMkLst>
            <pc:docMk/>
            <pc:sldMk cId="2755231185" sldId="920"/>
            <ac:grpSpMk id="7" creationId="{0D90173C-1A66-88E3-6A08-37FDF4EE86D4}"/>
          </ac:grpSpMkLst>
        </pc:grpChg>
        <pc:graphicFrameChg chg="add mod ord modVis replST">
          <ac:chgData name="Nataliia Chornii (UA)" userId="4e4b8b3d-5f31-49bb-9f80-8a25c04abfff" providerId="ADAL" clId="{EE97D3FE-9ACA-4467-98E5-532EC45D9D1C}" dt="2024-03-04T09:19:52.399" v="18704"/>
          <ac:graphicFrameMkLst>
            <pc:docMk/>
            <pc:sldMk cId="2755231185" sldId="920"/>
            <ac:graphicFrameMk id="9" creationId="{D9E6BB6A-4571-FBF8-9A7D-06ADE4374D4D}"/>
          </ac:graphicFrameMkLst>
        </pc:graphicFrameChg>
      </pc:sldChg>
      <pc:sldChg chg="addSp delSp modSp mod modClrScheme chgLayout">
        <pc:chgData name="Nataliia Chornii (UA)" userId="4e4b8b3d-5f31-49bb-9f80-8a25c04abfff" providerId="ADAL" clId="{EE97D3FE-9ACA-4467-98E5-532EC45D9D1C}" dt="2024-03-11T14:30:03.375" v="24249"/>
        <pc:sldMkLst>
          <pc:docMk/>
          <pc:sldMk cId="1632897735" sldId="921"/>
        </pc:sldMkLst>
        <pc:spChg chg="add mod">
          <ac:chgData name="Nataliia Chornii (UA)" userId="4e4b8b3d-5f31-49bb-9f80-8a25c04abfff" providerId="ADAL" clId="{EE97D3FE-9ACA-4467-98E5-532EC45D9D1C}" dt="2024-03-04T09:18:32.100" v="18651" actId="207"/>
          <ac:spMkLst>
            <pc:docMk/>
            <pc:sldMk cId="1632897735" sldId="921"/>
            <ac:spMk id="2" creationId="{04E643C0-53EC-4B65-8E60-51723ABD9750}"/>
          </ac:spMkLst>
        </pc:spChg>
        <pc:spChg chg="del">
          <ac:chgData name="Nataliia Chornii (UA)" userId="4e4b8b3d-5f31-49bb-9f80-8a25c04abfff" providerId="ADAL" clId="{EE97D3FE-9ACA-4467-98E5-532EC45D9D1C}" dt="2024-03-01T13:30:46.487" v="13025" actId="478"/>
          <ac:spMkLst>
            <pc:docMk/>
            <pc:sldMk cId="1632897735" sldId="921"/>
            <ac:spMk id="2" creationId="{C9BF2A51-7557-EA83-DCCB-BCD30FDA6886}"/>
          </ac:spMkLst>
        </pc:spChg>
        <pc:spChg chg="mod ord">
          <ac:chgData name="Nataliia Chornii (UA)" userId="4e4b8b3d-5f31-49bb-9f80-8a25c04abfff" providerId="ADAL" clId="{EE97D3FE-9ACA-4467-98E5-532EC45D9D1C}" dt="2024-03-04T09:18:13.574" v="18632" actId="948"/>
          <ac:spMkLst>
            <pc:docMk/>
            <pc:sldMk cId="1632897735" sldId="921"/>
            <ac:spMk id="3" creationId="{F4CCF02E-F3C4-C376-8F56-61BD85A2E74B}"/>
          </ac:spMkLst>
        </pc:spChg>
        <pc:spChg chg="mod ord">
          <ac:chgData name="Nataliia Chornii (UA)" userId="4e4b8b3d-5f31-49bb-9f80-8a25c04abfff" providerId="ADAL" clId="{EE97D3FE-9ACA-4467-98E5-532EC45D9D1C}" dt="2024-03-01T13:31:27.375" v="13032" actId="700"/>
          <ac:spMkLst>
            <pc:docMk/>
            <pc:sldMk cId="1632897735" sldId="921"/>
            <ac:spMk id="4" creationId="{872966CD-924A-B939-E655-A6BAF817DCBF}"/>
          </ac:spMkLst>
        </pc:spChg>
        <pc:spChg chg="add mod">
          <ac:chgData name="Nataliia Chornii (UA)" userId="4e4b8b3d-5f31-49bb-9f80-8a25c04abfff" providerId="ADAL" clId="{EE97D3FE-9ACA-4467-98E5-532EC45D9D1C}" dt="2024-03-04T09:18:32.100" v="18651" actId="207"/>
          <ac:spMkLst>
            <pc:docMk/>
            <pc:sldMk cId="1632897735" sldId="921"/>
            <ac:spMk id="5" creationId="{DD727D00-8427-9A93-4DBE-80FB4E223318}"/>
          </ac:spMkLst>
        </pc:spChg>
        <pc:spChg chg="del">
          <ac:chgData name="Nataliia Chornii (UA)" userId="4e4b8b3d-5f31-49bb-9f80-8a25c04abfff" providerId="ADAL" clId="{EE97D3FE-9ACA-4467-98E5-532EC45D9D1C}" dt="2024-03-01T13:31:23.488" v="13031" actId="478"/>
          <ac:spMkLst>
            <pc:docMk/>
            <pc:sldMk cId="1632897735" sldId="921"/>
            <ac:spMk id="5" creationId="{FF11D90A-8D15-0E43-4C2E-D42257331C13}"/>
          </ac:spMkLst>
        </pc:spChg>
        <pc:spChg chg="del">
          <ac:chgData name="Nataliia Chornii (UA)" userId="4e4b8b3d-5f31-49bb-9f80-8a25c04abfff" providerId="ADAL" clId="{EE97D3FE-9ACA-4467-98E5-532EC45D9D1C}" dt="2024-03-01T13:31:13.866" v="13027" actId="478"/>
          <ac:spMkLst>
            <pc:docMk/>
            <pc:sldMk cId="1632897735" sldId="921"/>
            <ac:spMk id="6" creationId="{0F377277-EC46-FAC5-F379-194FCD82679C}"/>
          </ac:spMkLst>
        </pc:spChg>
        <pc:spChg chg="add mod">
          <ac:chgData name="Nataliia Chornii (UA)" userId="4e4b8b3d-5f31-49bb-9f80-8a25c04abfff" providerId="ADAL" clId="{EE97D3FE-9ACA-4467-98E5-532EC45D9D1C}" dt="2024-03-11T14:26:10.960" v="24089"/>
          <ac:spMkLst>
            <pc:docMk/>
            <pc:sldMk cId="1632897735" sldId="921"/>
            <ac:spMk id="6" creationId="{4C448523-D199-838D-0012-DA39AE2F2FF6}"/>
          </ac:spMkLst>
        </pc:spChg>
        <pc:spChg chg="add del mod">
          <ac:chgData name="Nataliia Chornii (UA)" userId="4e4b8b3d-5f31-49bb-9f80-8a25c04abfff" providerId="ADAL" clId="{EE97D3FE-9ACA-4467-98E5-532EC45D9D1C}" dt="2024-03-04T09:18:04.094" v="18617" actId="478"/>
          <ac:spMkLst>
            <pc:docMk/>
            <pc:sldMk cId="1632897735" sldId="921"/>
            <ac:spMk id="6" creationId="{61E3893F-05AD-C26D-5053-F6B1AFD313BF}"/>
          </ac:spMkLst>
        </pc:spChg>
        <pc:spChg chg="add del mod">
          <ac:chgData name="Nataliia Chornii (UA)" userId="4e4b8b3d-5f31-49bb-9f80-8a25c04abfff" providerId="ADAL" clId="{EE97D3FE-9ACA-4467-98E5-532EC45D9D1C}" dt="2024-03-04T09:18:04.094" v="18617" actId="478"/>
          <ac:spMkLst>
            <pc:docMk/>
            <pc:sldMk cId="1632897735" sldId="921"/>
            <ac:spMk id="7" creationId="{733F6D60-0AF3-38BD-1AD2-AC8466192AB1}"/>
          </ac:spMkLst>
        </pc:spChg>
        <pc:spChg chg="add del mod modVis">
          <ac:chgData name="Nataliia Chornii (UA)" userId="4e4b8b3d-5f31-49bb-9f80-8a25c04abfff" providerId="ADAL" clId="{EE97D3FE-9ACA-4467-98E5-532EC45D9D1C}" dt="2024-03-01T08:48:59.684" v="1461"/>
          <ac:spMkLst>
            <pc:docMk/>
            <pc:sldMk cId="1632897735" sldId="921"/>
            <ac:spMk id="7" creationId="{D037C9FC-C789-5E4F-180A-8D81C59AD7D3}"/>
          </ac:spMkLst>
        </pc:spChg>
        <pc:spChg chg="del">
          <ac:chgData name="Nataliia Chornii (UA)" userId="4e4b8b3d-5f31-49bb-9f80-8a25c04abfff" providerId="ADAL" clId="{EE97D3FE-9ACA-4467-98E5-532EC45D9D1C}" dt="2024-03-01T13:31:19.545" v="13029" actId="478"/>
          <ac:spMkLst>
            <pc:docMk/>
            <pc:sldMk cId="1632897735" sldId="921"/>
            <ac:spMk id="8" creationId="{598AB23C-0BF9-85FE-4B7A-DC0CF1A85603}"/>
          </ac:spMkLst>
        </pc:spChg>
        <pc:spChg chg="add del mod modVis">
          <ac:chgData name="Nataliia Chornii (UA)" userId="4e4b8b3d-5f31-49bb-9f80-8a25c04abfff" providerId="ADAL" clId="{EE97D3FE-9ACA-4467-98E5-532EC45D9D1C}" dt="2024-03-04T09:17:56.003" v="18601"/>
          <ac:spMkLst>
            <pc:docMk/>
            <pc:sldMk cId="1632897735" sldId="921"/>
            <ac:spMk id="8" creationId="{E1BCA498-73C0-60FB-95E8-D8C20D978369}"/>
          </ac:spMkLst>
        </pc:spChg>
        <pc:spChg chg="mod">
          <ac:chgData name="Nataliia Chornii (UA)" userId="4e4b8b3d-5f31-49bb-9f80-8a25c04abfff" providerId="ADAL" clId="{EE97D3FE-9ACA-4467-98E5-532EC45D9D1C}" dt="2024-03-11T14:26:10.960" v="24089"/>
          <ac:spMkLst>
            <pc:docMk/>
            <pc:sldMk cId="1632897735" sldId="921"/>
            <ac:spMk id="8" creationId="{EA93FD2B-DFA2-F1D4-7D2B-E2D5A15A558D}"/>
          </ac:spMkLst>
        </pc:spChg>
        <pc:spChg chg="mod">
          <ac:chgData name="Nataliia Chornii (UA)" userId="4e4b8b3d-5f31-49bb-9f80-8a25c04abfff" providerId="ADAL" clId="{EE97D3FE-9ACA-4467-98E5-532EC45D9D1C}" dt="2024-03-11T14:26:10.960" v="24089"/>
          <ac:spMkLst>
            <pc:docMk/>
            <pc:sldMk cId="1632897735" sldId="921"/>
            <ac:spMk id="10" creationId="{0B2C0176-403D-D130-44B9-CDFB548E935D}"/>
          </ac:spMkLst>
        </pc:spChg>
        <pc:spChg chg="del">
          <ac:chgData name="Nataliia Chornii (UA)" userId="4e4b8b3d-5f31-49bb-9f80-8a25c04abfff" providerId="ADAL" clId="{EE97D3FE-9ACA-4467-98E5-532EC45D9D1C}" dt="2024-03-01T13:30:43.095" v="13023" actId="478"/>
          <ac:spMkLst>
            <pc:docMk/>
            <pc:sldMk cId="1632897735" sldId="921"/>
            <ac:spMk id="10" creationId="{489B7680-E5EE-2A50-7733-37F2F144B869}"/>
          </ac:spMkLst>
        </pc:spChg>
        <pc:spChg chg="add del mod">
          <ac:chgData name="Nataliia Chornii (UA)" userId="4e4b8b3d-5f31-49bb-9f80-8a25c04abfff" providerId="ADAL" clId="{EE97D3FE-9ACA-4467-98E5-532EC45D9D1C}" dt="2024-03-04T09:18:21.248" v="18647" actId="478"/>
          <ac:spMkLst>
            <pc:docMk/>
            <pc:sldMk cId="1632897735" sldId="921"/>
            <ac:spMk id="10" creationId="{93772AB8-87B8-50E0-BFE7-F3A8A573FEC0}"/>
          </ac:spMkLst>
        </pc:spChg>
        <pc:spChg chg="del mod">
          <ac:chgData name="Nataliia Chornii (UA)" userId="4e4b8b3d-5f31-49bb-9f80-8a25c04abfff" providerId="ADAL" clId="{EE97D3FE-9ACA-4467-98E5-532EC45D9D1C}" dt="2024-03-01T13:31:19.545" v="13029" actId="478"/>
          <ac:spMkLst>
            <pc:docMk/>
            <pc:sldMk cId="1632897735" sldId="921"/>
            <ac:spMk id="11" creationId="{327B1A4B-6980-7B00-091C-6006703B82A0}"/>
          </ac:spMkLst>
        </pc:spChg>
        <pc:spChg chg="mod">
          <ac:chgData name="Nataliia Chornii (UA)" userId="4e4b8b3d-5f31-49bb-9f80-8a25c04abfff" providerId="ADAL" clId="{EE97D3FE-9ACA-4467-98E5-532EC45D9D1C}" dt="2024-03-11T14:26:10.960" v="24089"/>
          <ac:spMkLst>
            <pc:docMk/>
            <pc:sldMk cId="1632897735" sldId="921"/>
            <ac:spMk id="11" creationId="{5CC1E3FD-67C7-8193-DB76-C56A751AA27B}"/>
          </ac:spMkLst>
        </pc:spChg>
        <pc:spChg chg="add del mod">
          <ac:chgData name="Nataliia Chornii (UA)" userId="4e4b8b3d-5f31-49bb-9f80-8a25c04abfff" providerId="ADAL" clId="{EE97D3FE-9ACA-4467-98E5-532EC45D9D1C}" dt="2024-03-04T09:18:28.750" v="18650" actId="478"/>
          <ac:spMkLst>
            <pc:docMk/>
            <pc:sldMk cId="1632897735" sldId="921"/>
            <ac:spMk id="11" creationId="{BC4939A4-6306-20EF-1DA3-4D85E6E1A659}"/>
          </ac:spMkLst>
        </pc:spChg>
        <pc:spChg chg="del mod">
          <ac:chgData name="Nataliia Chornii (UA)" userId="4e4b8b3d-5f31-49bb-9f80-8a25c04abfff" providerId="ADAL" clId="{EE97D3FE-9ACA-4467-98E5-532EC45D9D1C}" dt="2024-03-01T13:31:41.720" v="13063" actId="478"/>
          <ac:spMkLst>
            <pc:docMk/>
            <pc:sldMk cId="1632897735" sldId="921"/>
            <ac:spMk id="12" creationId="{F17E280A-26FF-1631-ADC9-96AE3A637C2C}"/>
          </ac:spMkLst>
        </pc:spChg>
        <pc:spChg chg="mod">
          <ac:chgData name="Nataliia Chornii (UA)" userId="4e4b8b3d-5f31-49bb-9f80-8a25c04abfff" providerId="ADAL" clId="{EE97D3FE-9ACA-4467-98E5-532EC45D9D1C}" dt="2024-03-11T14:26:10.960" v="24089"/>
          <ac:spMkLst>
            <pc:docMk/>
            <pc:sldMk cId="1632897735" sldId="921"/>
            <ac:spMk id="12" creationId="{F2ED617E-4EF0-3C37-DB0C-87790A1174FE}"/>
          </ac:spMkLst>
        </pc:spChg>
        <pc:spChg chg="del mod">
          <ac:chgData name="Nataliia Chornii (UA)" userId="4e4b8b3d-5f31-49bb-9f80-8a25c04abfff" providerId="ADAL" clId="{EE97D3FE-9ACA-4467-98E5-532EC45D9D1C}" dt="2024-03-01T13:31:41.720" v="13063" actId="478"/>
          <ac:spMkLst>
            <pc:docMk/>
            <pc:sldMk cId="1632897735" sldId="921"/>
            <ac:spMk id="13" creationId="{318FD8EE-145C-CF57-FA8A-2208CA63BD22}"/>
          </ac:spMkLst>
        </pc:spChg>
        <pc:spChg chg="mod">
          <ac:chgData name="Nataliia Chornii (UA)" userId="4e4b8b3d-5f31-49bb-9f80-8a25c04abfff" providerId="ADAL" clId="{EE97D3FE-9ACA-4467-98E5-532EC45D9D1C}" dt="2024-03-11T14:26:10.960" v="24089"/>
          <ac:spMkLst>
            <pc:docMk/>
            <pc:sldMk cId="1632897735" sldId="921"/>
            <ac:spMk id="13" creationId="{E9DDB23A-0BF9-6D18-C31A-09E150CE8626}"/>
          </ac:spMkLst>
        </pc:spChg>
        <pc:spChg chg="mod">
          <ac:chgData name="Nataliia Chornii (UA)" userId="4e4b8b3d-5f31-49bb-9f80-8a25c04abfff" providerId="ADAL" clId="{EE97D3FE-9ACA-4467-98E5-532EC45D9D1C}" dt="2024-03-11T14:26:10.960" v="24089"/>
          <ac:spMkLst>
            <pc:docMk/>
            <pc:sldMk cId="1632897735" sldId="921"/>
            <ac:spMk id="14" creationId="{DE010F8F-D871-0AB3-A0B8-9208D95CA672}"/>
          </ac:spMkLst>
        </pc:spChg>
        <pc:spChg chg="add del mod modVis">
          <ac:chgData name="Nataliia Chornii (UA)" userId="4e4b8b3d-5f31-49bb-9f80-8a25c04abfff" providerId="ADAL" clId="{EE97D3FE-9ACA-4467-98E5-532EC45D9D1C}" dt="2024-03-01T08:49:33.777" v="2840"/>
          <ac:spMkLst>
            <pc:docMk/>
            <pc:sldMk cId="1632897735" sldId="921"/>
            <ac:spMk id="14" creationId="{EB0F6F9C-C24C-5765-4B39-1E781A2EA590}"/>
          </ac:spMkLst>
        </pc:spChg>
        <pc:spChg chg="add mod">
          <ac:chgData name="Nataliia Chornii (UA)" userId="4e4b8b3d-5f31-49bb-9f80-8a25c04abfff" providerId="ADAL" clId="{EE97D3FE-9ACA-4467-98E5-532EC45D9D1C}" dt="2024-03-11T14:30:03.375" v="24249"/>
          <ac:spMkLst>
            <pc:docMk/>
            <pc:sldMk cId="1632897735" sldId="921"/>
            <ac:spMk id="15" creationId="{195BC487-1210-1AD0-818D-2F292AAC6012}"/>
          </ac:spMkLst>
        </pc:spChg>
        <pc:spChg chg="add del mod modVis">
          <ac:chgData name="Nataliia Chornii (UA)" userId="4e4b8b3d-5f31-49bb-9f80-8a25c04abfff" providerId="ADAL" clId="{EE97D3FE-9ACA-4467-98E5-532EC45D9D1C}" dt="2024-03-01T08:49:59.819" v="3828"/>
          <ac:spMkLst>
            <pc:docMk/>
            <pc:sldMk cId="1632897735" sldId="921"/>
            <ac:spMk id="15" creationId="{E9E30B47-E75D-74F8-B01B-AFE8176FF736}"/>
          </ac:spMkLst>
        </pc:spChg>
        <pc:spChg chg="del mod">
          <ac:chgData name="Nataliia Chornii (UA)" userId="4e4b8b3d-5f31-49bb-9f80-8a25c04abfff" providerId="ADAL" clId="{EE97D3FE-9ACA-4467-98E5-532EC45D9D1C}" dt="2024-03-01T13:31:59.175" v="13071" actId="478"/>
          <ac:spMkLst>
            <pc:docMk/>
            <pc:sldMk cId="1632897735" sldId="921"/>
            <ac:spMk id="16" creationId="{30819613-CE74-49B6-0807-44FDBB81D466}"/>
          </ac:spMkLst>
        </pc:spChg>
        <pc:spChg chg="add del mod modVis">
          <ac:chgData name="Nataliia Chornii (UA)" userId="4e4b8b3d-5f31-49bb-9f80-8a25c04abfff" providerId="ADAL" clId="{EE97D3FE-9ACA-4467-98E5-532EC45D9D1C}" dt="2024-03-01T08:51:26.124" v="4816"/>
          <ac:spMkLst>
            <pc:docMk/>
            <pc:sldMk cId="1632897735" sldId="921"/>
            <ac:spMk id="17" creationId="{5EC97991-9967-140F-C740-26C71C168C0A}"/>
          </ac:spMkLst>
        </pc:spChg>
        <pc:spChg chg="del mod">
          <ac:chgData name="Nataliia Chornii (UA)" userId="4e4b8b3d-5f31-49bb-9f80-8a25c04abfff" providerId="ADAL" clId="{EE97D3FE-9ACA-4467-98E5-532EC45D9D1C}" dt="2024-03-01T13:31:59.175" v="13071" actId="478"/>
          <ac:spMkLst>
            <pc:docMk/>
            <pc:sldMk cId="1632897735" sldId="921"/>
            <ac:spMk id="18" creationId="{E1D4AC8F-0322-E8A8-E509-5AF71473A8F4}"/>
          </ac:spMkLst>
        </pc:spChg>
        <pc:spChg chg="add del mod modVis">
          <ac:chgData name="Nataliia Chornii (UA)" userId="4e4b8b3d-5f31-49bb-9f80-8a25c04abfff" providerId="ADAL" clId="{EE97D3FE-9ACA-4467-98E5-532EC45D9D1C}" dt="2024-03-01T08:51:56.150" v="5805"/>
          <ac:spMkLst>
            <pc:docMk/>
            <pc:sldMk cId="1632897735" sldId="921"/>
            <ac:spMk id="19" creationId="{53919A01-3377-8DCE-B069-8BB3B86FD4EF}"/>
          </ac:spMkLst>
        </pc:spChg>
        <pc:spChg chg="del mod">
          <ac:chgData name="Nataliia Chornii (UA)" userId="4e4b8b3d-5f31-49bb-9f80-8a25c04abfff" providerId="ADAL" clId="{EE97D3FE-9ACA-4467-98E5-532EC45D9D1C}" dt="2024-03-01T13:32:00.311" v="13072" actId="478"/>
          <ac:spMkLst>
            <pc:docMk/>
            <pc:sldMk cId="1632897735" sldId="921"/>
            <ac:spMk id="20" creationId="{BCB0856A-D775-E9B2-A22B-A661D9F8D43C}"/>
          </ac:spMkLst>
        </pc:spChg>
        <pc:spChg chg="add del mod modVis">
          <ac:chgData name="Nataliia Chornii (UA)" userId="4e4b8b3d-5f31-49bb-9f80-8a25c04abfff" providerId="ADAL" clId="{EE97D3FE-9ACA-4467-98E5-532EC45D9D1C}" dt="2024-03-01T08:52:18.296" v="6793"/>
          <ac:spMkLst>
            <pc:docMk/>
            <pc:sldMk cId="1632897735" sldId="921"/>
            <ac:spMk id="21" creationId="{565CF0BC-B382-5687-CCF3-53A3B885BC25}"/>
          </ac:spMkLst>
        </pc:spChg>
        <pc:spChg chg="del mod">
          <ac:chgData name="Nataliia Chornii (UA)" userId="4e4b8b3d-5f31-49bb-9f80-8a25c04abfff" providerId="ADAL" clId="{EE97D3FE-9ACA-4467-98E5-532EC45D9D1C}" dt="2024-03-01T13:31:59.175" v="13071" actId="478"/>
          <ac:spMkLst>
            <pc:docMk/>
            <pc:sldMk cId="1632897735" sldId="921"/>
            <ac:spMk id="22" creationId="{044C1CE5-09D8-63ED-7E23-4A59A70CC41B}"/>
          </ac:spMkLst>
        </pc:spChg>
        <pc:spChg chg="add del mod">
          <ac:chgData name="Nataliia Chornii (UA)" userId="4e4b8b3d-5f31-49bb-9f80-8a25c04abfff" providerId="ADAL" clId="{EE97D3FE-9ACA-4467-98E5-532EC45D9D1C}" dt="2024-03-11T14:30:03.024" v="24248" actId="478"/>
          <ac:spMkLst>
            <pc:docMk/>
            <pc:sldMk cId="1632897735" sldId="921"/>
            <ac:spMk id="23" creationId="{88B111F6-05FB-7044-2F8E-2C70FFCA0ABD}"/>
          </ac:spMkLst>
        </pc:spChg>
        <pc:spChg chg="add del mod ord">
          <ac:chgData name="Nataliia Chornii (UA)" userId="4e4b8b3d-5f31-49bb-9f80-8a25c04abfff" providerId="ADAL" clId="{EE97D3FE-9ACA-4467-98E5-532EC45D9D1C}" dt="2024-03-01T13:31:28.623" v="13059" actId="478"/>
          <ac:spMkLst>
            <pc:docMk/>
            <pc:sldMk cId="1632897735" sldId="921"/>
            <ac:spMk id="24" creationId="{76686FC7-974F-32EF-8311-2D0CB8CA607D}"/>
          </ac:spMkLst>
        </pc:spChg>
        <pc:spChg chg="add del mod modVis">
          <ac:chgData name="Nataliia Chornii (UA)" userId="4e4b8b3d-5f31-49bb-9f80-8a25c04abfff" providerId="ADAL" clId="{EE97D3FE-9ACA-4467-98E5-532EC45D9D1C}" dt="2024-03-01T13:31:27.929" v="13056"/>
          <ac:spMkLst>
            <pc:docMk/>
            <pc:sldMk cId="1632897735" sldId="921"/>
            <ac:spMk id="25" creationId="{9DE6B194-243E-F422-EECC-C571E4947EFA}"/>
          </ac:spMkLst>
        </pc:spChg>
        <pc:spChg chg="add mod">
          <ac:chgData name="Nataliia Chornii (UA)" userId="4e4b8b3d-5f31-49bb-9f80-8a25c04abfff" providerId="ADAL" clId="{EE97D3FE-9ACA-4467-98E5-532EC45D9D1C}" dt="2024-03-01T14:31:43.478" v="14881" actId="554"/>
          <ac:spMkLst>
            <pc:docMk/>
            <pc:sldMk cId="1632897735" sldId="921"/>
            <ac:spMk id="26" creationId="{75CE378D-0AD1-9BD1-B80E-BB684E86C908}"/>
          </ac:spMkLst>
        </pc:spChg>
        <pc:spChg chg="add mod">
          <ac:chgData name="Nataliia Chornii (UA)" userId="4e4b8b3d-5f31-49bb-9f80-8a25c04abfff" providerId="ADAL" clId="{EE97D3FE-9ACA-4467-98E5-532EC45D9D1C}" dt="2024-03-01T14:31:30.106" v="14877" actId="554"/>
          <ac:spMkLst>
            <pc:docMk/>
            <pc:sldMk cId="1632897735" sldId="921"/>
            <ac:spMk id="27" creationId="{26BF525F-45B3-C14A-12E8-A83E64EF16FF}"/>
          </ac:spMkLst>
        </pc:spChg>
        <pc:spChg chg="add mod">
          <ac:chgData name="Nataliia Chornii (UA)" userId="4e4b8b3d-5f31-49bb-9f80-8a25c04abfff" providerId="ADAL" clId="{EE97D3FE-9ACA-4467-98E5-532EC45D9D1C}" dt="2024-03-01T14:31:54.234" v="14883" actId="14100"/>
          <ac:spMkLst>
            <pc:docMk/>
            <pc:sldMk cId="1632897735" sldId="921"/>
            <ac:spMk id="28" creationId="{18CEB400-BC29-94CA-625A-8B9380FCF3EB}"/>
          </ac:spMkLst>
        </pc:spChg>
        <pc:spChg chg="add mod">
          <ac:chgData name="Nataliia Chornii (UA)" userId="4e4b8b3d-5f31-49bb-9f80-8a25c04abfff" providerId="ADAL" clId="{EE97D3FE-9ACA-4467-98E5-532EC45D9D1C}" dt="2024-03-01T14:31:54.234" v="14883" actId="14100"/>
          <ac:spMkLst>
            <pc:docMk/>
            <pc:sldMk cId="1632897735" sldId="921"/>
            <ac:spMk id="29" creationId="{22DB8157-5B10-8AC7-8999-CD47C0BE8FC0}"/>
          </ac:spMkLst>
        </pc:spChg>
        <pc:spChg chg="add del mod">
          <ac:chgData name="Nataliia Chornii (UA)" userId="4e4b8b3d-5f31-49bb-9f80-8a25c04abfff" providerId="ADAL" clId="{EE97D3FE-9ACA-4467-98E5-532EC45D9D1C}" dt="2024-03-01T14:05:35.544" v="13581" actId="478"/>
          <ac:spMkLst>
            <pc:docMk/>
            <pc:sldMk cId="1632897735" sldId="921"/>
            <ac:spMk id="30" creationId="{667FDDA6-1C46-077F-07DA-446EB88B0555}"/>
          </ac:spMkLst>
        </pc:spChg>
        <pc:spChg chg="add del mod">
          <ac:chgData name="Nataliia Chornii (UA)" userId="4e4b8b3d-5f31-49bb-9f80-8a25c04abfff" providerId="ADAL" clId="{EE97D3FE-9ACA-4467-98E5-532EC45D9D1C}" dt="2024-03-01T14:05:35.544" v="13581" actId="478"/>
          <ac:spMkLst>
            <pc:docMk/>
            <pc:sldMk cId="1632897735" sldId="921"/>
            <ac:spMk id="31" creationId="{042FA010-52DB-E52C-FA16-A518F12F6917}"/>
          </ac:spMkLst>
        </pc:spChg>
        <pc:spChg chg="add del mod">
          <ac:chgData name="Nataliia Chornii (UA)" userId="4e4b8b3d-5f31-49bb-9f80-8a25c04abfff" providerId="ADAL" clId="{EE97D3FE-9ACA-4467-98E5-532EC45D9D1C}" dt="2024-03-01T14:05:35.544" v="13581" actId="478"/>
          <ac:spMkLst>
            <pc:docMk/>
            <pc:sldMk cId="1632897735" sldId="921"/>
            <ac:spMk id="32" creationId="{94F39753-7695-8184-12DB-1D6634B0878B}"/>
          </ac:spMkLst>
        </pc:spChg>
        <pc:spChg chg="add del mod">
          <ac:chgData name="Nataliia Chornii (UA)" userId="4e4b8b3d-5f31-49bb-9f80-8a25c04abfff" providerId="ADAL" clId="{EE97D3FE-9ACA-4467-98E5-532EC45D9D1C}" dt="2024-03-01T14:05:35.544" v="13581" actId="478"/>
          <ac:spMkLst>
            <pc:docMk/>
            <pc:sldMk cId="1632897735" sldId="921"/>
            <ac:spMk id="33" creationId="{9E02F0A3-1D8C-4FBB-E5FA-162D952AE36E}"/>
          </ac:spMkLst>
        </pc:spChg>
        <pc:spChg chg="add del mod">
          <ac:chgData name="Nataliia Chornii (UA)" userId="4e4b8b3d-5f31-49bb-9f80-8a25c04abfff" providerId="ADAL" clId="{EE97D3FE-9ACA-4467-98E5-532EC45D9D1C}" dt="2024-03-01T14:05:35.544" v="13581" actId="478"/>
          <ac:spMkLst>
            <pc:docMk/>
            <pc:sldMk cId="1632897735" sldId="921"/>
            <ac:spMk id="34" creationId="{C891CCAA-471D-E571-FB9B-EBBBE06A8227}"/>
          </ac:spMkLst>
        </pc:spChg>
        <pc:spChg chg="add del mod">
          <ac:chgData name="Nataliia Chornii (UA)" userId="4e4b8b3d-5f31-49bb-9f80-8a25c04abfff" providerId="ADAL" clId="{EE97D3FE-9ACA-4467-98E5-532EC45D9D1C}" dt="2024-03-01T14:05:35.544" v="13581" actId="478"/>
          <ac:spMkLst>
            <pc:docMk/>
            <pc:sldMk cId="1632897735" sldId="921"/>
            <ac:spMk id="35" creationId="{B2178C50-7A87-2E92-4EEB-99DF544AB922}"/>
          </ac:spMkLst>
        </pc:spChg>
        <pc:spChg chg="add del mod">
          <ac:chgData name="Nataliia Chornii (UA)" userId="4e4b8b3d-5f31-49bb-9f80-8a25c04abfff" providerId="ADAL" clId="{EE97D3FE-9ACA-4467-98E5-532EC45D9D1C}" dt="2024-03-01T14:05:35.544" v="13581" actId="478"/>
          <ac:spMkLst>
            <pc:docMk/>
            <pc:sldMk cId="1632897735" sldId="921"/>
            <ac:spMk id="36" creationId="{BE906658-543D-794F-1EEB-4F1A12D864B0}"/>
          </ac:spMkLst>
        </pc:spChg>
        <pc:spChg chg="add del mod">
          <ac:chgData name="Nataliia Chornii (UA)" userId="4e4b8b3d-5f31-49bb-9f80-8a25c04abfff" providerId="ADAL" clId="{EE97D3FE-9ACA-4467-98E5-532EC45D9D1C}" dt="2024-03-01T14:05:35.544" v="13581" actId="478"/>
          <ac:spMkLst>
            <pc:docMk/>
            <pc:sldMk cId="1632897735" sldId="921"/>
            <ac:spMk id="37" creationId="{8656F31E-C926-DEB1-F55F-34E04A41662E}"/>
          </ac:spMkLst>
        </pc:spChg>
        <pc:spChg chg="add mod">
          <ac:chgData name="Nataliia Chornii (UA)" userId="4e4b8b3d-5f31-49bb-9f80-8a25c04abfff" providerId="ADAL" clId="{EE97D3FE-9ACA-4467-98E5-532EC45D9D1C}" dt="2024-03-01T14:31:30.106" v="14877" actId="554"/>
          <ac:spMkLst>
            <pc:docMk/>
            <pc:sldMk cId="1632897735" sldId="921"/>
            <ac:spMk id="38" creationId="{3B47E99D-002C-F019-6092-E26E9521906E}"/>
          </ac:spMkLst>
        </pc:spChg>
        <pc:spChg chg="add mod">
          <ac:chgData name="Nataliia Chornii (UA)" userId="4e4b8b3d-5f31-49bb-9f80-8a25c04abfff" providerId="ADAL" clId="{EE97D3FE-9ACA-4467-98E5-532EC45D9D1C}" dt="2024-03-01T14:31:46.278" v="14882" actId="555"/>
          <ac:spMkLst>
            <pc:docMk/>
            <pc:sldMk cId="1632897735" sldId="921"/>
            <ac:spMk id="39" creationId="{396FA384-DF9D-8B3C-8EE0-DC36034FD5B1}"/>
          </ac:spMkLst>
        </pc:spChg>
        <pc:spChg chg="add mod">
          <ac:chgData name="Nataliia Chornii (UA)" userId="4e4b8b3d-5f31-49bb-9f80-8a25c04abfff" providerId="ADAL" clId="{EE97D3FE-9ACA-4467-98E5-532EC45D9D1C}" dt="2024-03-01T14:31:40.786" v="14880" actId="554"/>
          <ac:spMkLst>
            <pc:docMk/>
            <pc:sldMk cId="1632897735" sldId="921"/>
            <ac:spMk id="40" creationId="{3C04D558-6349-59B4-4891-C3B362679252}"/>
          </ac:spMkLst>
        </pc:spChg>
        <pc:spChg chg="add mod">
          <ac:chgData name="Nataliia Chornii (UA)" userId="4e4b8b3d-5f31-49bb-9f80-8a25c04abfff" providerId="ADAL" clId="{EE97D3FE-9ACA-4467-98E5-532EC45D9D1C}" dt="2024-03-01T14:32:12.118" v="14888" actId="14100"/>
          <ac:spMkLst>
            <pc:docMk/>
            <pc:sldMk cId="1632897735" sldId="921"/>
            <ac:spMk id="41" creationId="{A5FCE91E-7750-1062-5437-D153B9C8E110}"/>
          </ac:spMkLst>
        </pc:spChg>
        <pc:spChg chg="add mod">
          <ac:chgData name="Nataliia Chornii (UA)" userId="4e4b8b3d-5f31-49bb-9f80-8a25c04abfff" providerId="ADAL" clId="{EE97D3FE-9ACA-4467-98E5-532EC45D9D1C}" dt="2024-03-01T14:31:30.106" v="14877" actId="554"/>
          <ac:spMkLst>
            <pc:docMk/>
            <pc:sldMk cId="1632897735" sldId="921"/>
            <ac:spMk id="42" creationId="{41F206C0-1514-9A56-1E69-C897346ADB21}"/>
          </ac:spMkLst>
        </pc:spChg>
        <pc:spChg chg="add mod">
          <ac:chgData name="Nataliia Chornii (UA)" userId="4e4b8b3d-5f31-49bb-9f80-8a25c04abfff" providerId="ADAL" clId="{EE97D3FE-9ACA-4467-98E5-532EC45D9D1C}" dt="2024-03-01T14:31:30.106" v="14877" actId="554"/>
          <ac:spMkLst>
            <pc:docMk/>
            <pc:sldMk cId="1632897735" sldId="921"/>
            <ac:spMk id="43" creationId="{C333C631-7908-BAEB-F79D-7746A92C6B90}"/>
          </ac:spMkLst>
        </pc:spChg>
        <pc:spChg chg="add mod">
          <ac:chgData name="Nataliia Chornii (UA)" userId="4e4b8b3d-5f31-49bb-9f80-8a25c04abfff" providerId="ADAL" clId="{EE97D3FE-9ACA-4467-98E5-532EC45D9D1C}" dt="2024-03-01T14:31:30.106" v="14877" actId="554"/>
          <ac:spMkLst>
            <pc:docMk/>
            <pc:sldMk cId="1632897735" sldId="921"/>
            <ac:spMk id="44" creationId="{F7B0A12B-EBED-EB91-D3B9-4B151635FA06}"/>
          </ac:spMkLst>
        </pc:spChg>
        <pc:spChg chg="add mod">
          <ac:chgData name="Nataliia Chornii (UA)" userId="4e4b8b3d-5f31-49bb-9f80-8a25c04abfff" providerId="ADAL" clId="{EE97D3FE-9ACA-4467-98E5-532EC45D9D1C}" dt="2024-03-01T14:31:40.786" v="14880" actId="554"/>
          <ac:spMkLst>
            <pc:docMk/>
            <pc:sldMk cId="1632897735" sldId="921"/>
            <ac:spMk id="45" creationId="{1BE28122-DCB8-C4C7-9167-163A091C3810}"/>
          </ac:spMkLst>
        </pc:spChg>
        <pc:spChg chg="add del mod">
          <ac:chgData name="Nataliia Chornii (UA)" userId="4e4b8b3d-5f31-49bb-9f80-8a25c04abfff" providerId="ADAL" clId="{EE97D3FE-9ACA-4467-98E5-532EC45D9D1C}" dt="2024-03-01T13:36:42.770" v="13561" actId="478"/>
          <ac:spMkLst>
            <pc:docMk/>
            <pc:sldMk cId="1632897735" sldId="921"/>
            <ac:spMk id="46" creationId="{C5878F71-4A8D-6269-1A24-6BABEDC6727F}"/>
          </ac:spMkLst>
        </pc:spChg>
        <pc:spChg chg="add del mod">
          <ac:chgData name="Nataliia Chornii (UA)" userId="4e4b8b3d-5f31-49bb-9f80-8a25c04abfff" providerId="ADAL" clId="{EE97D3FE-9ACA-4467-98E5-532EC45D9D1C}" dt="2024-03-01T13:36:42.770" v="13561" actId="478"/>
          <ac:spMkLst>
            <pc:docMk/>
            <pc:sldMk cId="1632897735" sldId="921"/>
            <ac:spMk id="47" creationId="{5AE5F107-E7F4-622C-608A-363323B2EFBD}"/>
          </ac:spMkLst>
        </pc:spChg>
        <pc:spChg chg="add del mod">
          <ac:chgData name="Nataliia Chornii (UA)" userId="4e4b8b3d-5f31-49bb-9f80-8a25c04abfff" providerId="ADAL" clId="{EE97D3FE-9ACA-4467-98E5-532EC45D9D1C}" dt="2024-03-01T14:30:45.832" v="14774" actId="478"/>
          <ac:spMkLst>
            <pc:docMk/>
            <pc:sldMk cId="1632897735" sldId="921"/>
            <ac:spMk id="48" creationId="{118E6111-566E-1BD8-B975-D01EF66B91A7}"/>
          </ac:spMkLst>
        </pc:spChg>
        <pc:spChg chg="add del mod">
          <ac:chgData name="Nataliia Chornii (UA)" userId="4e4b8b3d-5f31-49bb-9f80-8a25c04abfff" providerId="ADAL" clId="{EE97D3FE-9ACA-4467-98E5-532EC45D9D1C}" dt="2024-03-01T14:30:45.832" v="14774" actId="478"/>
          <ac:spMkLst>
            <pc:docMk/>
            <pc:sldMk cId="1632897735" sldId="921"/>
            <ac:spMk id="49" creationId="{F8F2F556-1FE5-D03D-9EC4-B84857A25871}"/>
          </ac:spMkLst>
        </pc:spChg>
        <pc:spChg chg="add del mod">
          <ac:chgData name="Nataliia Chornii (UA)" userId="4e4b8b3d-5f31-49bb-9f80-8a25c04abfff" providerId="ADAL" clId="{EE97D3FE-9ACA-4467-98E5-532EC45D9D1C}" dt="2024-03-01T14:30:45.832" v="14774" actId="478"/>
          <ac:spMkLst>
            <pc:docMk/>
            <pc:sldMk cId="1632897735" sldId="921"/>
            <ac:spMk id="50" creationId="{01BD9FF9-A8BE-75AB-4647-A24F9EE8996E}"/>
          </ac:spMkLst>
        </pc:spChg>
        <pc:spChg chg="add del mod">
          <ac:chgData name="Nataliia Chornii (UA)" userId="4e4b8b3d-5f31-49bb-9f80-8a25c04abfff" providerId="ADAL" clId="{EE97D3FE-9ACA-4467-98E5-532EC45D9D1C}" dt="2024-03-01T14:30:45.832" v="14774" actId="478"/>
          <ac:spMkLst>
            <pc:docMk/>
            <pc:sldMk cId="1632897735" sldId="921"/>
            <ac:spMk id="51" creationId="{3D8D84F2-4F20-4C4B-1B44-3379BB74F4B5}"/>
          </ac:spMkLst>
        </pc:spChg>
        <pc:spChg chg="add del mod">
          <ac:chgData name="Nataliia Chornii (UA)" userId="4e4b8b3d-5f31-49bb-9f80-8a25c04abfff" providerId="ADAL" clId="{EE97D3FE-9ACA-4467-98E5-532EC45D9D1C}" dt="2024-03-01T14:30:45.832" v="14774" actId="478"/>
          <ac:spMkLst>
            <pc:docMk/>
            <pc:sldMk cId="1632897735" sldId="921"/>
            <ac:spMk id="52" creationId="{E675D400-04F2-631D-25D8-9F1E3C9F9B1E}"/>
          </ac:spMkLst>
        </pc:spChg>
        <pc:spChg chg="add del mod">
          <ac:chgData name="Nataliia Chornii (UA)" userId="4e4b8b3d-5f31-49bb-9f80-8a25c04abfff" providerId="ADAL" clId="{EE97D3FE-9ACA-4467-98E5-532EC45D9D1C}" dt="2024-03-01T14:30:45.832" v="14774" actId="478"/>
          <ac:spMkLst>
            <pc:docMk/>
            <pc:sldMk cId="1632897735" sldId="921"/>
            <ac:spMk id="53" creationId="{3BD3BD23-6DBA-72B0-1413-25E0BCA17788}"/>
          </ac:spMkLst>
        </pc:spChg>
        <pc:spChg chg="add del mod">
          <ac:chgData name="Nataliia Chornii (UA)" userId="4e4b8b3d-5f31-49bb-9f80-8a25c04abfff" providerId="ADAL" clId="{EE97D3FE-9ACA-4467-98E5-532EC45D9D1C}" dt="2024-03-01T14:30:45.832" v="14774" actId="478"/>
          <ac:spMkLst>
            <pc:docMk/>
            <pc:sldMk cId="1632897735" sldId="921"/>
            <ac:spMk id="54" creationId="{59750C4B-282E-4434-DB75-220B159F7426}"/>
          </ac:spMkLst>
        </pc:spChg>
        <pc:spChg chg="add del mod">
          <ac:chgData name="Nataliia Chornii (UA)" userId="4e4b8b3d-5f31-49bb-9f80-8a25c04abfff" providerId="ADAL" clId="{EE97D3FE-9ACA-4467-98E5-532EC45D9D1C}" dt="2024-03-01T14:30:45.832" v="14774" actId="478"/>
          <ac:spMkLst>
            <pc:docMk/>
            <pc:sldMk cId="1632897735" sldId="921"/>
            <ac:spMk id="55" creationId="{1E1762AD-6D95-AC10-8F99-714FA02E1F5F}"/>
          </ac:spMkLst>
        </pc:spChg>
        <pc:spChg chg="add del mod">
          <ac:chgData name="Nataliia Chornii (UA)" userId="4e4b8b3d-5f31-49bb-9f80-8a25c04abfff" providerId="ADAL" clId="{EE97D3FE-9ACA-4467-98E5-532EC45D9D1C}" dt="2024-03-01T14:05:52.698" v="13591" actId="478"/>
          <ac:spMkLst>
            <pc:docMk/>
            <pc:sldMk cId="1632897735" sldId="921"/>
            <ac:spMk id="56" creationId="{D3630E74-5248-36D8-82C0-4745CC0C8027}"/>
          </ac:spMkLst>
        </pc:spChg>
        <pc:spChg chg="add mod">
          <ac:chgData name="Nataliia Chornii (UA)" userId="4e4b8b3d-5f31-49bb-9f80-8a25c04abfff" providerId="ADAL" clId="{EE97D3FE-9ACA-4467-98E5-532EC45D9D1C}" dt="2024-03-01T14:31:27.016" v="14876" actId="552"/>
          <ac:spMkLst>
            <pc:docMk/>
            <pc:sldMk cId="1632897735" sldId="921"/>
            <ac:spMk id="57" creationId="{5289A2E1-8F6D-9610-E7CE-9B7600169B03}"/>
          </ac:spMkLst>
        </pc:spChg>
        <pc:spChg chg="add mod">
          <ac:chgData name="Nataliia Chornii (UA)" userId="4e4b8b3d-5f31-49bb-9f80-8a25c04abfff" providerId="ADAL" clId="{EE97D3FE-9ACA-4467-98E5-532EC45D9D1C}" dt="2024-03-01T14:30:46.369" v="14775"/>
          <ac:spMkLst>
            <pc:docMk/>
            <pc:sldMk cId="1632897735" sldId="921"/>
            <ac:spMk id="58" creationId="{B43C1AF2-DE1A-E208-918C-6E21E6ECECF0}"/>
          </ac:spMkLst>
        </pc:spChg>
        <pc:spChg chg="add mod">
          <ac:chgData name="Nataliia Chornii (UA)" userId="4e4b8b3d-5f31-49bb-9f80-8a25c04abfff" providerId="ADAL" clId="{EE97D3FE-9ACA-4467-98E5-532EC45D9D1C}" dt="2024-03-01T14:30:46.369" v="14775"/>
          <ac:spMkLst>
            <pc:docMk/>
            <pc:sldMk cId="1632897735" sldId="921"/>
            <ac:spMk id="59" creationId="{6BD4F1BB-8A78-68F3-D3A0-8192F86B0E35}"/>
          </ac:spMkLst>
        </pc:spChg>
        <pc:spChg chg="add mod">
          <ac:chgData name="Nataliia Chornii (UA)" userId="4e4b8b3d-5f31-49bb-9f80-8a25c04abfff" providerId="ADAL" clId="{EE97D3FE-9ACA-4467-98E5-532EC45D9D1C}" dt="2024-03-01T14:30:46.369" v="14775"/>
          <ac:spMkLst>
            <pc:docMk/>
            <pc:sldMk cId="1632897735" sldId="921"/>
            <ac:spMk id="60" creationId="{988F552D-1F52-271D-E2BA-F2EA7028AE0C}"/>
          </ac:spMkLst>
        </pc:spChg>
        <pc:spChg chg="add mod">
          <ac:chgData name="Nataliia Chornii (UA)" userId="4e4b8b3d-5f31-49bb-9f80-8a25c04abfff" providerId="ADAL" clId="{EE97D3FE-9ACA-4467-98E5-532EC45D9D1C}" dt="2024-03-01T14:31:24.139" v="14875" actId="552"/>
          <ac:spMkLst>
            <pc:docMk/>
            <pc:sldMk cId="1632897735" sldId="921"/>
            <ac:spMk id="61" creationId="{754CE708-1BDC-782F-9C8A-0F59E276292A}"/>
          </ac:spMkLst>
        </pc:spChg>
        <pc:spChg chg="add mod">
          <ac:chgData name="Nataliia Chornii (UA)" userId="4e4b8b3d-5f31-49bb-9f80-8a25c04abfff" providerId="ADAL" clId="{EE97D3FE-9ACA-4467-98E5-532EC45D9D1C}" dt="2024-03-01T14:30:46.369" v="14775"/>
          <ac:spMkLst>
            <pc:docMk/>
            <pc:sldMk cId="1632897735" sldId="921"/>
            <ac:spMk id="62" creationId="{E6F89702-5666-40AD-82B9-D38CE70085DA}"/>
          </ac:spMkLst>
        </pc:spChg>
        <pc:spChg chg="add mod">
          <ac:chgData name="Nataliia Chornii (UA)" userId="4e4b8b3d-5f31-49bb-9f80-8a25c04abfff" providerId="ADAL" clId="{EE97D3FE-9ACA-4467-98E5-532EC45D9D1C}" dt="2024-03-01T14:30:46.369" v="14775"/>
          <ac:spMkLst>
            <pc:docMk/>
            <pc:sldMk cId="1632897735" sldId="921"/>
            <ac:spMk id="63" creationId="{51093CB8-6D43-2C06-65C9-248B175E887C}"/>
          </ac:spMkLst>
        </pc:spChg>
        <pc:spChg chg="add mod">
          <ac:chgData name="Nataliia Chornii (UA)" userId="4e4b8b3d-5f31-49bb-9f80-8a25c04abfff" providerId="ADAL" clId="{EE97D3FE-9ACA-4467-98E5-532EC45D9D1C}" dt="2024-03-01T14:30:46.369" v="14775"/>
          <ac:spMkLst>
            <pc:docMk/>
            <pc:sldMk cId="1632897735" sldId="921"/>
            <ac:spMk id="64" creationId="{08EF3060-4C16-1E7E-8A2E-5716356493F0}"/>
          </ac:spMkLst>
        </pc:spChg>
        <pc:spChg chg="add del mod">
          <ac:chgData name="Nataliia Chornii (UA)" userId="4e4b8b3d-5f31-49bb-9f80-8a25c04abfff" providerId="ADAL" clId="{EE97D3FE-9ACA-4467-98E5-532EC45D9D1C}" dt="2024-03-01T14:31:10.355" v="14808" actId="478"/>
          <ac:spMkLst>
            <pc:docMk/>
            <pc:sldMk cId="1632897735" sldId="921"/>
            <ac:spMk id="65" creationId="{1CF7948B-F5E1-5B86-D13C-4E47DFF2CBDF}"/>
          </ac:spMkLst>
        </pc:spChg>
        <pc:spChg chg="add del mod">
          <ac:chgData name="Nataliia Chornii (UA)" userId="4e4b8b3d-5f31-49bb-9f80-8a25c04abfff" providerId="ADAL" clId="{EE97D3FE-9ACA-4467-98E5-532EC45D9D1C}" dt="2024-03-01T14:31:10.355" v="14808" actId="478"/>
          <ac:spMkLst>
            <pc:docMk/>
            <pc:sldMk cId="1632897735" sldId="921"/>
            <ac:spMk id="66" creationId="{74290CBE-D219-A17F-67F2-CBD5DCBC8BB9}"/>
          </ac:spMkLst>
        </pc:spChg>
        <pc:grpChg chg="add mod">
          <ac:chgData name="Nataliia Chornii (UA)" userId="4e4b8b3d-5f31-49bb-9f80-8a25c04abfff" providerId="ADAL" clId="{EE97D3FE-9ACA-4467-98E5-532EC45D9D1C}" dt="2024-03-11T14:26:10.960" v="24089"/>
          <ac:grpSpMkLst>
            <pc:docMk/>
            <pc:sldMk cId="1632897735" sldId="921"/>
            <ac:grpSpMk id="7" creationId="{0E16886F-1660-D9CA-AF41-13EDD241F0BC}"/>
          </ac:grpSpMkLst>
        </pc:grpChg>
        <pc:graphicFrameChg chg="add mod ord modVis replST">
          <ac:chgData name="Nataliia Chornii (UA)" userId="4e4b8b3d-5f31-49bb-9f80-8a25c04abfff" providerId="ADAL" clId="{EE97D3FE-9ACA-4467-98E5-532EC45D9D1C}" dt="2024-03-04T09:18:13.605" v="18644"/>
          <ac:graphicFrameMkLst>
            <pc:docMk/>
            <pc:sldMk cId="1632897735" sldId="921"/>
            <ac:graphicFrameMk id="9" creationId="{B1B11D56-80D9-3D1E-3606-F06395515494}"/>
          </ac:graphicFrameMkLst>
        </pc:graphicFrameChg>
      </pc:sldChg>
      <pc:sldChg chg="addSp delSp modSp mod modClrScheme chgLayout">
        <pc:chgData name="Nataliia Chornii (UA)" userId="4e4b8b3d-5f31-49bb-9f80-8a25c04abfff" providerId="ADAL" clId="{EE97D3FE-9ACA-4467-98E5-532EC45D9D1C}" dt="2024-03-11T14:30:21.967" v="24257" actId="478"/>
        <pc:sldMkLst>
          <pc:docMk/>
          <pc:sldMk cId="3183596888" sldId="922"/>
        </pc:sldMkLst>
        <pc:spChg chg="add del mod modVis">
          <ac:chgData name="Nataliia Chornii (UA)" userId="4e4b8b3d-5f31-49bb-9f80-8a25c04abfff" providerId="ADAL" clId="{EE97D3FE-9ACA-4467-98E5-532EC45D9D1C}" dt="2024-03-01T08:48:59.811" v="1527"/>
          <ac:spMkLst>
            <pc:docMk/>
            <pc:sldMk cId="3183596888" sldId="922"/>
            <ac:spMk id="2" creationId="{618AED58-C774-F8C8-7705-F0E0C7540D44}"/>
          </ac:spMkLst>
        </pc:spChg>
        <pc:spChg chg="add del mod">
          <ac:chgData name="Nataliia Chornii (UA)" userId="4e4b8b3d-5f31-49bb-9f80-8a25c04abfff" providerId="ADAL" clId="{EE97D3FE-9ACA-4467-98E5-532EC45D9D1C}" dt="2024-03-11T14:30:21.967" v="24257" actId="478"/>
          <ac:spMkLst>
            <pc:docMk/>
            <pc:sldMk cId="3183596888" sldId="922"/>
            <ac:spMk id="2" creationId="{F1D6F790-6D5A-4BF8-B010-A12DBE713578}"/>
          </ac:spMkLst>
        </pc:spChg>
        <pc:spChg chg="mod ord">
          <ac:chgData name="Nataliia Chornii (UA)" userId="4e4b8b3d-5f31-49bb-9f80-8a25c04abfff" providerId="ADAL" clId="{EE97D3FE-9ACA-4467-98E5-532EC45D9D1C}" dt="2024-03-01T14:27:28.792" v="14455"/>
          <ac:spMkLst>
            <pc:docMk/>
            <pc:sldMk cId="3183596888" sldId="922"/>
            <ac:spMk id="3" creationId="{F4CCF02E-F3C4-C376-8F56-61BD85A2E74B}"/>
          </ac:spMkLst>
        </pc:spChg>
        <pc:spChg chg="mod ord">
          <ac:chgData name="Nataliia Chornii (UA)" userId="4e4b8b3d-5f31-49bb-9f80-8a25c04abfff" providerId="ADAL" clId="{EE97D3FE-9ACA-4467-98E5-532EC45D9D1C}" dt="2024-03-04T08:47:56.365" v="17583" actId="207"/>
          <ac:spMkLst>
            <pc:docMk/>
            <pc:sldMk cId="3183596888" sldId="922"/>
            <ac:spMk id="4" creationId="{872966CD-924A-B939-E655-A6BAF817DCBF}"/>
          </ac:spMkLst>
        </pc:spChg>
        <pc:spChg chg="add mod">
          <ac:chgData name="Nataliia Chornii (UA)" userId="4e4b8b3d-5f31-49bb-9f80-8a25c04abfff" providerId="ADAL" clId="{EE97D3FE-9ACA-4467-98E5-532EC45D9D1C}" dt="2024-03-11T14:26:13.525" v="24091"/>
          <ac:spMkLst>
            <pc:docMk/>
            <pc:sldMk cId="3183596888" sldId="922"/>
            <ac:spMk id="5" creationId="{1806521B-FB80-1F07-D596-6A488A95DE31}"/>
          </ac:spMkLst>
        </pc:spChg>
        <pc:spChg chg="del">
          <ac:chgData name="Nataliia Chornii (UA)" userId="4e4b8b3d-5f31-49bb-9f80-8a25c04abfff" providerId="ADAL" clId="{EE97D3FE-9ACA-4467-98E5-532EC45D9D1C}" dt="2024-03-01T14:19:41.988" v="14205" actId="478"/>
          <ac:spMkLst>
            <pc:docMk/>
            <pc:sldMk cId="3183596888" sldId="922"/>
            <ac:spMk id="5" creationId="{FF11D90A-8D15-0E43-4C2E-D42257331C13}"/>
          </ac:spMkLst>
        </pc:spChg>
        <pc:spChg chg="del">
          <ac:chgData name="Nataliia Chornii (UA)" userId="4e4b8b3d-5f31-49bb-9f80-8a25c04abfff" providerId="ADAL" clId="{EE97D3FE-9ACA-4467-98E5-532EC45D9D1C}" dt="2024-03-01T14:19:41.988" v="14205" actId="478"/>
          <ac:spMkLst>
            <pc:docMk/>
            <pc:sldMk cId="3183596888" sldId="922"/>
            <ac:spMk id="6" creationId="{0F377277-EC46-FAC5-F379-194FCD82679C}"/>
          </ac:spMkLst>
        </pc:spChg>
        <pc:spChg chg="del">
          <ac:chgData name="Nataliia Chornii (UA)" userId="4e4b8b3d-5f31-49bb-9f80-8a25c04abfff" providerId="ADAL" clId="{EE97D3FE-9ACA-4467-98E5-532EC45D9D1C}" dt="2024-03-01T14:25:40.861" v="14327" actId="478"/>
          <ac:spMkLst>
            <pc:docMk/>
            <pc:sldMk cId="3183596888" sldId="922"/>
            <ac:spMk id="7" creationId="{8E846963-540E-9336-DE83-B87EC3AB5727}"/>
          </ac:spMkLst>
        </pc:spChg>
        <pc:spChg chg="mod">
          <ac:chgData name="Nataliia Chornii (UA)" userId="4e4b8b3d-5f31-49bb-9f80-8a25c04abfff" providerId="ADAL" clId="{EE97D3FE-9ACA-4467-98E5-532EC45D9D1C}" dt="2024-03-11T14:26:13.525" v="24091"/>
          <ac:spMkLst>
            <pc:docMk/>
            <pc:sldMk cId="3183596888" sldId="922"/>
            <ac:spMk id="7" creationId="{E5DC344B-53BC-F9F3-1925-A2C9BFCAA54E}"/>
          </ac:spMkLst>
        </pc:spChg>
        <pc:spChg chg="del mod">
          <ac:chgData name="Nataliia Chornii (UA)" userId="4e4b8b3d-5f31-49bb-9f80-8a25c04abfff" providerId="ADAL" clId="{EE97D3FE-9ACA-4467-98E5-532EC45D9D1C}" dt="2024-03-01T14:20:47.945" v="14258" actId="478"/>
          <ac:spMkLst>
            <pc:docMk/>
            <pc:sldMk cId="3183596888" sldId="922"/>
            <ac:spMk id="8" creationId="{598AB23C-0BF9-85FE-4B7A-DC0CF1A85603}"/>
          </ac:spMkLst>
        </pc:spChg>
        <pc:spChg chg="mod">
          <ac:chgData name="Nataliia Chornii (UA)" userId="4e4b8b3d-5f31-49bb-9f80-8a25c04abfff" providerId="ADAL" clId="{EE97D3FE-9ACA-4467-98E5-532EC45D9D1C}" dt="2024-03-11T14:26:13.525" v="24091"/>
          <ac:spMkLst>
            <pc:docMk/>
            <pc:sldMk cId="3183596888" sldId="922"/>
            <ac:spMk id="8" creationId="{858F6A1C-4D05-9C29-5850-8587402F92BA}"/>
          </ac:spMkLst>
        </pc:spChg>
        <pc:spChg chg="del mod ord">
          <ac:chgData name="Nataliia Chornii (UA)" userId="4e4b8b3d-5f31-49bb-9f80-8a25c04abfff" providerId="ADAL" clId="{EE97D3FE-9ACA-4467-98E5-532EC45D9D1C}" dt="2024-03-01T14:26:18.603" v="14445" actId="478"/>
          <ac:spMkLst>
            <pc:docMk/>
            <pc:sldMk cId="3183596888" sldId="922"/>
            <ac:spMk id="10" creationId="{489B7680-E5EE-2A50-7733-37F2F144B869}"/>
          </ac:spMkLst>
        </pc:spChg>
        <pc:spChg chg="mod">
          <ac:chgData name="Nataliia Chornii (UA)" userId="4e4b8b3d-5f31-49bb-9f80-8a25c04abfff" providerId="ADAL" clId="{EE97D3FE-9ACA-4467-98E5-532EC45D9D1C}" dt="2024-03-11T14:26:13.525" v="24091"/>
          <ac:spMkLst>
            <pc:docMk/>
            <pc:sldMk cId="3183596888" sldId="922"/>
            <ac:spMk id="10" creationId="{A92EAB28-6138-2C0C-300C-D5C82E838F67}"/>
          </ac:spMkLst>
        </pc:spChg>
        <pc:spChg chg="del mod">
          <ac:chgData name="Nataliia Chornii (UA)" userId="4e4b8b3d-5f31-49bb-9f80-8a25c04abfff" providerId="ADAL" clId="{EE97D3FE-9ACA-4467-98E5-532EC45D9D1C}" dt="2024-03-01T14:25:39.723" v="14326" actId="478"/>
          <ac:spMkLst>
            <pc:docMk/>
            <pc:sldMk cId="3183596888" sldId="922"/>
            <ac:spMk id="11" creationId="{327B1A4B-6980-7B00-091C-6006703B82A0}"/>
          </ac:spMkLst>
        </pc:spChg>
        <pc:spChg chg="mod">
          <ac:chgData name="Nataliia Chornii (UA)" userId="4e4b8b3d-5f31-49bb-9f80-8a25c04abfff" providerId="ADAL" clId="{EE97D3FE-9ACA-4467-98E5-532EC45D9D1C}" dt="2024-03-11T14:26:13.525" v="24091"/>
          <ac:spMkLst>
            <pc:docMk/>
            <pc:sldMk cId="3183596888" sldId="922"/>
            <ac:spMk id="11" creationId="{746ACE7A-C6A4-BF9F-578D-9403D1412634}"/>
          </ac:spMkLst>
        </pc:spChg>
        <pc:spChg chg="mod">
          <ac:chgData name="Nataliia Chornii (UA)" userId="4e4b8b3d-5f31-49bb-9f80-8a25c04abfff" providerId="ADAL" clId="{EE97D3FE-9ACA-4467-98E5-532EC45D9D1C}" dt="2024-03-11T14:26:13.525" v="24091"/>
          <ac:spMkLst>
            <pc:docMk/>
            <pc:sldMk cId="3183596888" sldId="922"/>
            <ac:spMk id="12" creationId="{2BD2EED7-64F0-31AF-9749-E92667CED116}"/>
          </ac:spMkLst>
        </pc:spChg>
        <pc:spChg chg="add del mod modVis">
          <ac:chgData name="Nataliia Chornii (UA)" userId="4e4b8b3d-5f31-49bb-9f80-8a25c04abfff" providerId="ADAL" clId="{EE97D3FE-9ACA-4467-98E5-532EC45D9D1C}" dt="2024-03-01T08:49:33.792" v="2854"/>
          <ac:spMkLst>
            <pc:docMk/>
            <pc:sldMk cId="3183596888" sldId="922"/>
            <ac:spMk id="12" creationId="{C964F4A6-369B-BD9F-122F-3F30F54753F6}"/>
          </ac:spMkLst>
        </pc:spChg>
        <pc:spChg chg="mod">
          <ac:chgData name="Nataliia Chornii (UA)" userId="4e4b8b3d-5f31-49bb-9f80-8a25c04abfff" providerId="ADAL" clId="{EE97D3FE-9ACA-4467-98E5-532EC45D9D1C}" dt="2024-03-11T14:26:13.525" v="24091"/>
          <ac:spMkLst>
            <pc:docMk/>
            <pc:sldMk cId="3183596888" sldId="922"/>
            <ac:spMk id="13" creationId="{6FFD7DB8-95D3-5BBC-8FED-B83EAF8D42EC}"/>
          </ac:spMkLst>
        </pc:spChg>
        <pc:spChg chg="add del mod modVis">
          <ac:chgData name="Nataliia Chornii (UA)" userId="4e4b8b3d-5f31-49bb-9f80-8a25c04abfff" providerId="ADAL" clId="{EE97D3FE-9ACA-4467-98E5-532EC45D9D1C}" dt="2024-03-01T08:49:59.835" v="3842"/>
          <ac:spMkLst>
            <pc:docMk/>
            <pc:sldMk cId="3183596888" sldId="922"/>
            <ac:spMk id="13" creationId="{76A2EAB5-E2EF-34A8-7633-300B6FF97543}"/>
          </ac:spMkLst>
        </pc:spChg>
        <pc:spChg chg="add del mod modVis">
          <ac:chgData name="Nataliia Chornii (UA)" userId="4e4b8b3d-5f31-49bb-9f80-8a25c04abfff" providerId="ADAL" clId="{EE97D3FE-9ACA-4467-98E5-532EC45D9D1C}" dt="2024-03-01T08:51:26.139" v="4830"/>
          <ac:spMkLst>
            <pc:docMk/>
            <pc:sldMk cId="3183596888" sldId="922"/>
            <ac:spMk id="14" creationId="{BD5D02C1-2A8C-CE61-DA59-12BD1E2AC4FA}"/>
          </ac:spMkLst>
        </pc:spChg>
        <pc:spChg chg="add mod">
          <ac:chgData name="Nataliia Chornii (UA)" userId="4e4b8b3d-5f31-49bb-9f80-8a25c04abfff" providerId="ADAL" clId="{EE97D3FE-9ACA-4467-98E5-532EC45D9D1C}" dt="2024-03-11T14:30:20.358" v="24256"/>
          <ac:spMkLst>
            <pc:docMk/>
            <pc:sldMk cId="3183596888" sldId="922"/>
            <ac:spMk id="14" creationId="{C4842404-4092-146E-F10A-12B247EC98A1}"/>
          </ac:spMkLst>
        </pc:spChg>
        <pc:spChg chg="add del mod modVis">
          <ac:chgData name="Nataliia Chornii (UA)" userId="4e4b8b3d-5f31-49bb-9f80-8a25c04abfff" providerId="ADAL" clId="{EE97D3FE-9ACA-4467-98E5-532EC45D9D1C}" dt="2024-03-01T08:51:56.157" v="5819"/>
          <ac:spMkLst>
            <pc:docMk/>
            <pc:sldMk cId="3183596888" sldId="922"/>
            <ac:spMk id="15" creationId="{A65B03BB-EB50-DE25-F7C1-556B99FB595B}"/>
          </ac:spMkLst>
        </pc:spChg>
        <pc:spChg chg="add del mod modVis">
          <ac:chgData name="Nataliia Chornii (UA)" userId="4e4b8b3d-5f31-49bb-9f80-8a25c04abfff" providerId="ADAL" clId="{EE97D3FE-9ACA-4467-98E5-532EC45D9D1C}" dt="2024-03-01T08:52:18.312" v="6807"/>
          <ac:spMkLst>
            <pc:docMk/>
            <pc:sldMk cId="3183596888" sldId="922"/>
            <ac:spMk id="16" creationId="{71A6767F-363E-AC40-EE94-1C9E705680F5}"/>
          </ac:spMkLst>
        </pc:spChg>
        <pc:spChg chg="add mod ord">
          <ac:chgData name="Nataliia Chornii (UA)" userId="4e4b8b3d-5f31-49bb-9f80-8a25c04abfff" providerId="ADAL" clId="{EE97D3FE-9ACA-4467-98E5-532EC45D9D1C}" dt="2024-03-01T14:55:46.443" v="15914" actId="555"/>
          <ac:spMkLst>
            <pc:docMk/>
            <pc:sldMk cId="3183596888" sldId="922"/>
            <ac:spMk id="17" creationId="{6FA36F9D-90F9-114F-5453-39394D16CFF6}"/>
          </ac:spMkLst>
        </pc:spChg>
        <pc:spChg chg="add mod ord">
          <ac:chgData name="Nataliia Chornii (UA)" userId="4e4b8b3d-5f31-49bb-9f80-8a25c04abfff" providerId="ADAL" clId="{EE97D3FE-9ACA-4467-98E5-532EC45D9D1C}" dt="2024-03-01T14:55:56.918" v="15917" actId="12789"/>
          <ac:spMkLst>
            <pc:docMk/>
            <pc:sldMk cId="3183596888" sldId="922"/>
            <ac:spMk id="18" creationId="{D0D5258A-7E40-C195-904C-0D59B96D8721}"/>
          </ac:spMkLst>
        </pc:spChg>
        <pc:spChg chg="add del mod ord">
          <ac:chgData name="Nataliia Chornii (UA)" userId="4e4b8b3d-5f31-49bb-9f80-8a25c04abfff" providerId="ADAL" clId="{EE97D3FE-9ACA-4467-98E5-532EC45D9D1C}" dt="2024-03-01T14:55:01.641" v="15899" actId="478"/>
          <ac:spMkLst>
            <pc:docMk/>
            <pc:sldMk cId="3183596888" sldId="922"/>
            <ac:spMk id="19" creationId="{298EEC85-32E6-6167-52ED-5BBD7874F9B7}"/>
          </ac:spMkLst>
        </pc:spChg>
        <pc:spChg chg="add del mod ord">
          <ac:chgData name="Nataliia Chornii (UA)" userId="4e4b8b3d-5f31-49bb-9f80-8a25c04abfff" providerId="ADAL" clId="{EE97D3FE-9ACA-4467-98E5-532EC45D9D1C}" dt="2024-03-01T14:55:01.641" v="15899" actId="478"/>
          <ac:spMkLst>
            <pc:docMk/>
            <pc:sldMk cId="3183596888" sldId="922"/>
            <ac:spMk id="20" creationId="{878B7128-915D-7794-5EEC-F2D3BAFD52E1}"/>
          </ac:spMkLst>
        </pc:spChg>
        <pc:spChg chg="add del mod ord">
          <ac:chgData name="Nataliia Chornii (UA)" userId="4e4b8b3d-5f31-49bb-9f80-8a25c04abfff" providerId="ADAL" clId="{EE97D3FE-9ACA-4467-98E5-532EC45D9D1C}" dt="2024-03-01T14:55:01.641" v="15899" actId="478"/>
          <ac:spMkLst>
            <pc:docMk/>
            <pc:sldMk cId="3183596888" sldId="922"/>
            <ac:spMk id="21" creationId="{AB12B0CF-FDF1-9360-5F2F-EB460F5A173D}"/>
          </ac:spMkLst>
        </pc:spChg>
        <pc:spChg chg="add del mod ord">
          <ac:chgData name="Nataliia Chornii (UA)" userId="4e4b8b3d-5f31-49bb-9f80-8a25c04abfff" providerId="ADAL" clId="{EE97D3FE-9ACA-4467-98E5-532EC45D9D1C}" dt="2024-03-01T14:55:01.641" v="15899" actId="478"/>
          <ac:spMkLst>
            <pc:docMk/>
            <pc:sldMk cId="3183596888" sldId="922"/>
            <ac:spMk id="22" creationId="{2908A0DC-C413-5F51-C087-FA8158241888}"/>
          </ac:spMkLst>
        </pc:spChg>
        <pc:spChg chg="add del mod ord">
          <ac:chgData name="Nataliia Chornii (UA)" userId="4e4b8b3d-5f31-49bb-9f80-8a25c04abfff" providerId="ADAL" clId="{EE97D3FE-9ACA-4467-98E5-532EC45D9D1C}" dt="2024-03-01T14:55:01.641" v="15899" actId="478"/>
          <ac:spMkLst>
            <pc:docMk/>
            <pc:sldMk cId="3183596888" sldId="922"/>
            <ac:spMk id="23" creationId="{52BE34D9-FD61-0DAD-B1D6-E60C22682993}"/>
          </ac:spMkLst>
        </pc:spChg>
        <pc:spChg chg="add del mod ord">
          <ac:chgData name="Nataliia Chornii (UA)" userId="4e4b8b3d-5f31-49bb-9f80-8a25c04abfff" providerId="ADAL" clId="{EE97D3FE-9ACA-4467-98E5-532EC45D9D1C}" dt="2024-03-01T14:55:01.641" v="15899" actId="478"/>
          <ac:spMkLst>
            <pc:docMk/>
            <pc:sldMk cId="3183596888" sldId="922"/>
            <ac:spMk id="24" creationId="{105914F6-CE1A-DBBA-14B3-D0D76561EAB0}"/>
          </ac:spMkLst>
        </pc:spChg>
        <pc:spChg chg="add mod ord">
          <ac:chgData name="Nataliia Chornii (UA)" userId="4e4b8b3d-5f31-49bb-9f80-8a25c04abfff" providerId="ADAL" clId="{EE97D3FE-9ACA-4467-98E5-532EC45D9D1C}" dt="2024-03-01T14:55:49.085" v="15915" actId="465"/>
          <ac:spMkLst>
            <pc:docMk/>
            <pc:sldMk cId="3183596888" sldId="922"/>
            <ac:spMk id="25" creationId="{F90FB644-2ECF-579C-968C-E4B723BA5A4A}"/>
          </ac:spMkLst>
        </pc:spChg>
        <pc:spChg chg="add mod ord">
          <ac:chgData name="Nataliia Chornii (UA)" userId="4e4b8b3d-5f31-49bb-9f80-8a25c04abfff" providerId="ADAL" clId="{EE97D3FE-9ACA-4467-98E5-532EC45D9D1C}" dt="2024-03-01T14:55:49.085" v="15915" actId="465"/>
          <ac:spMkLst>
            <pc:docMk/>
            <pc:sldMk cId="3183596888" sldId="922"/>
            <ac:spMk id="26" creationId="{81B54A20-703E-18F4-F82D-7F7C7C1E55E0}"/>
          </ac:spMkLst>
        </pc:spChg>
        <pc:spChg chg="add mod ord">
          <ac:chgData name="Nataliia Chornii (UA)" userId="4e4b8b3d-5f31-49bb-9f80-8a25c04abfff" providerId="ADAL" clId="{EE97D3FE-9ACA-4467-98E5-532EC45D9D1C}" dt="2024-03-01T14:56:00.509" v="15919" actId="12789"/>
          <ac:spMkLst>
            <pc:docMk/>
            <pc:sldMk cId="3183596888" sldId="922"/>
            <ac:spMk id="27" creationId="{057BA24F-824C-F813-F48B-B72FDA4806E5}"/>
          </ac:spMkLst>
        </pc:spChg>
        <pc:spChg chg="add del mod">
          <ac:chgData name="Nataliia Chornii (UA)" userId="4e4b8b3d-5f31-49bb-9f80-8a25c04abfff" providerId="ADAL" clId="{EE97D3FE-9ACA-4467-98E5-532EC45D9D1C}" dt="2024-03-01T14:18:43.847" v="14196" actId="478"/>
          <ac:spMkLst>
            <pc:docMk/>
            <pc:sldMk cId="3183596888" sldId="922"/>
            <ac:spMk id="28" creationId="{3DBBAA0F-9591-9662-1A77-F19E0AAC9089}"/>
          </ac:spMkLst>
        </pc:spChg>
        <pc:spChg chg="add del mod">
          <ac:chgData name="Nataliia Chornii (UA)" userId="4e4b8b3d-5f31-49bb-9f80-8a25c04abfff" providerId="ADAL" clId="{EE97D3FE-9ACA-4467-98E5-532EC45D9D1C}" dt="2024-03-01T14:18:43.847" v="14196" actId="478"/>
          <ac:spMkLst>
            <pc:docMk/>
            <pc:sldMk cId="3183596888" sldId="922"/>
            <ac:spMk id="29" creationId="{90326B2F-E62F-8214-4388-9D32503900A2}"/>
          </ac:spMkLst>
        </pc:spChg>
        <pc:spChg chg="add del mod">
          <ac:chgData name="Nataliia Chornii (UA)" userId="4e4b8b3d-5f31-49bb-9f80-8a25c04abfff" providerId="ADAL" clId="{EE97D3FE-9ACA-4467-98E5-532EC45D9D1C}" dt="2024-03-01T14:18:43.847" v="14196" actId="478"/>
          <ac:spMkLst>
            <pc:docMk/>
            <pc:sldMk cId="3183596888" sldId="922"/>
            <ac:spMk id="30" creationId="{9C48010D-A474-311D-388D-BB5197C5677C}"/>
          </ac:spMkLst>
        </pc:spChg>
        <pc:spChg chg="add del mod">
          <ac:chgData name="Nataliia Chornii (UA)" userId="4e4b8b3d-5f31-49bb-9f80-8a25c04abfff" providerId="ADAL" clId="{EE97D3FE-9ACA-4467-98E5-532EC45D9D1C}" dt="2024-03-01T14:19:39.808" v="14204" actId="478"/>
          <ac:spMkLst>
            <pc:docMk/>
            <pc:sldMk cId="3183596888" sldId="922"/>
            <ac:spMk id="31" creationId="{FEBD885F-FA96-8A1B-4258-9BEC0C067BB1}"/>
          </ac:spMkLst>
        </pc:spChg>
        <pc:spChg chg="add mod ord">
          <ac:chgData name="Nataliia Chornii (UA)" userId="4e4b8b3d-5f31-49bb-9f80-8a25c04abfff" providerId="ADAL" clId="{EE97D3FE-9ACA-4467-98E5-532EC45D9D1C}" dt="2024-03-01T14:56:03.539" v="15920" actId="465"/>
          <ac:spMkLst>
            <pc:docMk/>
            <pc:sldMk cId="3183596888" sldId="922"/>
            <ac:spMk id="32" creationId="{4856FA89-D34A-DD8D-457A-FE1983E9ECD3}"/>
          </ac:spMkLst>
        </pc:spChg>
        <pc:spChg chg="add mod ord">
          <ac:chgData name="Nataliia Chornii (UA)" userId="4e4b8b3d-5f31-49bb-9f80-8a25c04abfff" providerId="ADAL" clId="{EE97D3FE-9ACA-4467-98E5-532EC45D9D1C}" dt="2024-03-01T14:56:00.509" v="15919" actId="12789"/>
          <ac:spMkLst>
            <pc:docMk/>
            <pc:sldMk cId="3183596888" sldId="922"/>
            <ac:spMk id="33" creationId="{5F20B02B-319A-56A8-B3AD-0245CFA22F57}"/>
          </ac:spMkLst>
        </pc:spChg>
        <pc:spChg chg="add del mod">
          <ac:chgData name="Nataliia Chornii (UA)" userId="4e4b8b3d-5f31-49bb-9f80-8a25c04abfff" providerId="ADAL" clId="{EE97D3FE-9ACA-4467-98E5-532EC45D9D1C}" dt="2024-03-01T14:18:56.978" v="14198" actId="478"/>
          <ac:spMkLst>
            <pc:docMk/>
            <pc:sldMk cId="3183596888" sldId="922"/>
            <ac:spMk id="34" creationId="{034E0E93-7A1B-BBA2-057A-ED1218950BF6}"/>
          </ac:spMkLst>
        </pc:spChg>
        <pc:spChg chg="add del mod">
          <ac:chgData name="Nataliia Chornii (UA)" userId="4e4b8b3d-5f31-49bb-9f80-8a25c04abfff" providerId="ADAL" clId="{EE97D3FE-9ACA-4467-98E5-532EC45D9D1C}" dt="2024-03-01T14:18:56.978" v="14198" actId="478"/>
          <ac:spMkLst>
            <pc:docMk/>
            <pc:sldMk cId="3183596888" sldId="922"/>
            <ac:spMk id="35" creationId="{467EF71F-39E5-AE2E-52D0-5CDAD6490806}"/>
          </ac:spMkLst>
        </pc:spChg>
        <pc:spChg chg="add del mod">
          <ac:chgData name="Nataliia Chornii (UA)" userId="4e4b8b3d-5f31-49bb-9f80-8a25c04abfff" providerId="ADAL" clId="{EE97D3FE-9ACA-4467-98E5-532EC45D9D1C}" dt="2024-03-01T14:18:56.978" v="14198" actId="478"/>
          <ac:spMkLst>
            <pc:docMk/>
            <pc:sldMk cId="3183596888" sldId="922"/>
            <ac:spMk id="36" creationId="{5BAAB962-63C1-8AB7-E2F9-579BEAA71473}"/>
          </ac:spMkLst>
        </pc:spChg>
        <pc:spChg chg="add mod ord">
          <ac:chgData name="Nataliia Chornii (UA)" userId="4e4b8b3d-5f31-49bb-9f80-8a25c04abfff" providerId="ADAL" clId="{EE97D3FE-9ACA-4467-98E5-532EC45D9D1C}" dt="2024-03-01T14:56:03.539" v="15920" actId="465"/>
          <ac:spMkLst>
            <pc:docMk/>
            <pc:sldMk cId="3183596888" sldId="922"/>
            <ac:spMk id="37" creationId="{B4A1FCDF-F4EF-2C95-ABB1-CBEA3086D555}"/>
          </ac:spMkLst>
        </pc:spChg>
        <pc:spChg chg="add del mod">
          <ac:chgData name="Nataliia Chornii (UA)" userId="4e4b8b3d-5f31-49bb-9f80-8a25c04abfff" providerId="ADAL" clId="{EE97D3FE-9ACA-4467-98E5-532EC45D9D1C}" dt="2024-03-01T14:18:56.978" v="14198" actId="478"/>
          <ac:spMkLst>
            <pc:docMk/>
            <pc:sldMk cId="3183596888" sldId="922"/>
            <ac:spMk id="38" creationId="{FBF22FC9-6E54-06C4-9AF0-FAC32D753534}"/>
          </ac:spMkLst>
        </pc:spChg>
        <pc:spChg chg="add del mod ord">
          <ac:chgData name="Nataliia Chornii (UA)" userId="4e4b8b3d-5f31-49bb-9f80-8a25c04abfff" providerId="ADAL" clId="{EE97D3FE-9ACA-4467-98E5-532EC45D9D1C}" dt="2024-03-01T14:55:01.641" v="15899" actId="478"/>
          <ac:spMkLst>
            <pc:docMk/>
            <pc:sldMk cId="3183596888" sldId="922"/>
            <ac:spMk id="46" creationId="{183405AE-27D6-CD53-8CDD-144DF0B67F8A}"/>
          </ac:spMkLst>
        </pc:spChg>
        <pc:spChg chg="add del mod ord">
          <ac:chgData name="Nataliia Chornii (UA)" userId="4e4b8b3d-5f31-49bb-9f80-8a25c04abfff" providerId="ADAL" clId="{EE97D3FE-9ACA-4467-98E5-532EC45D9D1C}" dt="2024-03-01T14:55:01.641" v="15899" actId="478"/>
          <ac:spMkLst>
            <pc:docMk/>
            <pc:sldMk cId="3183596888" sldId="922"/>
            <ac:spMk id="47" creationId="{964CD051-14CA-84B0-D4E8-45A6C1A922E9}"/>
          </ac:spMkLst>
        </pc:spChg>
        <pc:spChg chg="add mod ord">
          <ac:chgData name="Nataliia Chornii (UA)" userId="4e4b8b3d-5f31-49bb-9f80-8a25c04abfff" providerId="ADAL" clId="{EE97D3FE-9ACA-4467-98E5-532EC45D9D1C}" dt="2024-03-01T14:56:19.141" v="15924" actId="12789"/>
          <ac:spMkLst>
            <pc:docMk/>
            <pc:sldMk cId="3183596888" sldId="922"/>
            <ac:spMk id="48" creationId="{6AC80282-8A0D-F35B-8056-0432B6772D55}"/>
          </ac:spMkLst>
        </pc:spChg>
        <pc:spChg chg="add mod ord">
          <ac:chgData name="Nataliia Chornii (UA)" userId="4e4b8b3d-5f31-49bb-9f80-8a25c04abfff" providerId="ADAL" clId="{EE97D3FE-9ACA-4467-98E5-532EC45D9D1C}" dt="2024-03-01T14:56:19.141" v="15924" actId="12789"/>
          <ac:spMkLst>
            <pc:docMk/>
            <pc:sldMk cId="3183596888" sldId="922"/>
            <ac:spMk id="50" creationId="{C7A420F0-5CC5-29EF-B3BB-7D5781CABFC2}"/>
          </ac:spMkLst>
        </pc:spChg>
        <pc:spChg chg="add mod ord">
          <ac:chgData name="Nataliia Chornii (UA)" userId="4e4b8b3d-5f31-49bb-9f80-8a25c04abfff" providerId="ADAL" clId="{EE97D3FE-9ACA-4467-98E5-532EC45D9D1C}" dt="2024-03-01T14:56:12.174" v="15922" actId="1076"/>
          <ac:spMkLst>
            <pc:docMk/>
            <pc:sldMk cId="3183596888" sldId="922"/>
            <ac:spMk id="51" creationId="{4BEF1C2A-C650-BD1B-C954-06A60EF7BAB8}"/>
          </ac:spMkLst>
        </pc:spChg>
        <pc:spChg chg="add del mod">
          <ac:chgData name="Nataliia Chornii (UA)" userId="4e4b8b3d-5f31-49bb-9f80-8a25c04abfff" providerId="ADAL" clId="{EE97D3FE-9ACA-4467-98E5-532EC45D9D1C}" dt="2024-03-01T14:20:59.876" v="14260" actId="478"/>
          <ac:spMkLst>
            <pc:docMk/>
            <pc:sldMk cId="3183596888" sldId="922"/>
            <ac:spMk id="52" creationId="{0614E846-C8FF-324D-0A21-8E473BC9AD38}"/>
          </ac:spMkLst>
        </pc:spChg>
        <pc:spChg chg="add del mod">
          <ac:chgData name="Nataliia Chornii (UA)" userId="4e4b8b3d-5f31-49bb-9f80-8a25c04abfff" providerId="ADAL" clId="{EE97D3FE-9ACA-4467-98E5-532EC45D9D1C}" dt="2024-03-01T14:18:43.847" v="14196" actId="478"/>
          <ac:spMkLst>
            <pc:docMk/>
            <pc:sldMk cId="3183596888" sldId="922"/>
            <ac:spMk id="53" creationId="{A93C4B80-6A29-055A-B6EB-C858662278D7}"/>
          </ac:spMkLst>
        </pc:spChg>
        <pc:spChg chg="add del mod">
          <ac:chgData name="Nataliia Chornii (UA)" userId="4e4b8b3d-5f31-49bb-9f80-8a25c04abfff" providerId="ADAL" clId="{EE97D3FE-9ACA-4467-98E5-532EC45D9D1C}" dt="2024-03-01T14:18:43.847" v="14196" actId="478"/>
          <ac:spMkLst>
            <pc:docMk/>
            <pc:sldMk cId="3183596888" sldId="922"/>
            <ac:spMk id="54" creationId="{4721885D-EA08-F3C9-E1B0-1ED78A71E263}"/>
          </ac:spMkLst>
        </pc:spChg>
        <pc:spChg chg="add del mod">
          <ac:chgData name="Nataliia Chornii (UA)" userId="4e4b8b3d-5f31-49bb-9f80-8a25c04abfff" providerId="ADAL" clId="{EE97D3FE-9ACA-4467-98E5-532EC45D9D1C}" dt="2024-03-01T14:18:43.847" v="14196" actId="478"/>
          <ac:spMkLst>
            <pc:docMk/>
            <pc:sldMk cId="3183596888" sldId="922"/>
            <ac:spMk id="55" creationId="{AA7C692B-DA88-D310-535E-B87CED59111F}"/>
          </ac:spMkLst>
        </pc:spChg>
        <pc:spChg chg="add mod ord">
          <ac:chgData name="Nataliia Chornii (UA)" userId="4e4b8b3d-5f31-49bb-9f80-8a25c04abfff" providerId="ADAL" clId="{EE97D3FE-9ACA-4467-98E5-532EC45D9D1C}" dt="2024-03-01T14:27:28.831" v="14505"/>
          <ac:spMkLst>
            <pc:docMk/>
            <pc:sldMk cId="3183596888" sldId="922"/>
            <ac:spMk id="56" creationId="{7BF8F9D7-9A9A-877C-A900-4F3857B14B3E}"/>
          </ac:spMkLst>
        </pc:spChg>
        <pc:spChg chg="add mod ord">
          <ac:chgData name="Nataliia Chornii (UA)" userId="4e4b8b3d-5f31-49bb-9f80-8a25c04abfff" providerId="ADAL" clId="{EE97D3FE-9ACA-4467-98E5-532EC45D9D1C}" dt="2024-03-01T14:56:15.717" v="15923" actId="1076"/>
          <ac:spMkLst>
            <pc:docMk/>
            <pc:sldMk cId="3183596888" sldId="922"/>
            <ac:spMk id="57" creationId="{E6C32A6B-F4F4-20A4-DBFD-E4DD8B7DC32F}"/>
          </ac:spMkLst>
        </pc:spChg>
        <pc:spChg chg="add mod ord">
          <ac:chgData name="Nataliia Chornii (UA)" userId="4e4b8b3d-5f31-49bb-9f80-8a25c04abfff" providerId="ADAL" clId="{EE97D3FE-9ACA-4467-98E5-532EC45D9D1C}" dt="2024-03-01T14:56:09.946" v="15921" actId="1076"/>
          <ac:spMkLst>
            <pc:docMk/>
            <pc:sldMk cId="3183596888" sldId="922"/>
            <ac:spMk id="58" creationId="{8CFA9846-2872-E7EB-E30B-CC6BA514198E}"/>
          </ac:spMkLst>
        </pc:spChg>
        <pc:spChg chg="add del mod ord">
          <ac:chgData name="Nataliia Chornii (UA)" userId="4e4b8b3d-5f31-49bb-9f80-8a25c04abfff" providerId="ADAL" clId="{EE97D3FE-9ACA-4467-98E5-532EC45D9D1C}" dt="2024-03-01T14:19:49.110" v="14233" actId="478"/>
          <ac:spMkLst>
            <pc:docMk/>
            <pc:sldMk cId="3183596888" sldId="922"/>
            <ac:spMk id="59" creationId="{353B48BD-EE0C-D706-66A0-9E20312ED172}"/>
          </ac:spMkLst>
        </pc:spChg>
        <pc:spChg chg="add del mod modVis">
          <ac:chgData name="Nataliia Chornii (UA)" userId="4e4b8b3d-5f31-49bb-9f80-8a25c04abfff" providerId="ADAL" clId="{EE97D3FE-9ACA-4467-98E5-532EC45D9D1C}" dt="2024-03-01T14:19:47.763" v="14230"/>
          <ac:spMkLst>
            <pc:docMk/>
            <pc:sldMk cId="3183596888" sldId="922"/>
            <ac:spMk id="60" creationId="{15FBA32E-325E-DE55-9D74-F00474CF2F64}"/>
          </ac:spMkLst>
        </pc:spChg>
        <pc:spChg chg="add mod ord">
          <ac:chgData name="Nataliia Chornii (UA)" userId="4e4b8b3d-5f31-49bb-9f80-8a25c04abfff" providerId="ADAL" clId="{EE97D3FE-9ACA-4467-98E5-532EC45D9D1C}" dt="2024-03-01T14:27:28.782" v="14453"/>
          <ac:spMkLst>
            <pc:docMk/>
            <pc:sldMk cId="3183596888" sldId="922"/>
            <ac:spMk id="65" creationId="{A66567BC-F479-C8B0-F1F1-1178C47EDF98}"/>
          </ac:spMkLst>
        </pc:spChg>
        <pc:spChg chg="add del mod modVis">
          <ac:chgData name="Nataliia Chornii (UA)" userId="4e4b8b3d-5f31-49bb-9f80-8a25c04abfff" providerId="ADAL" clId="{EE97D3FE-9ACA-4467-98E5-532EC45D9D1C}" dt="2024-03-01T14:26:00.843" v="14412"/>
          <ac:spMkLst>
            <pc:docMk/>
            <pc:sldMk cId="3183596888" sldId="922"/>
            <ac:spMk id="66" creationId="{6C178FC6-C5E7-09DA-B313-0C551010FDFA}"/>
          </ac:spMkLst>
        </pc:spChg>
        <pc:spChg chg="add del mod modVis">
          <ac:chgData name="Nataliia Chornii (UA)" userId="4e4b8b3d-5f31-49bb-9f80-8a25c04abfff" providerId="ADAL" clId="{EE97D3FE-9ACA-4467-98E5-532EC45D9D1C}" dt="2024-03-01T14:26:03.979" v="14439"/>
          <ac:spMkLst>
            <pc:docMk/>
            <pc:sldMk cId="3183596888" sldId="922"/>
            <ac:spMk id="67" creationId="{DC7D372A-9934-7EB4-FA30-FC0BD9B5237F}"/>
          </ac:spMkLst>
        </pc:spChg>
        <pc:spChg chg="add del mod ord">
          <ac:chgData name="Nataliia Chornii (UA)" userId="4e4b8b3d-5f31-49bb-9f80-8a25c04abfff" providerId="ADAL" clId="{EE97D3FE-9ACA-4467-98E5-532EC45D9D1C}" dt="2024-03-04T08:47:47.554" v="17582" actId="478"/>
          <ac:spMkLst>
            <pc:docMk/>
            <pc:sldMk cId="3183596888" sldId="922"/>
            <ac:spMk id="68" creationId="{BE6F404A-A5F3-AF80-7B89-33B7156396F6}"/>
          </ac:spMkLst>
        </pc:spChg>
        <pc:spChg chg="add mod">
          <ac:chgData name="Nataliia Chornii (UA)" userId="4e4b8b3d-5f31-49bb-9f80-8a25c04abfff" providerId="ADAL" clId="{EE97D3FE-9ACA-4467-98E5-532EC45D9D1C}" dt="2024-03-01T14:55:09.196" v="15900"/>
          <ac:spMkLst>
            <pc:docMk/>
            <pc:sldMk cId="3183596888" sldId="922"/>
            <ac:spMk id="71" creationId="{3E04E0E7-0EC0-D3DB-7FE5-CC0F07D12428}"/>
          </ac:spMkLst>
        </pc:spChg>
        <pc:spChg chg="add mod">
          <ac:chgData name="Nataliia Chornii (UA)" userId="4e4b8b3d-5f31-49bb-9f80-8a25c04abfff" providerId="ADAL" clId="{EE97D3FE-9ACA-4467-98E5-532EC45D9D1C}" dt="2024-03-01T14:55:09.196" v="15900"/>
          <ac:spMkLst>
            <pc:docMk/>
            <pc:sldMk cId="3183596888" sldId="922"/>
            <ac:spMk id="72" creationId="{6ED56BAD-AE11-5901-9D85-F397888A0CC3}"/>
          </ac:spMkLst>
        </pc:spChg>
        <pc:spChg chg="add mod">
          <ac:chgData name="Nataliia Chornii (UA)" userId="4e4b8b3d-5f31-49bb-9f80-8a25c04abfff" providerId="ADAL" clId="{EE97D3FE-9ACA-4467-98E5-532EC45D9D1C}" dt="2024-03-01T14:55:09.196" v="15900"/>
          <ac:spMkLst>
            <pc:docMk/>
            <pc:sldMk cId="3183596888" sldId="922"/>
            <ac:spMk id="73" creationId="{DF3C57B4-60A3-13A2-E235-62DF01A8E0B9}"/>
          </ac:spMkLst>
        </pc:spChg>
        <pc:spChg chg="add mod">
          <ac:chgData name="Nataliia Chornii (UA)" userId="4e4b8b3d-5f31-49bb-9f80-8a25c04abfff" providerId="ADAL" clId="{EE97D3FE-9ACA-4467-98E5-532EC45D9D1C}" dt="2024-03-01T14:55:09.196" v="15900"/>
          <ac:spMkLst>
            <pc:docMk/>
            <pc:sldMk cId="3183596888" sldId="922"/>
            <ac:spMk id="74" creationId="{38413369-E04F-F149-0D9B-B962C3B0DD33}"/>
          </ac:spMkLst>
        </pc:spChg>
        <pc:spChg chg="add mod">
          <ac:chgData name="Nataliia Chornii (UA)" userId="4e4b8b3d-5f31-49bb-9f80-8a25c04abfff" providerId="ADAL" clId="{EE97D3FE-9ACA-4467-98E5-532EC45D9D1C}" dt="2024-03-01T14:55:09.196" v="15900"/>
          <ac:spMkLst>
            <pc:docMk/>
            <pc:sldMk cId="3183596888" sldId="922"/>
            <ac:spMk id="75" creationId="{079A215C-D463-B463-2E11-B6BF21F093DD}"/>
          </ac:spMkLst>
        </pc:spChg>
        <pc:spChg chg="add mod">
          <ac:chgData name="Nataliia Chornii (UA)" userId="4e4b8b3d-5f31-49bb-9f80-8a25c04abfff" providerId="ADAL" clId="{EE97D3FE-9ACA-4467-98E5-532EC45D9D1C}" dt="2024-03-01T14:55:09.196" v="15900"/>
          <ac:spMkLst>
            <pc:docMk/>
            <pc:sldMk cId="3183596888" sldId="922"/>
            <ac:spMk id="76" creationId="{D53CE3FB-D8DB-2493-59AB-E8018BFB7D6C}"/>
          </ac:spMkLst>
        </pc:spChg>
        <pc:spChg chg="add mod">
          <ac:chgData name="Nataliia Chornii (UA)" userId="4e4b8b3d-5f31-49bb-9f80-8a25c04abfff" providerId="ADAL" clId="{EE97D3FE-9ACA-4467-98E5-532EC45D9D1C}" dt="2024-03-01T14:55:09.196" v="15900"/>
          <ac:spMkLst>
            <pc:docMk/>
            <pc:sldMk cId="3183596888" sldId="922"/>
            <ac:spMk id="77" creationId="{47AD76CF-BFB9-FA4C-78FC-9ED47D9FA257}"/>
          </ac:spMkLst>
        </pc:spChg>
        <pc:spChg chg="add mod">
          <ac:chgData name="Nataliia Chornii (UA)" userId="4e4b8b3d-5f31-49bb-9f80-8a25c04abfff" providerId="ADAL" clId="{EE97D3FE-9ACA-4467-98E5-532EC45D9D1C}" dt="2024-03-01T14:55:09.196" v="15900"/>
          <ac:spMkLst>
            <pc:docMk/>
            <pc:sldMk cId="3183596888" sldId="922"/>
            <ac:spMk id="78" creationId="{20FDFD41-DB71-D9C8-B2A5-805131BA4C05}"/>
          </ac:spMkLst>
        </pc:spChg>
        <pc:spChg chg="add del mod">
          <ac:chgData name="Nataliia Chornii (UA)" userId="4e4b8b3d-5f31-49bb-9f80-8a25c04abfff" providerId="ADAL" clId="{EE97D3FE-9ACA-4467-98E5-532EC45D9D1C}" dt="2024-03-01T14:55:24.886" v="15907" actId="478"/>
          <ac:spMkLst>
            <pc:docMk/>
            <pc:sldMk cId="3183596888" sldId="922"/>
            <ac:spMk id="79" creationId="{DB3C57CC-AACD-B9DE-0994-A33619E521A3}"/>
          </ac:spMkLst>
        </pc:spChg>
        <pc:grpChg chg="add mod">
          <ac:chgData name="Nataliia Chornii (UA)" userId="4e4b8b3d-5f31-49bb-9f80-8a25c04abfff" providerId="ADAL" clId="{EE97D3FE-9ACA-4467-98E5-532EC45D9D1C}" dt="2024-03-11T14:26:13.525" v="24091"/>
          <ac:grpSpMkLst>
            <pc:docMk/>
            <pc:sldMk cId="3183596888" sldId="922"/>
            <ac:grpSpMk id="6" creationId="{27F631B7-D1E2-9A31-F9B7-579A31B91DFE}"/>
          </ac:grpSpMkLst>
        </pc:grpChg>
        <pc:grpChg chg="add mod">
          <ac:chgData name="Nataliia Chornii (UA)" userId="4e4b8b3d-5f31-49bb-9f80-8a25c04abfff" providerId="ADAL" clId="{EE97D3FE-9ACA-4467-98E5-532EC45D9D1C}" dt="2024-03-01T14:20:28.532" v="14254" actId="164"/>
          <ac:grpSpMkLst>
            <pc:docMk/>
            <pc:sldMk cId="3183596888" sldId="922"/>
            <ac:grpSpMk id="61" creationId="{B41E5A4E-B022-ADC3-743D-B2BF7FEFA28B}"/>
          </ac:grpSpMkLst>
        </pc:grpChg>
        <pc:graphicFrameChg chg="add mod ord modVis replST">
          <ac:chgData name="Nataliia Chornii (UA)" userId="4e4b8b3d-5f31-49bb-9f80-8a25c04abfff" providerId="ADAL" clId="{EE97D3FE-9ACA-4467-98E5-532EC45D9D1C}" dt="2024-03-01T14:27:28.845" v="14515"/>
          <ac:graphicFrameMkLst>
            <pc:docMk/>
            <pc:sldMk cId="3183596888" sldId="922"/>
            <ac:graphicFrameMk id="9" creationId="{0DCFA2E8-0775-D340-DF72-3AC623CD1A2E}"/>
          </ac:graphicFrameMkLst>
        </pc:graphicFrameChg>
        <pc:picChg chg="add mod ord">
          <ac:chgData name="Nataliia Chornii (UA)" userId="4e4b8b3d-5f31-49bb-9f80-8a25c04abfff" providerId="ADAL" clId="{EE97D3FE-9ACA-4467-98E5-532EC45D9D1C}" dt="2024-03-01T14:27:28.782" v="14451"/>
          <ac:picMkLst>
            <pc:docMk/>
            <pc:sldMk cId="3183596888" sldId="922"/>
            <ac:picMk id="70" creationId="{201E7002-41DC-209F-D2DC-9D687999BD7E}"/>
          </ac:picMkLst>
        </pc:picChg>
        <pc:cxnChg chg="add mod ord">
          <ac:chgData name="Nataliia Chornii (UA)" userId="4e4b8b3d-5f31-49bb-9f80-8a25c04abfff" providerId="ADAL" clId="{EE97D3FE-9ACA-4467-98E5-532EC45D9D1C}" dt="2024-03-01T14:56:03.539" v="15920" actId="465"/>
          <ac:cxnSpMkLst>
            <pc:docMk/>
            <pc:sldMk cId="3183596888" sldId="922"/>
            <ac:cxnSpMk id="39" creationId="{E5B5A8D2-DACA-34DC-E1F9-FFE3A65E4C21}"/>
          </ac:cxnSpMkLst>
        </pc:cxnChg>
        <pc:cxnChg chg="add mod ord">
          <ac:chgData name="Nataliia Chornii (UA)" userId="4e4b8b3d-5f31-49bb-9f80-8a25c04abfff" providerId="ADAL" clId="{EE97D3FE-9ACA-4467-98E5-532EC45D9D1C}" dt="2024-03-01T14:56:03.539" v="15920" actId="465"/>
          <ac:cxnSpMkLst>
            <pc:docMk/>
            <pc:sldMk cId="3183596888" sldId="922"/>
            <ac:cxnSpMk id="40" creationId="{942B66D5-0C09-51A1-421D-3AD9CCF09FAE}"/>
          </ac:cxnSpMkLst>
        </pc:cxnChg>
        <pc:cxnChg chg="add mod ord">
          <ac:chgData name="Nataliia Chornii (UA)" userId="4e4b8b3d-5f31-49bb-9f80-8a25c04abfff" providerId="ADAL" clId="{EE97D3FE-9ACA-4467-98E5-532EC45D9D1C}" dt="2024-03-01T14:56:03.539" v="15920" actId="465"/>
          <ac:cxnSpMkLst>
            <pc:docMk/>
            <pc:sldMk cId="3183596888" sldId="922"/>
            <ac:cxnSpMk id="41" creationId="{64D1A3C3-EF5C-5967-D3FE-A630BE40A6E7}"/>
          </ac:cxnSpMkLst>
        </pc:cxnChg>
        <pc:cxnChg chg="add del mod">
          <ac:chgData name="Nataliia Chornii (UA)" userId="4e4b8b3d-5f31-49bb-9f80-8a25c04abfff" providerId="ADAL" clId="{EE97D3FE-9ACA-4467-98E5-532EC45D9D1C}" dt="2024-03-01T14:18:50.749" v="14197" actId="478"/>
          <ac:cxnSpMkLst>
            <pc:docMk/>
            <pc:sldMk cId="3183596888" sldId="922"/>
            <ac:cxnSpMk id="42" creationId="{00266C94-1FCE-1AC5-9261-3A6F90C742A3}"/>
          </ac:cxnSpMkLst>
        </pc:cxnChg>
        <pc:cxnChg chg="add del mod">
          <ac:chgData name="Nataliia Chornii (UA)" userId="4e4b8b3d-5f31-49bb-9f80-8a25c04abfff" providerId="ADAL" clId="{EE97D3FE-9ACA-4467-98E5-532EC45D9D1C}" dt="2024-03-01T14:18:50.749" v="14197" actId="478"/>
          <ac:cxnSpMkLst>
            <pc:docMk/>
            <pc:sldMk cId="3183596888" sldId="922"/>
            <ac:cxnSpMk id="43" creationId="{BA0AFA90-6C33-D591-1C9F-AC56674EE15E}"/>
          </ac:cxnSpMkLst>
        </pc:cxnChg>
        <pc:cxnChg chg="add del mod">
          <ac:chgData name="Nataliia Chornii (UA)" userId="4e4b8b3d-5f31-49bb-9f80-8a25c04abfff" providerId="ADAL" clId="{EE97D3FE-9ACA-4467-98E5-532EC45D9D1C}" dt="2024-03-01T14:18:50.749" v="14197" actId="478"/>
          <ac:cxnSpMkLst>
            <pc:docMk/>
            <pc:sldMk cId="3183596888" sldId="922"/>
            <ac:cxnSpMk id="44" creationId="{214086F4-6B30-701C-B959-FDB5E15EF2E1}"/>
          </ac:cxnSpMkLst>
        </pc:cxnChg>
        <pc:cxnChg chg="add del mod">
          <ac:chgData name="Nataliia Chornii (UA)" userId="4e4b8b3d-5f31-49bb-9f80-8a25c04abfff" providerId="ADAL" clId="{EE97D3FE-9ACA-4467-98E5-532EC45D9D1C}" dt="2024-03-01T14:18:50.749" v="14197" actId="478"/>
          <ac:cxnSpMkLst>
            <pc:docMk/>
            <pc:sldMk cId="3183596888" sldId="922"/>
            <ac:cxnSpMk id="45" creationId="{8D83F035-7145-3C3B-8BF9-06487BAE8131}"/>
          </ac:cxnSpMkLst>
        </pc:cxnChg>
        <pc:cxnChg chg="add mod ord">
          <ac:chgData name="Nataliia Chornii (UA)" userId="4e4b8b3d-5f31-49bb-9f80-8a25c04abfff" providerId="ADAL" clId="{EE97D3FE-9ACA-4467-98E5-532EC45D9D1C}" dt="2024-03-01T14:56:38.386" v="15925" actId="14100"/>
          <ac:cxnSpMkLst>
            <pc:docMk/>
            <pc:sldMk cId="3183596888" sldId="922"/>
            <ac:cxnSpMk id="49" creationId="{6812EC73-51E6-27BB-47B7-1E03B679803C}"/>
          </ac:cxnSpMkLst>
        </pc:cxnChg>
      </pc:sldChg>
      <pc:sldChg chg="addSp delSp modSp mod">
        <pc:chgData name="Nataliia Chornii (UA)" userId="4e4b8b3d-5f31-49bb-9f80-8a25c04abfff" providerId="ADAL" clId="{EE97D3FE-9ACA-4467-98E5-532EC45D9D1C}" dt="2024-03-01T08:52:18.296" v="6799"/>
        <pc:sldMkLst>
          <pc:docMk/>
          <pc:sldMk cId="1997891973" sldId="923"/>
        </pc:sldMkLst>
        <pc:spChg chg="add del mod modVis">
          <ac:chgData name="Nataliia Chornii (UA)" userId="4e4b8b3d-5f31-49bb-9f80-8a25c04abfff" providerId="ADAL" clId="{EE97D3FE-9ACA-4467-98E5-532EC45D9D1C}" dt="2024-03-01T08:48:59.712" v="1478"/>
          <ac:spMkLst>
            <pc:docMk/>
            <pc:sldMk cId="1997891973" sldId="923"/>
            <ac:spMk id="2" creationId="{1C211787-88BF-D12E-D043-F44AFDF35E82}"/>
          </ac:spMkLst>
        </pc:spChg>
        <pc:spChg chg="mod">
          <ac:chgData name="Nataliia Chornii (UA)" userId="4e4b8b3d-5f31-49bb-9f80-8a25c04abfff" providerId="ADAL" clId="{EE97D3FE-9ACA-4467-98E5-532EC45D9D1C}" dt="2024-03-01T08:52:17.697" v="6327" actId="948"/>
          <ac:spMkLst>
            <pc:docMk/>
            <pc:sldMk cId="1997891973" sldId="923"/>
            <ac:spMk id="3" creationId="{F4CCF02E-F3C4-C376-8F56-61BD85A2E74B}"/>
          </ac:spMkLst>
        </pc:spChg>
        <pc:spChg chg="add del mod modVis">
          <ac:chgData name="Nataliia Chornii (UA)" userId="4e4b8b3d-5f31-49bb-9f80-8a25c04abfff" providerId="ADAL" clId="{EE97D3FE-9ACA-4467-98E5-532EC45D9D1C}" dt="2024-03-01T08:49:33.777" v="2844"/>
          <ac:spMkLst>
            <pc:docMk/>
            <pc:sldMk cId="1997891973" sldId="923"/>
            <ac:spMk id="12" creationId="{A6DF3916-38D2-BC4D-5338-FC349B4A0059}"/>
          </ac:spMkLst>
        </pc:spChg>
        <pc:spChg chg="add del mod modVis">
          <ac:chgData name="Nataliia Chornii (UA)" userId="4e4b8b3d-5f31-49bb-9f80-8a25c04abfff" providerId="ADAL" clId="{EE97D3FE-9ACA-4467-98E5-532EC45D9D1C}" dt="2024-03-01T08:49:59.819" v="3832"/>
          <ac:spMkLst>
            <pc:docMk/>
            <pc:sldMk cId="1997891973" sldId="923"/>
            <ac:spMk id="13" creationId="{DAEB8668-A671-A6E5-202F-F5021CCC8F4E}"/>
          </ac:spMkLst>
        </pc:spChg>
        <pc:spChg chg="add del mod modVis">
          <ac:chgData name="Nataliia Chornii (UA)" userId="4e4b8b3d-5f31-49bb-9f80-8a25c04abfff" providerId="ADAL" clId="{EE97D3FE-9ACA-4467-98E5-532EC45D9D1C}" dt="2024-03-01T08:51:26.124" v="4820"/>
          <ac:spMkLst>
            <pc:docMk/>
            <pc:sldMk cId="1997891973" sldId="923"/>
            <ac:spMk id="14" creationId="{61E3B46E-CD2E-87B3-B011-D2C60D63EC76}"/>
          </ac:spMkLst>
        </pc:spChg>
        <pc:spChg chg="add del mod modVis">
          <ac:chgData name="Nataliia Chornii (UA)" userId="4e4b8b3d-5f31-49bb-9f80-8a25c04abfff" providerId="ADAL" clId="{EE97D3FE-9ACA-4467-98E5-532EC45D9D1C}" dt="2024-03-01T08:51:56.150" v="5809"/>
          <ac:spMkLst>
            <pc:docMk/>
            <pc:sldMk cId="1997891973" sldId="923"/>
            <ac:spMk id="15" creationId="{3A564656-53F1-84A6-7A98-9C671AA0BDB8}"/>
          </ac:spMkLst>
        </pc:spChg>
        <pc:spChg chg="add del mod modVis">
          <ac:chgData name="Nataliia Chornii (UA)" userId="4e4b8b3d-5f31-49bb-9f80-8a25c04abfff" providerId="ADAL" clId="{EE97D3FE-9ACA-4467-98E5-532EC45D9D1C}" dt="2024-03-01T08:52:18.296" v="6797"/>
          <ac:spMkLst>
            <pc:docMk/>
            <pc:sldMk cId="1997891973" sldId="923"/>
            <ac:spMk id="16" creationId="{1833A7C2-7463-4F81-3581-89FF34B2F7AA}"/>
          </ac:spMkLst>
        </pc:spChg>
        <pc:graphicFrameChg chg="add mod ord modVis replST">
          <ac:chgData name="Nataliia Chornii (UA)" userId="4e4b8b3d-5f31-49bb-9f80-8a25c04abfff" providerId="ADAL" clId="{EE97D3FE-9ACA-4467-98E5-532EC45D9D1C}" dt="2024-03-01T08:52:18.296" v="6799"/>
          <ac:graphicFrameMkLst>
            <pc:docMk/>
            <pc:sldMk cId="1997891973" sldId="923"/>
            <ac:graphicFrameMk id="9" creationId="{C4E82D38-6292-D63C-5DAD-3FE4D75D2565}"/>
          </ac:graphicFrameMkLst>
        </pc:graphicFrameChg>
      </pc:sldChg>
      <pc:sldChg chg="addSp delSp modSp add del mod modClrScheme chgLayout">
        <pc:chgData name="Nataliia Chornii (UA)" userId="4e4b8b3d-5f31-49bb-9f80-8a25c04abfff" providerId="ADAL" clId="{EE97D3FE-9ACA-4467-98E5-532EC45D9D1C}" dt="2024-03-11T14:20:46.724" v="23959"/>
        <pc:sldMkLst>
          <pc:docMk/>
          <pc:sldMk cId="2333946943" sldId="924"/>
        </pc:sldMkLst>
        <pc:spChg chg="mod ord">
          <ac:chgData name="Nataliia Chornii (UA)" userId="4e4b8b3d-5f31-49bb-9f80-8a25c04abfff" providerId="ADAL" clId="{EE97D3FE-9ACA-4467-98E5-532EC45D9D1C}" dt="2024-03-04T09:58:43.279" v="20176"/>
          <ac:spMkLst>
            <pc:docMk/>
            <pc:sldMk cId="2333946943" sldId="924"/>
            <ac:spMk id="2" creationId="{20E40FBF-934F-95FE-8778-92F849DEC1EA}"/>
          </ac:spMkLst>
        </pc:spChg>
        <pc:spChg chg="mod ord">
          <ac:chgData name="Nataliia Chornii (UA)" userId="4e4b8b3d-5f31-49bb-9f80-8a25c04abfff" providerId="ADAL" clId="{EE97D3FE-9ACA-4467-98E5-532EC45D9D1C}" dt="2024-03-11T14:06:58.698" v="23456" actId="948"/>
          <ac:spMkLst>
            <pc:docMk/>
            <pc:sldMk cId="2333946943" sldId="924"/>
            <ac:spMk id="3" creationId="{AAFE076C-9B8C-9BB3-8680-7E4B60DEC21C}"/>
          </ac:spMkLst>
        </pc:spChg>
        <pc:spChg chg="mod ord">
          <ac:chgData name="Nataliia Chornii (UA)" userId="4e4b8b3d-5f31-49bb-9f80-8a25c04abfff" providerId="ADAL" clId="{EE97D3FE-9ACA-4467-98E5-532EC45D9D1C}" dt="2024-03-04T09:58:43.279" v="20174"/>
          <ac:spMkLst>
            <pc:docMk/>
            <pc:sldMk cId="2333946943" sldId="924"/>
            <ac:spMk id="4" creationId="{51A056F4-4CF2-BBE9-52F6-908FF9154948}"/>
          </ac:spMkLst>
        </pc:spChg>
        <pc:spChg chg="del mod ord">
          <ac:chgData name="Nataliia Chornii (UA)" userId="4e4b8b3d-5f31-49bb-9f80-8a25c04abfff" providerId="ADAL" clId="{EE97D3FE-9ACA-4467-98E5-532EC45D9D1C}" dt="2024-03-01T08:56:10.445" v="7185" actId="478"/>
          <ac:spMkLst>
            <pc:docMk/>
            <pc:sldMk cId="2333946943" sldId="924"/>
            <ac:spMk id="5" creationId="{1C73DC58-4723-3B96-46FC-CBBC7FA3EB02}"/>
          </ac:spMkLst>
        </pc:spChg>
        <pc:spChg chg="mod">
          <ac:chgData name="Nataliia Chornii (UA)" userId="4e4b8b3d-5f31-49bb-9f80-8a25c04abfff" providerId="ADAL" clId="{EE97D3FE-9ACA-4467-98E5-532EC45D9D1C}" dt="2024-03-04T09:58:39.137" v="20146"/>
          <ac:spMkLst>
            <pc:docMk/>
            <pc:sldMk cId="2333946943" sldId="924"/>
            <ac:spMk id="6" creationId="{2433D90B-E7DC-1074-506C-53A72F530B6D}"/>
          </ac:spMkLst>
        </pc:spChg>
        <pc:spChg chg="del mod ord">
          <ac:chgData name="Nataliia Chornii (UA)" userId="4e4b8b3d-5f31-49bb-9f80-8a25c04abfff" providerId="ADAL" clId="{EE97D3FE-9ACA-4467-98E5-532EC45D9D1C}" dt="2024-03-01T08:56:04.490" v="7155" actId="478"/>
          <ac:spMkLst>
            <pc:docMk/>
            <pc:sldMk cId="2333946943" sldId="924"/>
            <ac:spMk id="6" creationId="{2E672114-781E-3E9E-07DD-B0CC53AC0021}"/>
          </ac:spMkLst>
        </pc:spChg>
        <pc:spChg chg="mod ord">
          <ac:chgData name="Nataliia Chornii (UA)" userId="4e4b8b3d-5f31-49bb-9f80-8a25c04abfff" providerId="ADAL" clId="{EE97D3FE-9ACA-4467-98E5-532EC45D9D1C}" dt="2024-03-04T09:58:43.279" v="20178"/>
          <ac:spMkLst>
            <pc:docMk/>
            <pc:sldMk cId="2333946943" sldId="924"/>
            <ac:spMk id="7" creationId="{11B054F7-BD3F-CC04-8F9A-A47566ADA21E}"/>
          </ac:spMkLst>
        </pc:spChg>
        <pc:spChg chg="mod ord">
          <ac:chgData name="Nataliia Chornii (UA)" userId="4e4b8b3d-5f31-49bb-9f80-8a25c04abfff" providerId="ADAL" clId="{EE97D3FE-9ACA-4467-98E5-532EC45D9D1C}" dt="2024-03-04T09:58:43.279" v="20194"/>
          <ac:spMkLst>
            <pc:docMk/>
            <pc:sldMk cId="2333946943" sldId="924"/>
            <ac:spMk id="8" creationId="{A2A4EF95-EBC5-2113-75C0-757B07E343F3}"/>
          </ac:spMkLst>
        </pc:spChg>
        <pc:spChg chg="mod">
          <ac:chgData name="Nataliia Chornii (UA)" userId="4e4b8b3d-5f31-49bb-9f80-8a25c04abfff" providerId="ADAL" clId="{EE97D3FE-9ACA-4467-98E5-532EC45D9D1C}" dt="2024-03-04T09:58:39.137" v="20146"/>
          <ac:spMkLst>
            <pc:docMk/>
            <pc:sldMk cId="2333946943" sldId="924"/>
            <ac:spMk id="9" creationId="{79CC5FE2-D0F9-19B2-E01D-F1228C678ED5}"/>
          </ac:spMkLst>
        </pc:spChg>
        <pc:spChg chg="del mod ord">
          <ac:chgData name="Nataliia Chornii (UA)" userId="4e4b8b3d-5f31-49bb-9f80-8a25c04abfff" providerId="ADAL" clId="{EE97D3FE-9ACA-4467-98E5-532EC45D9D1C}" dt="2024-03-01T09:04:38.083" v="7699" actId="478"/>
          <ac:spMkLst>
            <pc:docMk/>
            <pc:sldMk cId="2333946943" sldId="924"/>
            <ac:spMk id="9" creationId="{8A75DB60-66FB-2F24-092E-9D81D3271877}"/>
          </ac:spMkLst>
        </pc:spChg>
        <pc:spChg chg="del">
          <ac:chgData name="Nataliia Chornii (UA)" userId="4e4b8b3d-5f31-49bb-9f80-8a25c04abfff" providerId="ADAL" clId="{EE97D3FE-9ACA-4467-98E5-532EC45D9D1C}" dt="2024-03-01T08:58:35.643" v="7544" actId="478"/>
          <ac:spMkLst>
            <pc:docMk/>
            <pc:sldMk cId="2333946943" sldId="924"/>
            <ac:spMk id="10" creationId="{9289F6C4-FC0B-0E3A-DAD4-24B0CD0E3DD5}"/>
          </ac:spMkLst>
        </pc:spChg>
        <pc:spChg chg="add del mod modVis">
          <ac:chgData name="Nataliia Chornii (UA)" userId="4e4b8b3d-5f31-49bb-9f80-8a25c04abfff" providerId="ADAL" clId="{EE97D3FE-9ACA-4467-98E5-532EC45D9D1C}" dt="2024-03-01T08:48:59.157" v="1191"/>
          <ac:spMkLst>
            <pc:docMk/>
            <pc:sldMk cId="2333946943" sldId="924"/>
            <ac:spMk id="11" creationId="{5482D1DA-73B6-AF9E-FE02-D1F0B57BF2A4}"/>
          </ac:spMkLst>
        </pc:spChg>
        <pc:spChg chg="mod">
          <ac:chgData name="Nataliia Chornii (UA)" userId="4e4b8b3d-5f31-49bb-9f80-8a25c04abfff" providerId="ADAL" clId="{EE97D3FE-9ACA-4467-98E5-532EC45D9D1C}" dt="2024-03-04T09:58:39.137" v="20146"/>
          <ac:spMkLst>
            <pc:docMk/>
            <pc:sldMk cId="2333946943" sldId="924"/>
            <ac:spMk id="11" creationId="{FAAF8042-FA87-2277-604A-2B80951C96CA}"/>
          </ac:spMkLst>
        </pc:spChg>
        <pc:spChg chg="del mod">
          <ac:chgData name="Nataliia Chornii (UA)" userId="4e4b8b3d-5f31-49bb-9f80-8a25c04abfff" providerId="ADAL" clId="{EE97D3FE-9ACA-4467-98E5-532EC45D9D1C}" dt="2024-03-01T08:56:03.688" v="7154" actId="478"/>
          <ac:spMkLst>
            <pc:docMk/>
            <pc:sldMk cId="2333946943" sldId="924"/>
            <ac:spMk id="12" creationId="{5BA3FC79-5B8F-4417-8615-05D13DBFFB22}"/>
          </ac:spMkLst>
        </pc:spChg>
        <pc:spChg chg="mod">
          <ac:chgData name="Nataliia Chornii (UA)" userId="4e4b8b3d-5f31-49bb-9f80-8a25c04abfff" providerId="ADAL" clId="{EE97D3FE-9ACA-4467-98E5-532EC45D9D1C}" dt="2024-03-04T09:58:39.137" v="20146"/>
          <ac:spMkLst>
            <pc:docMk/>
            <pc:sldMk cId="2333946943" sldId="924"/>
            <ac:spMk id="12" creationId="{6DA0E041-E210-8556-8DD1-4B49FE009618}"/>
          </ac:spMkLst>
        </pc:spChg>
        <pc:spChg chg="mod">
          <ac:chgData name="Nataliia Chornii (UA)" userId="4e4b8b3d-5f31-49bb-9f80-8a25c04abfff" providerId="ADAL" clId="{EE97D3FE-9ACA-4467-98E5-532EC45D9D1C}" dt="2024-03-04T09:58:39.137" v="20146"/>
          <ac:spMkLst>
            <pc:docMk/>
            <pc:sldMk cId="2333946943" sldId="924"/>
            <ac:spMk id="14" creationId="{0AB8E9EA-C968-44EB-8B34-41ACF4CD9CF4}"/>
          </ac:spMkLst>
        </pc:spChg>
        <pc:spChg chg="add del mod modVis">
          <ac:chgData name="Nataliia Chornii (UA)" userId="4e4b8b3d-5f31-49bb-9f80-8a25c04abfff" providerId="ADAL" clId="{EE97D3FE-9ACA-4467-98E5-532EC45D9D1C}" dt="2024-03-01T08:49:33.687" v="2778"/>
          <ac:spMkLst>
            <pc:docMk/>
            <pc:sldMk cId="2333946943" sldId="924"/>
            <ac:spMk id="14" creationId="{DFFCFC77-2154-F098-43BA-21EB4B014E1C}"/>
          </ac:spMkLst>
        </pc:spChg>
        <pc:spChg chg="mod">
          <ac:chgData name="Nataliia Chornii (UA)" userId="4e4b8b3d-5f31-49bb-9f80-8a25c04abfff" providerId="ADAL" clId="{EE97D3FE-9ACA-4467-98E5-532EC45D9D1C}" dt="2024-03-04T09:58:39.137" v="20146"/>
          <ac:spMkLst>
            <pc:docMk/>
            <pc:sldMk cId="2333946943" sldId="924"/>
            <ac:spMk id="15" creationId="{7DF40D55-C69A-1E34-C5EB-1A6FBDABFF9B}"/>
          </ac:spMkLst>
        </pc:spChg>
        <pc:spChg chg="add del mod modVis">
          <ac:chgData name="Nataliia Chornii (UA)" userId="4e4b8b3d-5f31-49bb-9f80-8a25c04abfff" providerId="ADAL" clId="{EE97D3FE-9ACA-4467-98E5-532EC45D9D1C}" dt="2024-03-01T08:49:59.757" v="3766"/>
          <ac:spMkLst>
            <pc:docMk/>
            <pc:sldMk cId="2333946943" sldId="924"/>
            <ac:spMk id="15" creationId="{A58007AA-F674-7B52-82A7-4E498D9F0DE1}"/>
          </ac:spMkLst>
        </pc:spChg>
        <pc:spChg chg="add del mod modVis">
          <ac:chgData name="Nataliia Chornii (UA)" userId="4e4b8b3d-5f31-49bb-9f80-8a25c04abfff" providerId="ADAL" clId="{EE97D3FE-9ACA-4467-98E5-532EC45D9D1C}" dt="2024-03-01T08:51:26.070" v="4754"/>
          <ac:spMkLst>
            <pc:docMk/>
            <pc:sldMk cId="2333946943" sldId="924"/>
            <ac:spMk id="16" creationId="{067F3946-0762-1092-53BD-E7BA18BF6B29}"/>
          </ac:spMkLst>
        </pc:spChg>
        <pc:spChg chg="mod">
          <ac:chgData name="Nataliia Chornii (UA)" userId="4e4b8b3d-5f31-49bb-9f80-8a25c04abfff" providerId="ADAL" clId="{EE97D3FE-9ACA-4467-98E5-532EC45D9D1C}" dt="2024-03-04T09:58:39.137" v="20146"/>
          <ac:spMkLst>
            <pc:docMk/>
            <pc:sldMk cId="2333946943" sldId="924"/>
            <ac:spMk id="16" creationId="{BC455CBB-497F-D8AF-C4B2-951640A8C8FE}"/>
          </ac:spMkLst>
        </pc:spChg>
        <pc:spChg chg="mod">
          <ac:chgData name="Nataliia Chornii (UA)" userId="4e4b8b3d-5f31-49bb-9f80-8a25c04abfff" providerId="ADAL" clId="{EE97D3FE-9ACA-4467-98E5-532EC45D9D1C}" dt="2024-03-04T09:58:39.137" v="20146"/>
          <ac:spMkLst>
            <pc:docMk/>
            <pc:sldMk cId="2333946943" sldId="924"/>
            <ac:spMk id="17" creationId="{1019684F-EB37-FD93-4317-58CA68C8508A}"/>
          </ac:spMkLst>
        </pc:spChg>
        <pc:spChg chg="add del mod modVis">
          <ac:chgData name="Nataliia Chornii (UA)" userId="4e4b8b3d-5f31-49bb-9f80-8a25c04abfff" providerId="ADAL" clId="{EE97D3FE-9ACA-4467-98E5-532EC45D9D1C}" dt="2024-03-01T08:51:56.063" v="5743"/>
          <ac:spMkLst>
            <pc:docMk/>
            <pc:sldMk cId="2333946943" sldId="924"/>
            <ac:spMk id="17" creationId="{FD9F0DB6-C542-F7F1-1437-87AAFB8CC770}"/>
          </ac:spMkLst>
        </pc:spChg>
        <pc:spChg chg="add del mod modVis">
          <ac:chgData name="Nataliia Chornii (UA)" userId="4e4b8b3d-5f31-49bb-9f80-8a25c04abfff" providerId="ADAL" clId="{EE97D3FE-9ACA-4467-98E5-532EC45D9D1C}" dt="2024-03-01T08:52:18.233" v="6731"/>
          <ac:spMkLst>
            <pc:docMk/>
            <pc:sldMk cId="2333946943" sldId="924"/>
            <ac:spMk id="18" creationId="{7F3796DD-F6C5-07CA-B979-F66D421BA007}"/>
          </ac:spMkLst>
        </pc:spChg>
        <pc:spChg chg="mod">
          <ac:chgData name="Nataliia Chornii (UA)" userId="4e4b8b3d-5f31-49bb-9f80-8a25c04abfff" providerId="ADAL" clId="{EE97D3FE-9ACA-4467-98E5-532EC45D9D1C}" dt="2024-03-04T09:58:39.137" v="20146"/>
          <ac:spMkLst>
            <pc:docMk/>
            <pc:sldMk cId="2333946943" sldId="924"/>
            <ac:spMk id="18" creationId="{928C371F-1308-C0BB-1B53-0F9277CF9C82}"/>
          </ac:spMkLst>
        </pc:spChg>
        <pc:spChg chg="add del mod modVis">
          <ac:chgData name="Nataliia Chornii (UA)" userId="4e4b8b3d-5f31-49bb-9f80-8a25c04abfff" providerId="ADAL" clId="{EE97D3FE-9ACA-4467-98E5-532EC45D9D1C}" dt="2024-03-01T08:55:59.130" v="7123"/>
          <ac:spMkLst>
            <pc:docMk/>
            <pc:sldMk cId="2333946943" sldId="924"/>
            <ac:spMk id="19" creationId="{04948EEF-CE35-0148-112A-8936229D83BE}"/>
          </ac:spMkLst>
        </pc:spChg>
        <pc:spChg chg="mod">
          <ac:chgData name="Nataliia Chornii (UA)" userId="4e4b8b3d-5f31-49bb-9f80-8a25c04abfff" providerId="ADAL" clId="{EE97D3FE-9ACA-4467-98E5-532EC45D9D1C}" dt="2024-03-04T09:58:39.137" v="20146"/>
          <ac:spMkLst>
            <pc:docMk/>
            <pc:sldMk cId="2333946943" sldId="924"/>
            <ac:spMk id="19" creationId="{935478A3-0258-D2D1-C55B-6818E570EEC2}"/>
          </ac:spMkLst>
        </pc:spChg>
        <pc:spChg chg="add del mod">
          <ac:chgData name="Nataliia Chornii (UA)" userId="4e4b8b3d-5f31-49bb-9f80-8a25c04abfff" providerId="ADAL" clId="{EE97D3FE-9ACA-4467-98E5-532EC45D9D1C}" dt="2024-03-01T08:55:59.771" v="7126" actId="6264"/>
          <ac:spMkLst>
            <pc:docMk/>
            <pc:sldMk cId="2333946943" sldId="924"/>
            <ac:spMk id="20" creationId="{4309EA09-BC2E-1688-4D59-9D77FA252932}"/>
          </ac:spMkLst>
        </pc:spChg>
        <pc:spChg chg="mod">
          <ac:chgData name="Nataliia Chornii (UA)" userId="4e4b8b3d-5f31-49bb-9f80-8a25c04abfff" providerId="ADAL" clId="{EE97D3FE-9ACA-4467-98E5-532EC45D9D1C}" dt="2024-03-04T09:58:39.137" v="20146"/>
          <ac:spMkLst>
            <pc:docMk/>
            <pc:sldMk cId="2333946943" sldId="924"/>
            <ac:spMk id="20" creationId="{65F13B8F-5C19-FC21-AF33-0F4E3175271E}"/>
          </ac:spMkLst>
        </pc:spChg>
        <pc:spChg chg="mod">
          <ac:chgData name="Nataliia Chornii (UA)" userId="4e4b8b3d-5f31-49bb-9f80-8a25c04abfff" providerId="ADAL" clId="{EE97D3FE-9ACA-4467-98E5-532EC45D9D1C}" dt="2024-03-04T09:58:39.137" v="20146"/>
          <ac:spMkLst>
            <pc:docMk/>
            <pc:sldMk cId="2333946943" sldId="924"/>
            <ac:spMk id="21" creationId="{D6863F23-A5B1-AF50-FF88-3A3AAA5D0D41}"/>
          </ac:spMkLst>
        </pc:spChg>
        <pc:spChg chg="add del mod">
          <ac:chgData name="Nataliia Chornii (UA)" userId="4e4b8b3d-5f31-49bb-9f80-8a25c04abfff" providerId="ADAL" clId="{EE97D3FE-9ACA-4467-98E5-532EC45D9D1C}" dt="2024-03-01T08:55:59.771" v="7126" actId="6264"/>
          <ac:spMkLst>
            <pc:docMk/>
            <pc:sldMk cId="2333946943" sldId="924"/>
            <ac:spMk id="21" creationId="{E6B5CBFF-F1F3-4219-7161-6CC295FA7F52}"/>
          </ac:spMkLst>
        </pc:spChg>
        <pc:spChg chg="mod">
          <ac:chgData name="Nataliia Chornii (UA)" userId="4e4b8b3d-5f31-49bb-9f80-8a25c04abfff" providerId="ADAL" clId="{EE97D3FE-9ACA-4467-98E5-532EC45D9D1C}" dt="2024-03-04T09:58:39.137" v="20146"/>
          <ac:spMkLst>
            <pc:docMk/>
            <pc:sldMk cId="2333946943" sldId="924"/>
            <ac:spMk id="22" creationId="{4B8688AB-0D7B-A5C1-5CDF-C4BE9B644ED8}"/>
          </ac:spMkLst>
        </pc:spChg>
        <pc:spChg chg="add del mod">
          <ac:chgData name="Nataliia Chornii (UA)" userId="4e4b8b3d-5f31-49bb-9f80-8a25c04abfff" providerId="ADAL" clId="{EE97D3FE-9ACA-4467-98E5-532EC45D9D1C}" dt="2024-03-01T08:55:59.771" v="7126" actId="6264"/>
          <ac:spMkLst>
            <pc:docMk/>
            <pc:sldMk cId="2333946943" sldId="924"/>
            <ac:spMk id="22" creationId="{C8D62C5B-ABD6-2002-21FE-15867DF5C79D}"/>
          </ac:spMkLst>
        </pc:spChg>
        <pc:spChg chg="add del mod">
          <ac:chgData name="Nataliia Chornii (UA)" userId="4e4b8b3d-5f31-49bb-9f80-8a25c04abfff" providerId="ADAL" clId="{EE97D3FE-9ACA-4467-98E5-532EC45D9D1C}" dt="2024-03-01T08:55:59.771" v="7126" actId="6264"/>
          <ac:spMkLst>
            <pc:docMk/>
            <pc:sldMk cId="2333946943" sldId="924"/>
            <ac:spMk id="23" creationId="{607A9454-051F-5F29-5540-1AF04206A950}"/>
          </ac:spMkLst>
        </pc:spChg>
        <pc:spChg chg="mod">
          <ac:chgData name="Nataliia Chornii (UA)" userId="4e4b8b3d-5f31-49bb-9f80-8a25c04abfff" providerId="ADAL" clId="{EE97D3FE-9ACA-4467-98E5-532EC45D9D1C}" dt="2024-03-04T09:58:39.137" v="20146"/>
          <ac:spMkLst>
            <pc:docMk/>
            <pc:sldMk cId="2333946943" sldId="924"/>
            <ac:spMk id="23" creationId="{AE8882F9-6CA9-4D3C-A314-801BC21ABFB7}"/>
          </ac:spMkLst>
        </pc:spChg>
        <pc:spChg chg="mod">
          <ac:chgData name="Nataliia Chornii (UA)" userId="4e4b8b3d-5f31-49bb-9f80-8a25c04abfff" providerId="ADAL" clId="{EE97D3FE-9ACA-4467-98E5-532EC45D9D1C}" dt="2024-03-04T09:58:39.137" v="20146"/>
          <ac:spMkLst>
            <pc:docMk/>
            <pc:sldMk cId="2333946943" sldId="924"/>
            <ac:spMk id="24" creationId="{B80DF1EC-2FDF-CB0D-C12F-569EC95EAED8}"/>
          </ac:spMkLst>
        </pc:spChg>
        <pc:spChg chg="add del mod">
          <ac:chgData name="Nataliia Chornii (UA)" userId="4e4b8b3d-5f31-49bb-9f80-8a25c04abfff" providerId="ADAL" clId="{EE97D3FE-9ACA-4467-98E5-532EC45D9D1C}" dt="2024-03-01T08:56:05.878" v="7156" actId="6264"/>
          <ac:spMkLst>
            <pc:docMk/>
            <pc:sldMk cId="2333946943" sldId="924"/>
            <ac:spMk id="24" creationId="{EA9E688A-D552-9804-3B28-2F2F7CBAA877}"/>
          </ac:spMkLst>
        </pc:spChg>
        <pc:spChg chg="add del mod">
          <ac:chgData name="Nataliia Chornii (UA)" userId="4e4b8b3d-5f31-49bb-9f80-8a25c04abfff" providerId="ADAL" clId="{EE97D3FE-9ACA-4467-98E5-532EC45D9D1C}" dt="2024-03-01T08:56:05.878" v="7156" actId="6264"/>
          <ac:spMkLst>
            <pc:docMk/>
            <pc:sldMk cId="2333946943" sldId="924"/>
            <ac:spMk id="25" creationId="{8DD78B85-136E-CACB-9665-23C96C8FD783}"/>
          </ac:spMkLst>
        </pc:spChg>
        <pc:spChg chg="mod">
          <ac:chgData name="Nataliia Chornii (UA)" userId="4e4b8b3d-5f31-49bb-9f80-8a25c04abfff" providerId="ADAL" clId="{EE97D3FE-9ACA-4467-98E5-532EC45D9D1C}" dt="2024-03-04T09:58:39.137" v="20146"/>
          <ac:spMkLst>
            <pc:docMk/>
            <pc:sldMk cId="2333946943" sldId="924"/>
            <ac:spMk id="25" creationId="{E0CFBFFC-89A5-85EB-8558-1D2BE3078546}"/>
          </ac:spMkLst>
        </pc:spChg>
        <pc:spChg chg="add del mod">
          <ac:chgData name="Nataliia Chornii (UA)" userId="4e4b8b3d-5f31-49bb-9f80-8a25c04abfff" providerId="ADAL" clId="{EE97D3FE-9ACA-4467-98E5-532EC45D9D1C}" dt="2024-03-01T08:56:05.878" v="7156" actId="6264"/>
          <ac:spMkLst>
            <pc:docMk/>
            <pc:sldMk cId="2333946943" sldId="924"/>
            <ac:spMk id="26" creationId="{33EBAC46-F918-0227-935E-4F1ABED872DA}"/>
          </ac:spMkLst>
        </pc:spChg>
        <pc:spChg chg="mod">
          <ac:chgData name="Nataliia Chornii (UA)" userId="4e4b8b3d-5f31-49bb-9f80-8a25c04abfff" providerId="ADAL" clId="{EE97D3FE-9ACA-4467-98E5-532EC45D9D1C}" dt="2024-03-04T09:58:39.137" v="20146"/>
          <ac:spMkLst>
            <pc:docMk/>
            <pc:sldMk cId="2333946943" sldId="924"/>
            <ac:spMk id="26" creationId="{76A0636A-46E9-9CA9-DDBE-B186617BD287}"/>
          </ac:spMkLst>
        </pc:spChg>
        <pc:spChg chg="add del mod modVis">
          <ac:chgData name="Nataliia Chornii (UA)" userId="4e4b8b3d-5f31-49bb-9f80-8a25c04abfff" providerId="ADAL" clId="{EE97D3FE-9ACA-4467-98E5-532EC45D9D1C}" dt="2024-03-01T08:56:06.430" v="7180"/>
          <ac:spMkLst>
            <pc:docMk/>
            <pc:sldMk cId="2333946943" sldId="924"/>
            <ac:spMk id="27" creationId="{5591C79A-3E42-0BDA-DA44-4BBF212F3513}"/>
          </ac:spMkLst>
        </pc:spChg>
        <pc:spChg chg="mod">
          <ac:chgData name="Nataliia Chornii (UA)" userId="4e4b8b3d-5f31-49bb-9f80-8a25c04abfff" providerId="ADAL" clId="{EE97D3FE-9ACA-4467-98E5-532EC45D9D1C}" dt="2024-03-04T09:58:39.137" v="20146"/>
          <ac:spMkLst>
            <pc:docMk/>
            <pc:sldMk cId="2333946943" sldId="924"/>
            <ac:spMk id="27" creationId="{5EDDC7B7-B0EE-7882-5258-6D30866A66CF}"/>
          </ac:spMkLst>
        </pc:spChg>
        <pc:spChg chg="add del mod">
          <ac:chgData name="Nataliia Chornii (UA)" userId="4e4b8b3d-5f31-49bb-9f80-8a25c04abfff" providerId="ADAL" clId="{EE97D3FE-9ACA-4467-98E5-532EC45D9D1C}" dt="2024-03-11T14:20:41.107" v="23958" actId="478"/>
          <ac:spMkLst>
            <pc:docMk/>
            <pc:sldMk cId="2333946943" sldId="924"/>
            <ac:spMk id="28" creationId="{5064B5A9-52F3-41A2-AF96-FFD5338C92F3}"/>
          </ac:spMkLst>
        </pc:spChg>
        <pc:spChg chg="add del mod modVis">
          <ac:chgData name="Nataliia Chornii (UA)" userId="4e4b8b3d-5f31-49bb-9f80-8a25c04abfff" providerId="ADAL" clId="{EE97D3FE-9ACA-4467-98E5-532EC45D9D1C}" dt="2024-03-04T09:58:43.295" v="20206"/>
          <ac:spMkLst>
            <pc:docMk/>
            <pc:sldMk cId="2333946943" sldId="924"/>
            <ac:spMk id="28" creationId="{BEF43D9A-FC0A-61A9-E99F-C2C921323857}"/>
          </ac:spMkLst>
        </pc:spChg>
        <pc:spChg chg="add mod topLvl">
          <ac:chgData name="Nataliia Chornii (UA)" userId="4e4b8b3d-5f31-49bb-9f80-8a25c04abfff" providerId="ADAL" clId="{EE97D3FE-9ACA-4467-98E5-532EC45D9D1C}" dt="2024-03-11T14:07:14.045" v="23485" actId="164"/>
          <ac:spMkLst>
            <pc:docMk/>
            <pc:sldMk cId="2333946943" sldId="924"/>
            <ac:spMk id="29" creationId="{644A81C3-B52D-8470-CF92-316C7D37A523}"/>
          </ac:spMkLst>
        </pc:spChg>
        <pc:spChg chg="add del mod">
          <ac:chgData name="Nataliia Chornii (UA)" userId="4e4b8b3d-5f31-49bb-9f80-8a25c04abfff" providerId="ADAL" clId="{EE97D3FE-9ACA-4467-98E5-532EC45D9D1C}" dt="2024-03-01T08:58:03.087" v="7429" actId="478"/>
          <ac:spMkLst>
            <pc:docMk/>
            <pc:sldMk cId="2333946943" sldId="924"/>
            <ac:spMk id="29" creationId="{A0830D90-F2F1-5AE1-F4B3-DDB9272E3A3D}"/>
          </ac:spMkLst>
        </pc:spChg>
        <pc:spChg chg="add del mod ord">
          <ac:chgData name="Nataliia Chornii (UA)" userId="4e4b8b3d-5f31-49bb-9f80-8a25c04abfff" providerId="ADAL" clId="{EE97D3FE-9ACA-4467-98E5-532EC45D9D1C}" dt="2024-03-01T08:57:50.787" v="7397" actId="478"/>
          <ac:spMkLst>
            <pc:docMk/>
            <pc:sldMk cId="2333946943" sldId="924"/>
            <ac:spMk id="30" creationId="{8F199A7A-3ECD-7376-82B9-F839C7404709}"/>
          </ac:spMkLst>
        </pc:spChg>
        <pc:spChg chg="add mod topLvl">
          <ac:chgData name="Nataliia Chornii (UA)" userId="4e4b8b3d-5f31-49bb-9f80-8a25c04abfff" providerId="ADAL" clId="{EE97D3FE-9ACA-4467-98E5-532EC45D9D1C}" dt="2024-03-11T14:07:14.045" v="23485" actId="164"/>
          <ac:spMkLst>
            <pc:docMk/>
            <pc:sldMk cId="2333946943" sldId="924"/>
            <ac:spMk id="30" creationId="{CDE1BCDF-D64D-8A20-7A13-81F3F323C809}"/>
          </ac:spMkLst>
        </pc:spChg>
        <pc:spChg chg="add del mod">
          <ac:chgData name="Nataliia Chornii (UA)" userId="4e4b8b3d-5f31-49bb-9f80-8a25c04abfff" providerId="ADAL" clId="{EE97D3FE-9ACA-4467-98E5-532EC45D9D1C}" dt="2024-03-01T08:56:24.786" v="7195" actId="6264"/>
          <ac:spMkLst>
            <pc:docMk/>
            <pc:sldMk cId="2333946943" sldId="924"/>
            <ac:spMk id="31" creationId="{7FCFFBAE-52BA-C4CF-2830-0A7FC336E177}"/>
          </ac:spMkLst>
        </pc:spChg>
        <pc:spChg chg="add mod topLvl">
          <ac:chgData name="Nataliia Chornii (UA)" userId="4e4b8b3d-5f31-49bb-9f80-8a25c04abfff" providerId="ADAL" clId="{EE97D3FE-9ACA-4467-98E5-532EC45D9D1C}" dt="2024-03-11T14:07:14.045" v="23485" actId="164"/>
          <ac:spMkLst>
            <pc:docMk/>
            <pc:sldMk cId="2333946943" sldId="924"/>
            <ac:spMk id="31" creationId="{C52AD53F-833A-1803-23D5-DAD4D5ECCD0E}"/>
          </ac:spMkLst>
        </pc:spChg>
        <pc:spChg chg="add del mod">
          <ac:chgData name="Nataliia Chornii (UA)" userId="4e4b8b3d-5f31-49bb-9f80-8a25c04abfff" providerId="ADAL" clId="{EE97D3FE-9ACA-4467-98E5-532EC45D9D1C}" dt="2024-03-01T08:56:24.786" v="7195" actId="6264"/>
          <ac:spMkLst>
            <pc:docMk/>
            <pc:sldMk cId="2333946943" sldId="924"/>
            <ac:spMk id="32" creationId="{8C8580E9-E65B-782A-E8DF-A90A706C215E}"/>
          </ac:spMkLst>
        </pc:spChg>
        <pc:spChg chg="add mod topLvl">
          <ac:chgData name="Nataliia Chornii (UA)" userId="4e4b8b3d-5f31-49bb-9f80-8a25c04abfff" providerId="ADAL" clId="{EE97D3FE-9ACA-4467-98E5-532EC45D9D1C}" dt="2024-03-11T14:07:14.045" v="23485" actId="164"/>
          <ac:spMkLst>
            <pc:docMk/>
            <pc:sldMk cId="2333946943" sldId="924"/>
            <ac:spMk id="32" creationId="{920DD9A7-95B1-8718-E03F-43042128CE10}"/>
          </ac:spMkLst>
        </pc:spChg>
        <pc:spChg chg="add del mod">
          <ac:chgData name="Nataliia Chornii (UA)" userId="4e4b8b3d-5f31-49bb-9f80-8a25c04abfff" providerId="ADAL" clId="{EE97D3FE-9ACA-4467-98E5-532EC45D9D1C}" dt="2024-03-01T08:56:24.786" v="7195" actId="6264"/>
          <ac:spMkLst>
            <pc:docMk/>
            <pc:sldMk cId="2333946943" sldId="924"/>
            <ac:spMk id="33" creationId="{0E33E1E4-6371-B52F-D512-3CCDE3DA2F8B}"/>
          </ac:spMkLst>
        </pc:spChg>
        <pc:spChg chg="add mod topLvl">
          <ac:chgData name="Nataliia Chornii (UA)" userId="4e4b8b3d-5f31-49bb-9f80-8a25c04abfff" providerId="ADAL" clId="{EE97D3FE-9ACA-4467-98E5-532EC45D9D1C}" dt="2024-03-11T14:07:14.045" v="23485" actId="164"/>
          <ac:spMkLst>
            <pc:docMk/>
            <pc:sldMk cId="2333946943" sldId="924"/>
            <ac:spMk id="33" creationId="{FBBFE447-C84A-9696-9B09-D4EE2A0761C0}"/>
          </ac:spMkLst>
        </pc:spChg>
        <pc:spChg chg="add mod topLvl">
          <ac:chgData name="Nataliia Chornii (UA)" userId="4e4b8b3d-5f31-49bb-9f80-8a25c04abfff" providerId="ADAL" clId="{EE97D3FE-9ACA-4467-98E5-532EC45D9D1C}" dt="2024-03-11T14:07:14.045" v="23485" actId="164"/>
          <ac:spMkLst>
            <pc:docMk/>
            <pc:sldMk cId="2333946943" sldId="924"/>
            <ac:spMk id="34" creationId="{65D50FA6-5E2F-2600-479E-13B8A1BF7778}"/>
          </ac:spMkLst>
        </pc:spChg>
        <pc:spChg chg="add del mod modVis">
          <ac:chgData name="Nataliia Chornii (UA)" userId="4e4b8b3d-5f31-49bb-9f80-8a25c04abfff" providerId="ADAL" clId="{EE97D3FE-9ACA-4467-98E5-532EC45D9D1C}" dt="2024-03-01T08:56:25.361" v="7219"/>
          <ac:spMkLst>
            <pc:docMk/>
            <pc:sldMk cId="2333946943" sldId="924"/>
            <ac:spMk id="34" creationId="{B12F50A0-B07A-15DF-B205-E6727C464AE8}"/>
          </ac:spMkLst>
        </pc:spChg>
        <pc:spChg chg="add del mod">
          <ac:chgData name="Nataliia Chornii (UA)" userId="4e4b8b3d-5f31-49bb-9f80-8a25c04abfff" providerId="ADAL" clId="{EE97D3FE-9ACA-4467-98E5-532EC45D9D1C}" dt="2024-03-01T08:57:47.108" v="7396" actId="6264"/>
          <ac:spMkLst>
            <pc:docMk/>
            <pc:sldMk cId="2333946943" sldId="924"/>
            <ac:spMk id="35" creationId="{2152A7E0-BE7A-3DF4-DB0E-0B5E57F5F076}"/>
          </ac:spMkLst>
        </pc:spChg>
        <pc:spChg chg="add del mod">
          <ac:chgData name="Nataliia Chornii (UA)" userId="4e4b8b3d-5f31-49bb-9f80-8a25c04abfff" providerId="ADAL" clId="{EE97D3FE-9ACA-4467-98E5-532EC45D9D1C}" dt="2024-03-01T08:57:47.108" v="7396" actId="6264"/>
          <ac:spMkLst>
            <pc:docMk/>
            <pc:sldMk cId="2333946943" sldId="924"/>
            <ac:spMk id="36" creationId="{53BA858D-4F80-224A-1745-D710C765240B}"/>
          </ac:spMkLst>
        </pc:spChg>
        <pc:spChg chg="add del mod modVis">
          <ac:chgData name="Nataliia Chornii (UA)" userId="4e4b8b3d-5f31-49bb-9f80-8a25c04abfff" providerId="ADAL" clId="{EE97D3FE-9ACA-4467-98E5-532EC45D9D1C}" dt="2024-03-11T14:06:54.415" v="23450" actId="962"/>
          <ac:spMkLst>
            <pc:docMk/>
            <pc:sldMk cId="2333946943" sldId="924"/>
            <ac:spMk id="36" creationId="{EA88CFA2-881C-0D5F-5102-35A967CE560A}"/>
          </ac:spMkLst>
        </pc:spChg>
        <pc:spChg chg="add del mod modVis">
          <ac:chgData name="Nataliia Chornii (UA)" userId="4e4b8b3d-5f31-49bb-9f80-8a25c04abfff" providerId="ADAL" clId="{EE97D3FE-9ACA-4467-98E5-532EC45D9D1C}" dt="2024-03-11T14:06:58.713" v="23479"/>
          <ac:spMkLst>
            <pc:docMk/>
            <pc:sldMk cId="2333946943" sldId="924"/>
            <ac:spMk id="37" creationId="{6B725250-99C0-8852-1A90-203246F55B9F}"/>
          </ac:spMkLst>
        </pc:spChg>
        <pc:spChg chg="add del mod">
          <ac:chgData name="Nataliia Chornii (UA)" userId="4e4b8b3d-5f31-49bb-9f80-8a25c04abfff" providerId="ADAL" clId="{EE97D3FE-9ACA-4467-98E5-532EC45D9D1C}" dt="2024-03-01T08:57:47.108" v="7396" actId="6264"/>
          <ac:spMkLst>
            <pc:docMk/>
            <pc:sldMk cId="2333946943" sldId="924"/>
            <ac:spMk id="37" creationId="{7DB873AF-F955-A7A7-7802-55868188B196}"/>
          </ac:spMkLst>
        </pc:spChg>
        <pc:spChg chg="add del mod modVis">
          <ac:chgData name="Nataliia Chornii (UA)" userId="4e4b8b3d-5f31-49bb-9f80-8a25c04abfff" providerId="ADAL" clId="{EE97D3FE-9ACA-4467-98E5-532EC45D9D1C}" dt="2024-03-01T08:57:43.842" v="7390" actId="962"/>
          <ac:spMkLst>
            <pc:docMk/>
            <pc:sldMk cId="2333946943" sldId="924"/>
            <ac:spMk id="38" creationId="{6545C7FB-3C74-5145-A794-8AAC44784433}"/>
          </ac:spMkLst>
        </pc:spChg>
        <pc:spChg chg="add del mod">
          <ac:chgData name="Nataliia Chornii (UA)" userId="4e4b8b3d-5f31-49bb-9f80-8a25c04abfff" providerId="ADAL" clId="{EE97D3FE-9ACA-4467-98E5-532EC45D9D1C}" dt="2024-03-01T08:57:52.222" v="7398" actId="6264"/>
          <ac:spMkLst>
            <pc:docMk/>
            <pc:sldMk cId="2333946943" sldId="924"/>
            <ac:spMk id="39" creationId="{CC4144B2-7A42-94F1-9187-ED3D32B380A7}"/>
          </ac:spMkLst>
        </pc:spChg>
        <pc:spChg chg="add del mod">
          <ac:chgData name="Nataliia Chornii (UA)" userId="4e4b8b3d-5f31-49bb-9f80-8a25c04abfff" providerId="ADAL" clId="{EE97D3FE-9ACA-4467-98E5-532EC45D9D1C}" dt="2024-03-11T14:20:40.111" v="23957" actId="478"/>
          <ac:spMkLst>
            <pc:docMk/>
            <pc:sldMk cId="2333946943" sldId="924"/>
            <ac:spMk id="39" creationId="{FD0FA554-773D-9959-6DCA-0B871496783A}"/>
          </ac:spMkLst>
        </pc:spChg>
        <pc:spChg chg="add mod">
          <ac:chgData name="Nataliia Chornii (UA)" userId="4e4b8b3d-5f31-49bb-9f80-8a25c04abfff" providerId="ADAL" clId="{EE97D3FE-9ACA-4467-98E5-532EC45D9D1C}" dt="2024-03-11T14:20:46.724" v="23959"/>
          <ac:spMkLst>
            <pc:docMk/>
            <pc:sldMk cId="2333946943" sldId="924"/>
            <ac:spMk id="40" creationId="{53E5DDFB-E533-6702-E6D6-2A7771983A4B}"/>
          </ac:spMkLst>
        </pc:spChg>
        <pc:spChg chg="add del mod">
          <ac:chgData name="Nataliia Chornii (UA)" userId="4e4b8b3d-5f31-49bb-9f80-8a25c04abfff" providerId="ADAL" clId="{EE97D3FE-9ACA-4467-98E5-532EC45D9D1C}" dt="2024-03-01T08:57:52.222" v="7398" actId="6264"/>
          <ac:spMkLst>
            <pc:docMk/>
            <pc:sldMk cId="2333946943" sldId="924"/>
            <ac:spMk id="40" creationId="{C275B424-4372-BB0E-E208-80FCDBD46BEE}"/>
          </ac:spMkLst>
        </pc:spChg>
        <pc:spChg chg="add del mod">
          <ac:chgData name="Nataliia Chornii (UA)" userId="4e4b8b3d-5f31-49bb-9f80-8a25c04abfff" providerId="ADAL" clId="{EE97D3FE-9ACA-4467-98E5-532EC45D9D1C}" dt="2024-03-01T08:57:52.222" v="7398" actId="6264"/>
          <ac:spMkLst>
            <pc:docMk/>
            <pc:sldMk cId="2333946943" sldId="924"/>
            <ac:spMk id="41" creationId="{F7DDB121-0A40-EA00-5BA0-903D13082389}"/>
          </ac:spMkLst>
        </pc:spChg>
        <pc:spChg chg="add del mod modVis">
          <ac:chgData name="Nataliia Chornii (UA)" userId="4e4b8b3d-5f31-49bb-9f80-8a25c04abfff" providerId="ADAL" clId="{EE97D3FE-9ACA-4467-98E5-532EC45D9D1C}" dt="2024-03-01T08:57:52.805" v="7422"/>
          <ac:spMkLst>
            <pc:docMk/>
            <pc:sldMk cId="2333946943" sldId="924"/>
            <ac:spMk id="42" creationId="{06F3C05C-D17C-F07A-E4B1-E7FF6E2754E7}"/>
          </ac:spMkLst>
        </pc:spChg>
        <pc:spChg chg="mod">
          <ac:chgData name="Nataliia Chornii (UA)" userId="4e4b8b3d-5f31-49bb-9f80-8a25c04abfff" providerId="ADAL" clId="{EE97D3FE-9ACA-4467-98E5-532EC45D9D1C}" dt="2024-03-11T14:20:46.724" v="23959"/>
          <ac:spMkLst>
            <pc:docMk/>
            <pc:sldMk cId="2333946943" sldId="924"/>
            <ac:spMk id="42" creationId="{D5A8F98B-A100-8D22-1202-8F00B6AAD5B3}"/>
          </ac:spMkLst>
        </pc:spChg>
        <pc:spChg chg="mod">
          <ac:chgData name="Nataliia Chornii (UA)" userId="4e4b8b3d-5f31-49bb-9f80-8a25c04abfff" providerId="ADAL" clId="{EE97D3FE-9ACA-4467-98E5-532EC45D9D1C}" dt="2024-03-11T14:20:46.724" v="23959"/>
          <ac:spMkLst>
            <pc:docMk/>
            <pc:sldMk cId="2333946943" sldId="924"/>
            <ac:spMk id="43" creationId="{5A657692-84D5-0135-1EDD-8539C18F0922}"/>
          </ac:spMkLst>
        </pc:spChg>
        <pc:spChg chg="add del mod ord">
          <ac:chgData name="Nataliia Chornii (UA)" userId="4e4b8b3d-5f31-49bb-9f80-8a25c04abfff" providerId="ADAL" clId="{EE97D3FE-9ACA-4467-98E5-532EC45D9D1C}" dt="2024-03-04T09:58:43.279" v="20180"/>
          <ac:spMkLst>
            <pc:docMk/>
            <pc:sldMk cId="2333946943" sldId="924"/>
            <ac:spMk id="44" creationId="{D451C3AD-BF06-A491-5B76-787F273C0C52}"/>
          </ac:spMkLst>
        </pc:spChg>
        <pc:spChg chg="mod">
          <ac:chgData name="Nataliia Chornii (UA)" userId="4e4b8b3d-5f31-49bb-9f80-8a25c04abfff" providerId="ADAL" clId="{EE97D3FE-9ACA-4467-98E5-532EC45D9D1C}" dt="2024-03-11T14:20:46.724" v="23959"/>
          <ac:spMkLst>
            <pc:docMk/>
            <pc:sldMk cId="2333946943" sldId="924"/>
            <ac:spMk id="45" creationId="{7EC66DF3-0E46-3102-4A4C-72723DF7AEFC}"/>
          </ac:spMkLst>
        </pc:spChg>
        <pc:spChg chg="add del mod">
          <ac:chgData name="Nataliia Chornii (UA)" userId="4e4b8b3d-5f31-49bb-9f80-8a25c04abfff" providerId="ADAL" clId="{EE97D3FE-9ACA-4467-98E5-532EC45D9D1C}" dt="2024-03-01T08:58:04.159" v="7430" actId="6264"/>
          <ac:spMkLst>
            <pc:docMk/>
            <pc:sldMk cId="2333946943" sldId="924"/>
            <ac:spMk id="45" creationId="{C7BAD94E-6402-0831-40F9-04ABFD627847}"/>
          </ac:spMkLst>
        </pc:spChg>
        <pc:spChg chg="mod">
          <ac:chgData name="Nataliia Chornii (UA)" userId="4e4b8b3d-5f31-49bb-9f80-8a25c04abfff" providerId="ADAL" clId="{EE97D3FE-9ACA-4467-98E5-532EC45D9D1C}" dt="2024-03-11T14:20:46.724" v="23959"/>
          <ac:spMkLst>
            <pc:docMk/>
            <pc:sldMk cId="2333946943" sldId="924"/>
            <ac:spMk id="46" creationId="{892B060B-A08A-4796-8A09-69F8615476CC}"/>
          </ac:spMkLst>
        </pc:spChg>
        <pc:spChg chg="add del mod">
          <ac:chgData name="Nataliia Chornii (UA)" userId="4e4b8b3d-5f31-49bb-9f80-8a25c04abfff" providerId="ADAL" clId="{EE97D3FE-9ACA-4467-98E5-532EC45D9D1C}" dt="2024-03-01T08:58:04.159" v="7430" actId="6264"/>
          <ac:spMkLst>
            <pc:docMk/>
            <pc:sldMk cId="2333946943" sldId="924"/>
            <ac:spMk id="46" creationId="{AD41318D-2AF7-05F3-9D5C-63F980706B52}"/>
          </ac:spMkLst>
        </pc:spChg>
        <pc:spChg chg="mod">
          <ac:chgData name="Nataliia Chornii (UA)" userId="4e4b8b3d-5f31-49bb-9f80-8a25c04abfff" providerId="ADAL" clId="{EE97D3FE-9ACA-4467-98E5-532EC45D9D1C}" dt="2024-03-11T14:20:46.724" v="23959"/>
          <ac:spMkLst>
            <pc:docMk/>
            <pc:sldMk cId="2333946943" sldId="924"/>
            <ac:spMk id="47" creationId="{20A2D94F-43CB-EDD7-1A06-B60A44C0744D}"/>
          </ac:spMkLst>
        </pc:spChg>
        <pc:spChg chg="add del mod">
          <ac:chgData name="Nataliia Chornii (UA)" userId="4e4b8b3d-5f31-49bb-9f80-8a25c04abfff" providerId="ADAL" clId="{EE97D3FE-9ACA-4467-98E5-532EC45D9D1C}" dt="2024-03-01T08:58:04.159" v="7430" actId="6264"/>
          <ac:spMkLst>
            <pc:docMk/>
            <pc:sldMk cId="2333946943" sldId="924"/>
            <ac:spMk id="47" creationId="{2F90CDF7-ADD7-F8B9-8075-B68875D170D1}"/>
          </ac:spMkLst>
        </pc:spChg>
        <pc:spChg chg="mod">
          <ac:chgData name="Nataliia Chornii (UA)" userId="4e4b8b3d-5f31-49bb-9f80-8a25c04abfff" providerId="ADAL" clId="{EE97D3FE-9ACA-4467-98E5-532EC45D9D1C}" dt="2024-03-11T14:20:46.724" v="23959"/>
          <ac:spMkLst>
            <pc:docMk/>
            <pc:sldMk cId="2333946943" sldId="924"/>
            <ac:spMk id="48" creationId="{80493C8E-B927-1A54-1912-46BD21ECFA82}"/>
          </ac:spMkLst>
        </pc:spChg>
        <pc:spChg chg="add del mod modVis">
          <ac:chgData name="Nataliia Chornii (UA)" userId="4e4b8b3d-5f31-49bb-9f80-8a25c04abfff" providerId="ADAL" clId="{EE97D3FE-9ACA-4467-98E5-532EC45D9D1C}" dt="2024-03-01T08:58:04.740" v="7454"/>
          <ac:spMkLst>
            <pc:docMk/>
            <pc:sldMk cId="2333946943" sldId="924"/>
            <ac:spMk id="48" creationId="{C12D72FE-6729-B1E5-980C-8A4B51678E10}"/>
          </ac:spMkLst>
        </pc:spChg>
        <pc:spChg chg="add del mod ord">
          <ac:chgData name="Nataliia Chornii (UA)" userId="4e4b8b3d-5f31-49bb-9f80-8a25c04abfff" providerId="ADAL" clId="{EE97D3FE-9ACA-4467-98E5-532EC45D9D1C}" dt="2024-03-04T09:58:43.279" v="20182"/>
          <ac:spMkLst>
            <pc:docMk/>
            <pc:sldMk cId="2333946943" sldId="924"/>
            <ac:spMk id="49" creationId="{A6C28A3C-A620-B16D-4B58-91E913FDA302}"/>
          </ac:spMkLst>
        </pc:spChg>
        <pc:spChg chg="add mod ord">
          <ac:chgData name="Nataliia Chornii (UA)" userId="4e4b8b3d-5f31-49bb-9f80-8a25c04abfff" providerId="ADAL" clId="{EE97D3FE-9ACA-4467-98E5-532EC45D9D1C}" dt="2024-03-04T09:58:43.279" v="20184"/>
          <ac:spMkLst>
            <pc:docMk/>
            <pc:sldMk cId="2333946943" sldId="924"/>
            <ac:spMk id="50" creationId="{B5ED44FD-99B9-EA5D-A6CA-13027AC18E14}"/>
          </ac:spMkLst>
        </pc:spChg>
        <pc:spChg chg="add del mod">
          <ac:chgData name="Nataliia Chornii (UA)" userId="4e4b8b3d-5f31-49bb-9f80-8a25c04abfff" providerId="ADAL" clId="{EE97D3FE-9ACA-4467-98E5-532EC45D9D1C}" dt="2024-03-01T09:02:28.791" v="7609" actId="478"/>
          <ac:spMkLst>
            <pc:docMk/>
            <pc:sldMk cId="2333946943" sldId="924"/>
            <ac:spMk id="51" creationId="{0012FAEB-A845-87E5-BE9C-2345C5F17370}"/>
          </ac:spMkLst>
        </pc:spChg>
        <pc:spChg chg="add del mod">
          <ac:chgData name="Nataliia Chornii (UA)" userId="4e4b8b3d-5f31-49bb-9f80-8a25c04abfff" providerId="ADAL" clId="{EE97D3FE-9ACA-4467-98E5-532EC45D9D1C}" dt="2024-03-01T09:02:28.791" v="7609" actId="478"/>
          <ac:spMkLst>
            <pc:docMk/>
            <pc:sldMk cId="2333946943" sldId="924"/>
            <ac:spMk id="52" creationId="{823FF949-1A6D-D535-DD5C-18E3C911BF98}"/>
          </ac:spMkLst>
        </pc:spChg>
        <pc:spChg chg="add mod ord topLvl">
          <ac:chgData name="Nataliia Chornii (UA)" userId="4e4b8b3d-5f31-49bb-9f80-8a25c04abfff" providerId="ADAL" clId="{EE97D3FE-9ACA-4467-98E5-532EC45D9D1C}" dt="2024-03-04T09:58:43.279" v="20186"/>
          <ac:spMkLst>
            <pc:docMk/>
            <pc:sldMk cId="2333946943" sldId="924"/>
            <ac:spMk id="53" creationId="{E81B126C-1DE6-E834-F45C-027ED60209BD}"/>
          </ac:spMkLst>
        </pc:spChg>
        <pc:spChg chg="add del mod ord topLvl">
          <ac:chgData name="Nataliia Chornii (UA)" userId="4e4b8b3d-5f31-49bb-9f80-8a25c04abfff" providerId="ADAL" clId="{EE97D3FE-9ACA-4467-98E5-532EC45D9D1C}" dt="2024-03-04T09:58:43.279" v="20190"/>
          <ac:spMkLst>
            <pc:docMk/>
            <pc:sldMk cId="2333946943" sldId="924"/>
            <ac:spMk id="54" creationId="{24C1A375-8C7A-FB4D-7F47-F1622BECD0DA}"/>
          </ac:spMkLst>
        </pc:spChg>
        <pc:spChg chg="add del mod ord topLvl">
          <ac:chgData name="Nataliia Chornii (UA)" userId="4e4b8b3d-5f31-49bb-9f80-8a25c04abfff" providerId="ADAL" clId="{EE97D3FE-9ACA-4467-98E5-532EC45D9D1C}" dt="2024-03-01T09:09:56.713" v="7943" actId="478"/>
          <ac:spMkLst>
            <pc:docMk/>
            <pc:sldMk cId="2333946943" sldId="924"/>
            <ac:spMk id="55" creationId="{D8C8D1ED-9692-E4FB-8783-BF4B07E50F8E}"/>
          </ac:spMkLst>
        </pc:spChg>
        <pc:spChg chg="add mod ord topLvl">
          <ac:chgData name="Nataliia Chornii (UA)" userId="4e4b8b3d-5f31-49bb-9f80-8a25c04abfff" providerId="ADAL" clId="{EE97D3FE-9ACA-4467-98E5-532EC45D9D1C}" dt="2024-03-04T09:58:43.279" v="20188"/>
          <ac:spMkLst>
            <pc:docMk/>
            <pc:sldMk cId="2333946943" sldId="924"/>
            <ac:spMk id="56" creationId="{91FD7191-EBCA-832B-EE38-C0AD6980C89C}"/>
          </ac:spMkLst>
        </pc:spChg>
        <pc:spChg chg="add del mod ord topLvl">
          <ac:chgData name="Nataliia Chornii (UA)" userId="4e4b8b3d-5f31-49bb-9f80-8a25c04abfff" providerId="ADAL" clId="{EE97D3FE-9ACA-4467-98E5-532EC45D9D1C}" dt="2024-03-01T09:10:07.047" v="7945" actId="478"/>
          <ac:spMkLst>
            <pc:docMk/>
            <pc:sldMk cId="2333946943" sldId="924"/>
            <ac:spMk id="57" creationId="{FA12F41B-53C5-7E8E-B9A5-76289351C69D}"/>
          </ac:spMkLst>
        </pc:spChg>
        <pc:spChg chg="add del mod ord topLvl">
          <ac:chgData name="Nataliia Chornii (UA)" userId="4e4b8b3d-5f31-49bb-9f80-8a25c04abfff" providerId="ADAL" clId="{EE97D3FE-9ACA-4467-98E5-532EC45D9D1C}" dt="2024-03-01T09:09:55.370" v="7942" actId="478"/>
          <ac:spMkLst>
            <pc:docMk/>
            <pc:sldMk cId="2333946943" sldId="924"/>
            <ac:spMk id="58" creationId="{BD528CEF-757A-517C-A506-CCDB3B7253E6}"/>
          </ac:spMkLst>
        </pc:spChg>
        <pc:spChg chg="add mod ord">
          <ac:chgData name="Nataliia Chornii (UA)" userId="4e4b8b3d-5f31-49bb-9f80-8a25c04abfff" providerId="ADAL" clId="{EE97D3FE-9ACA-4467-98E5-532EC45D9D1C}" dt="2024-03-04T09:58:43.279" v="20192"/>
          <ac:spMkLst>
            <pc:docMk/>
            <pc:sldMk cId="2333946943" sldId="924"/>
            <ac:spMk id="59" creationId="{0B9A482D-D6B8-5CBF-C3DA-64F6DB0BD51D}"/>
          </ac:spMkLst>
        </pc:spChg>
        <pc:spChg chg="add mod ord">
          <ac:chgData name="Nataliia Chornii (UA)" userId="4e4b8b3d-5f31-49bb-9f80-8a25c04abfff" providerId="ADAL" clId="{EE97D3FE-9ACA-4467-98E5-532EC45D9D1C}" dt="2024-03-04T09:58:43.295" v="20202"/>
          <ac:spMkLst>
            <pc:docMk/>
            <pc:sldMk cId="2333946943" sldId="924"/>
            <ac:spMk id="60" creationId="{984E97C1-82FC-5159-8A6A-7060A68823FC}"/>
          </ac:spMkLst>
        </pc:spChg>
        <pc:spChg chg="add mod ord">
          <ac:chgData name="Nataliia Chornii (UA)" userId="4e4b8b3d-5f31-49bb-9f80-8a25c04abfff" providerId="ADAL" clId="{EE97D3FE-9ACA-4467-98E5-532EC45D9D1C}" dt="2024-03-04T09:58:43.279" v="20170"/>
          <ac:spMkLst>
            <pc:docMk/>
            <pc:sldMk cId="2333946943" sldId="924"/>
            <ac:spMk id="65" creationId="{6D2F5831-19CB-8E2E-E436-E08C83663D19}"/>
          </ac:spMkLst>
        </pc:spChg>
        <pc:spChg chg="add del mod">
          <ac:chgData name="Nataliia Chornii (UA)" userId="4e4b8b3d-5f31-49bb-9f80-8a25c04abfff" providerId="ADAL" clId="{EE97D3FE-9ACA-4467-98E5-532EC45D9D1C}" dt="2024-03-01T09:07:18.958" v="7861" actId="6264"/>
          <ac:spMkLst>
            <pc:docMk/>
            <pc:sldMk cId="2333946943" sldId="924"/>
            <ac:spMk id="66" creationId="{548F5B7E-0111-7D61-1B8C-D431DDE64BB0}"/>
          </ac:spMkLst>
        </pc:spChg>
        <pc:spChg chg="add del mod">
          <ac:chgData name="Nataliia Chornii (UA)" userId="4e4b8b3d-5f31-49bb-9f80-8a25c04abfff" providerId="ADAL" clId="{EE97D3FE-9ACA-4467-98E5-532EC45D9D1C}" dt="2024-03-01T09:07:18.958" v="7861" actId="6264"/>
          <ac:spMkLst>
            <pc:docMk/>
            <pc:sldMk cId="2333946943" sldId="924"/>
            <ac:spMk id="67" creationId="{74EFA1EC-4737-8405-548D-5B30CC7019A3}"/>
          </ac:spMkLst>
        </pc:spChg>
        <pc:spChg chg="add del mod">
          <ac:chgData name="Nataliia Chornii (UA)" userId="4e4b8b3d-5f31-49bb-9f80-8a25c04abfff" providerId="ADAL" clId="{EE97D3FE-9ACA-4467-98E5-532EC45D9D1C}" dt="2024-03-01T09:07:18.958" v="7861" actId="6264"/>
          <ac:spMkLst>
            <pc:docMk/>
            <pc:sldMk cId="2333946943" sldId="924"/>
            <ac:spMk id="68" creationId="{4291211E-3E3C-4A74-7B3B-10D7F83F1149}"/>
          </ac:spMkLst>
        </pc:spChg>
        <pc:spChg chg="add del mod modVis">
          <ac:chgData name="Nataliia Chornii (UA)" userId="4e4b8b3d-5f31-49bb-9f80-8a25c04abfff" providerId="ADAL" clId="{EE97D3FE-9ACA-4467-98E5-532EC45D9D1C}" dt="2024-03-01T09:07:19.528" v="7885"/>
          <ac:spMkLst>
            <pc:docMk/>
            <pc:sldMk cId="2333946943" sldId="924"/>
            <ac:spMk id="69" creationId="{859020BA-E61B-57DA-098E-2252FF764B1D}"/>
          </ac:spMkLst>
        </pc:spChg>
        <pc:spChg chg="mod">
          <ac:chgData name="Nataliia Chornii (UA)" userId="4e4b8b3d-5f31-49bb-9f80-8a25c04abfff" providerId="ADAL" clId="{EE97D3FE-9ACA-4467-98E5-532EC45D9D1C}" dt="2024-03-01T09:09:30.187" v="7936" actId="207"/>
          <ac:spMkLst>
            <pc:docMk/>
            <pc:sldMk cId="2333946943" sldId="924"/>
            <ac:spMk id="71" creationId="{D34374A7-1B6A-D536-0F71-C9F1AD33CB55}"/>
          </ac:spMkLst>
        </pc:spChg>
        <pc:spChg chg="mod">
          <ac:chgData name="Nataliia Chornii (UA)" userId="4e4b8b3d-5f31-49bb-9f80-8a25c04abfff" providerId="ADAL" clId="{EE97D3FE-9ACA-4467-98E5-532EC45D9D1C}" dt="2024-03-01T09:09:30.187" v="7936" actId="207"/>
          <ac:spMkLst>
            <pc:docMk/>
            <pc:sldMk cId="2333946943" sldId="924"/>
            <ac:spMk id="72" creationId="{D39FB951-ABE2-D3F5-60CF-99D55681B18D}"/>
          </ac:spMkLst>
        </pc:spChg>
        <pc:spChg chg="mod">
          <ac:chgData name="Nataliia Chornii (UA)" userId="4e4b8b3d-5f31-49bb-9f80-8a25c04abfff" providerId="ADAL" clId="{EE97D3FE-9ACA-4467-98E5-532EC45D9D1C}" dt="2024-03-01T09:09:30.187" v="7936" actId="207"/>
          <ac:spMkLst>
            <pc:docMk/>
            <pc:sldMk cId="2333946943" sldId="924"/>
            <ac:spMk id="74" creationId="{BC381A6F-70EF-C0FD-91F8-5ED4A23A8526}"/>
          </ac:spMkLst>
        </pc:spChg>
        <pc:spChg chg="mod">
          <ac:chgData name="Nataliia Chornii (UA)" userId="4e4b8b3d-5f31-49bb-9f80-8a25c04abfff" providerId="ADAL" clId="{EE97D3FE-9ACA-4467-98E5-532EC45D9D1C}" dt="2024-03-01T09:09:30.187" v="7936" actId="207"/>
          <ac:spMkLst>
            <pc:docMk/>
            <pc:sldMk cId="2333946943" sldId="924"/>
            <ac:spMk id="75" creationId="{A52302E0-D06F-B53F-6B9F-11F51A374695}"/>
          </ac:spMkLst>
        </pc:spChg>
        <pc:spChg chg="mod">
          <ac:chgData name="Nataliia Chornii (UA)" userId="4e4b8b3d-5f31-49bb-9f80-8a25c04abfff" providerId="ADAL" clId="{EE97D3FE-9ACA-4467-98E5-532EC45D9D1C}" dt="2024-03-01T09:09:30.187" v="7936" actId="207"/>
          <ac:spMkLst>
            <pc:docMk/>
            <pc:sldMk cId="2333946943" sldId="924"/>
            <ac:spMk id="76" creationId="{8E76314F-6ADE-03F0-022E-15E77BF01AC2}"/>
          </ac:spMkLst>
        </pc:spChg>
        <pc:spChg chg="mod">
          <ac:chgData name="Nataliia Chornii (UA)" userId="4e4b8b3d-5f31-49bb-9f80-8a25c04abfff" providerId="ADAL" clId="{EE97D3FE-9ACA-4467-98E5-532EC45D9D1C}" dt="2024-03-01T09:09:30.187" v="7936" actId="207"/>
          <ac:spMkLst>
            <pc:docMk/>
            <pc:sldMk cId="2333946943" sldId="924"/>
            <ac:spMk id="77" creationId="{995FAF05-38A3-6261-C723-70CC2C37EB43}"/>
          </ac:spMkLst>
        </pc:spChg>
        <pc:spChg chg="mod">
          <ac:chgData name="Nataliia Chornii (UA)" userId="4e4b8b3d-5f31-49bb-9f80-8a25c04abfff" providerId="ADAL" clId="{EE97D3FE-9ACA-4467-98E5-532EC45D9D1C}" dt="2024-03-01T09:09:30.187" v="7936" actId="207"/>
          <ac:spMkLst>
            <pc:docMk/>
            <pc:sldMk cId="2333946943" sldId="924"/>
            <ac:spMk id="78" creationId="{02526B0B-12FD-B0D4-93EC-F3E9E79038BC}"/>
          </ac:spMkLst>
        </pc:spChg>
        <pc:spChg chg="mod">
          <ac:chgData name="Nataliia Chornii (UA)" userId="4e4b8b3d-5f31-49bb-9f80-8a25c04abfff" providerId="ADAL" clId="{EE97D3FE-9ACA-4467-98E5-532EC45D9D1C}" dt="2024-03-01T09:09:30.187" v="7936" actId="207"/>
          <ac:spMkLst>
            <pc:docMk/>
            <pc:sldMk cId="2333946943" sldId="924"/>
            <ac:spMk id="79" creationId="{9C169017-F214-402F-7C37-2E157FEEBCBE}"/>
          </ac:spMkLst>
        </pc:spChg>
        <pc:spChg chg="mod">
          <ac:chgData name="Nataliia Chornii (UA)" userId="4e4b8b3d-5f31-49bb-9f80-8a25c04abfff" providerId="ADAL" clId="{EE97D3FE-9ACA-4467-98E5-532EC45D9D1C}" dt="2024-03-01T09:09:30.187" v="7936" actId="207"/>
          <ac:spMkLst>
            <pc:docMk/>
            <pc:sldMk cId="2333946943" sldId="924"/>
            <ac:spMk id="80" creationId="{D573D522-51DC-C17B-E97B-D31EAE9D45C3}"/>
          </ac:spMkLst>
        </pc:spChg>
        <pc:spChg chg="mod">
          <ac:chgData name="Nataliia Chornii (UA)" userId="4e4b8b3d-5f31-49bb-9f80-8a25c04abfff" providerId="ADAL" clId="{EE97D3FE-9ACA-4467-98E5-532EC45D9D1C}" dt="2024-03-01T09:09:30.187" v="7936" actId="207"/>
          <ac:spMkLst>
            <pc:docMk/>
            <pc:sldMk cId="2333946943" sldId="924"/>
            <ac:spMk id="81" creationId="{66E96757-69F4-73B6-A946-D3989AE3E897}"/>
          </ac:spMkLst>
        </pc:spChg>
        <pc:spChg chg="mod">
          <ac:chgData name="Nataliia Chornii (UA)" userId="4e4b8b3d-5f31-49bb-9f80-8a25c04abfff" providerId="ADAL" clId="{EE97D3FE-9ACA-4467-98E5-532EC45D9D1C}" dt="2024-03-01T09:09:30.187" v="7936" actId="207"/>
          <ac:spMkLst>
            <pc:docMk/>
            <pc:sldMk cId="2333946943" sldId="924"/>
            <ac:spMk id="82" creationId="{2C83EB92-89F8-1535-102D-C154CA3E17BD}"/>
          </ac:spMkLst>
        </pc:spChg>
        <pc:spChg chg="mod">
          <ac:chgData name="Nataliia Chornii (UA)" userId="4e4b8b3d-5f31-49bb-9f80-8a25c04abfff" providerId="ADAL" clId="{EE97D3FE-9ACA-4467-98E5-532EC45D9D1C}" dt="2024-03-01T09:09:30.187" v="7936" actId="207"/>
          <ac:spMkLst>
            <pc:docMk/>
            <pc:sldMk cId="2333946943" sldId="924"/>
            <ac:spMk id="83" creationId="{81771636-448E-D14D-8EFE-3F73ACC4E103}"/>
          </ac:spMkLst>
        </pc:spChg>
        <pc:spChg chg="mod">
          <ac:chgData name="Nataliia Chornii (UA)" userId="4e4b8b3d-5f31-49bb-9f80-8a25c04abfff" providerId="ADAL" clId="{EE97D3FE-9ACA-4467-98E5-532EC45D9D1C}" dt="2024-03-01T09:09:30.187" v="7936" actId="207"/>
          <ac:spMkLst>
            <pc:docMk/>
            <pc:sldMk cId="2333946943" sldId="924"/>
            <ac:spMk id="84" creationId="{DFB04E6B-F081-1CF1-EE6C-680BB43BBDDC}"/>
          </ac:spMkLst>
        </pc:spChg>
        <pc:spChg chg="mod">
          <ac:chgData name="Nataliia Chornii (UA)" userId="4e4b8b3d-5f31-49bb-9f80-8a25c04abfff" providerId="ADAL" clId="{EE97D3FE-9ACA-4467-98E5-532EC45D9D1C}" dt="2024-03-01T09:09:30.187" v="7936" actId="207"/>
          <ac:spMkLst>
            <pc:docMk/>
            <pc:sldMk cId="2333946943" sldId="924"/>
            <ac:spMk id="85" creationId="{DB2EBEDA-64D5-65F5-FAF7-F88B16923B7D}"/>
          </ac:spMkLst>
        </pc:spChg>
        <pc:spChg chg="mod">
          <ac:chgData name="Nataliia Chornii (UA)" userId="4e4b8b3d-5f31-49bb-9f80-8a25c04abfff" providerId="ADAL" clId="{EE97D3FE-9ACA-4467-98E5-532EC45D9D1C}" dt="2024-03-01T09:09:30.187" v="7936" actId="207"/>
          <ac:spMkLst>
            <pc:docMk/>
            <pc:sldMk cId="2333946943" sldId="924"/>
            <ac:spMk id="86" creationId="{CE18F176-A166-E494-ACCC-03BEEC7338ED}"/>
          </ac:spMkLst>
        </pc:spChg>
        <pc:spChg chg="mod">
          <ac:chgData name="Nataliia Chornii (UA)" userId="4e4b8b3d-5f31-49bb-9f80-8a25c04abfff" providerId="ADAL" clId="{EE97D3FE-9ACA-4467-98E5-532EC45D9D1C}" dt="2024-03-01T09:09:30.187" v="7936" actId="207"/>
          <ac:spMkLst>
            <pc:docMk/>
            <pc:sldMk cId="2333946943" sldId="924"/>
            <ac:spMk id="87" creationId="{20838420-654F-8F65-64D7-D387CAC2BFB8}"/>
          </ac:spMkLst>
        </pc:spChg>
        <pc:spChg chg="mod">
          <ac:chgData name="Nataliia Chornii (UA)" userId="4e4b8b3d-5f31-49bb-9f80-8a25c04abfff" providerId="ADAL" clId="{EE97D3FE-9ACA-4467-98E5-532EC45D9D1C}" dt="2024-03-01T09:09:30.187" v="7936" actId="207"/>
          <ac:spMkLst>
            <pc:docMk/>
            <pc:sldMk cId="2333946943" sldId="924"/>
            <ac:spMk id="88" creationId="{7F4F3E55-BB58-47FE-9429-A49FBF23A2B9}"/>
          </ac:spMkLst>
        </pc:spChg>
        <pc:spChg chg="mod">
          <ac:chgData name="Nataliia Chornii (UA)" userId="4e4b8b3d-5f31-49bb-9f80-8a25c04abfff" providerId="ADAL" clId="{EE97D3FE-9ACA-4467-98E5-532EC45D9D1C}" dt="2024-03-01T09:09:30.187" v="7936" actId="207"/>
          <ac:spMkLst>
            <pc:docMk/>
            <pc:sldMk cId="2333946943" sldId="924"/>
            <ac:spMk id="89" creationId="{BAAC3FF7-79DD-4C90-3798-133528A8D1CE}"/>
          </ac:spMkLst>
        </pc:spChg>
        <pc:spChg chg="add del mod ord">
          <ac:chgData name="Nataliia Chornii (UA)" userId="4e4b8b3d-5f31-49bb-9f80-8a25c04abfff" providerId="ADAL" clId="{EE97D3FE-9ACA-4467-98E5-532EC45D9D1C}" dt="2024-03-04T09:58:43.279" v="20196"/>
          <ac:spMkLst>
            <pc:docMk/>
            <pc:sldMk cId="2333946943" sldId="924"/>
            <ac:spMk id="90" creationId="{D00B4179-08F8-09B5-BD0A-9A04267AF1DF}"/>
          </ac:spMkLst>
        </pc:spChg>
        <pc:grpChg chg="add mod ord">
          <ac:chgData name="Nataliia Chornii (UA)" userId="4e4b8b3d-5f31-49bb-9f80-8a25c04abfff" providerId="ADAL" clId="{EE97D3FE-9ACA-4467-98E5-532EC45D9D1C}" dt="2024-03-04T09:58:43.279" v="20198"/>
          <ac:grpSpMkLst>
            <pc:docMk/>
            <pc:sldMk cId="2333946943" sldId="924"/>
            <ac:grpSpMk id="5" creationId="{F3DC2FB6-68B5-BA33-86F8-F122CDF00F85}"/>
          </ac:grpSpMkLst>
        </pc:grpChg>
        <pc:grpChg chg="add mod ord">
          <ac:chgData name="Nataliia Chornii (UA)" userId="4e4b8b3d-5f31-49bb-9f80-8a25c04abfff" providerId="ADAL" clId="{EE97D3FE-9ACA-4467-98E5-532EC45D9D1C}" dt="2024-03-04T09:58:43.279" v="20200"/>
          <ac:grpSpMkLst>
            <pc:docMk/>
            <pc:sldMk cId="2333946943" sldId="924"/>
            <ac:grpSpMk id="10" creationId="{7D8EE757-3407-A033-DB35-38C4C5E0D3CF}"/>
          </ac:grpSpMkLst>
        </pc:grpChg>
        <pc:grpChg chg="add del mod">
          <ac:chgData name="Nataliia Chornii (UA)" userId="4e4b8b3d-5f31-49bb-9f80-8a25c04abfff" providerId="ADAL" clId="{EE97D3FE-9ACA-4467-98E5-532EC45D9D1C}" dt="2024-03-11T14:07:11.413" v="23483" actId="165"/>
          <ac:grpSpMkLst>
            <pc:docMk/>
            <pc:sldMk cId="2333946943" sldId="924"/>
            <ac:grpSpMk id="35" creationId="{A8E0946C-1F10-28D6-DA05-3DF1185B65FA}"/>
          </ac:grpSpMkLst>
        </pc:grpChg>
        <pc:grpChg chg="add del mod">
          <ac:chgData name="Nataliia Chornii (UA)" userId="4e4b8b3d-5f31-49bb-9f80-8a25c04abfff" providerId="ADAL" clId="{EE97D3FE-9ACA-4467-98E5-532EC45D9D1C}" dt="2024-03-11T14:08:24.319" v="23499" actId="478"/>
          <ac:grpSpMkLst>
            <pc:docMk/>
            <pc:sldMk cId="2333946943" sldId="924"/>
            <ac:grpSpMk id="38" creationId="{DB229D72-3CEF-649B-1CB2-D69F96F8A294}"/>
          </ac:grpSpMkLst>
        </pc:grpChg>
        <pc:grpChg chg="add mod">
          <ac:chgData name="Nataliia Chornii (UA)" userId="4e4b8b3d-5f31-49bb-9f80-8a25c04abfff" providerId="ADAL" clId="{EE97D3FE-9ACA-4467-98E5-532EC45D9D1C}" dt="2024-03-11T14:20:46.724" v="23959"/>
          <ac:grpSpMkLst>
            <pc:docMk/>
            <pc:sldMk cId="2333946943" sldId="924"/>
            <ac:grpSpMk id="41" creationId="{92E09775-7CA5-5BE9-AF26-CCEC6FC9FEF4}"/>
          </ac:grpSpMkLst>
        </pc:grpChg>
        <pc:grpChg chg="add del mod ord">
          <ac:chgData name="Nataliia Chornii (UA)" userId="4e4b8b3d-5f31-49bb-9f80-8a25c04abfff" providerId="ADAL" clId="{EE97D3FE-9ACA-4467-98E5-532EC45D9D1C}" dt="2024-03-01T09:09:16.257" v="7932" actId="165"/>
          <ac:grpSpMkLst>
            <pc:docMk/>
            <pc:sldMk cId="2333946943" sldId="924"/>
            <ac:grpSpMk id="61" creationId="{90753E72-2AB6-E3AE-54DD-18F6D1465477}"/>
          </ac:grpSpMkLst>
        </pc:grpChg>
        <pc:grpChg chg="add del mod ord">
          <ac:chgData name="Nataliia Chornii (UA)" userId="4e4b8b3d-5f31-49bb-9f80-8a25c04abfff" providerId="ADAL" clId="{EE97D3FE-9ACA-4467-98E5-532EC45D9D1C}" dt="2024-03-01T09:09:16.257" v="7932" actId="165"/>
          <ac:grpSpMkLst>
            <pc:docMk/>
            <pc:sldMk cId="2333946943" sldId="924"/>
            <ac:grpSpMk id="62" creationId="{190E02FC-BDCE-2F28-80C0-C523985F502A}"/>
          </ac:grpSpMkLst>
        </pc:grpChg>
        <pc:grpChg chg="add del mod ord">
          <ac:chgData name="Nataliia Chornii (UA)" userId="4e4b8b3d-5f31-49bb-9f80-8a25c04abfff" providerId="ADAL" clId="{EE97D3FE-9ACA-4467-98E5-532EC45D9D1C}" dt="2024-03-04T09:58:36.807" v="20144" actId="478"/>
          <ac:grpSpMkLst>
            <pc:docMk/>
            <pc:sldMk cId="2333946943" sldId="924"/>
            <ac:grpSpMk id="70" creationId="{83669080-4BBD-9D92-7057-BD1D5C951086}"/>
          </ac:grpSpMkLst>
        </pc:grpChg>
        <pc:grpChg chg="add del mod ord">
          <ac:chgData name="Nataliia Chornii (UA)" userId="4e4b8b3d-5f31-49bb-9f80-8a25c04abfff" providerId="ADAL" clId="{EE97D3FE-9ACA-4467-98E5-532EC45D9D1C}" dt="2024-03-04T09:58:38.261" v="20145" actId="478"/>
          <ac:grpSpMkLst>
            <pc:docMk/>
            <pc:sldMk cId="2333946943" sldId="924"/>
            <ac:grpSpMk id="73" creationId="{0C702113-331F-4838-1EC1-E3ED0C81E4B7}"/>
          </ac:grpSpMkLst>
        </pc:grpChg>
        <pc:graphicFrameChg chg="add mod ord modVis replST">
          <ac:chgData name="Nataliia Chornii (UA)" userId="4e4b8b3d-5f31-49bb-9f80-8a25c04abfff" providerId="ADAL" clId="{EE97D3FE-9ACA-4467-98E5-532EC45D9D1C}" dt="2024-03-11T14:20:31.068" v="23953"/>
          <ac:graphicFrameMkLst>
            <pc:docMk/>
            <pc:sldMk cId="2333946943" sldId="924"/>
            <ac:graphicFrameMk id="13" creationId="{DC2DF85F-5191-4C4E-A171-D5D7BF03C769}"/>
          </ac:graphicFrameMkLst>
        </pc:graphicFrameChg>
        <pc:picChg chg="add mod ord modCrop">
          <ac:chgData name="Nataliia Chornii (UA)" userId="4e4b8b3d-5f31-49bb-9f80-8a25c04abfff" providerId="ADAL" clId="{EE97D3FE-9ACA-4467-98E5-532EC45D9D1C}" dt="2024-03-04T09:58:43.274" v="20168"/>
          <ac:picMkLst>
            <pc:docMk/>
            <pc:sldMk cId="2333946943" sldId="924"/>
            <ac:picMk id="64" creationId="{36D90A11-D58F-ADC1-FEA3-0420A9354C0F}"/>
          </ac:picMkLst>
        </pc:picChg>
      </pc:sldChg>
      <pc:sldChg chg="modSp add del mod">
        <pc:chgData name="Nataliia Chornii (UA)" userId="4e4b8b3d-5f31-49bb-9f80-8a25c04abfff" providerId="ADAL" clId="{EE97D3FE-9ACA-4467-98E5-532EC45D9D1C}" dt="2024-03-01T08:28:24.608" v="149" actId="47"/>
        <pc:sldMkLst>
          <pc:docMk/>
          <pc:sldMk cId="2657590379" sldId="925"/>
        </pc:sldMkLst>
        <pc:spChg chg="mod">
          <ac:chgData name="Nataliia Chornii (UA)" userId="4e4b8b3d-5f31-49bb-9f80-8a25c04abfff" providerId="ADAL" clId="{EE97D3FE-9ACA-4467-98E5-532EC45D9D1C}" dt="2024-03-01T08:27:18.630" v="1"/>
          <ac:spMkLst>
            <pc:docMk/>
            <pc:sldMk cId="2657590379" sldId="925"/>
            <ac:spMk id="12" creationId="{03235C0C-4E25-DCDB-7AAF-D34D32C9063E}"/>
          </ac:spMkLst>
        </pc:spChg>
        <pc:spChg chg="mod">
          <ac:chgData name="Nataliia Chornii (UA)" userId="4e4b8b3d-5f31-49bb-9f80-8a25c04abfff" providerId="ADAL" clId="{EE97D3FE-9ACA-4467-98E5-532EC45D9D1C}" dt="2024-03-01T08:27:54.314" v="85" actId="554"/>
          <ac:spMkLst>
            <pc:docMk/>
            <pc:sldMk cId="2657590379" sldId="925"/>
            <ac:spMk id="22" creationId="{1DD6BAA7-6B8B-B5D1-983C-47F7088D2D65}"/>
          </ac:spMkLst>
        </pc:spChg>
      </pc:sldChg>
      <pc:sldChg chg="addSp delSp modSp add mod">
        <pc:chgData name="Nataliia Chornii (UA)" userId="4e4b8b3d-5f31-49bb-9f80-8a25c04abfff" providerId="ADAL" clId="{EE97D3FE-9ACA-4467-98E5-532EC45D9D1C}" dt="2024-03-01T08:52:29.642" v="6894" actId="207"/>
        <pc:sldMkLst>
          <pc:docMk/>
          <pc:sldMk cId="4107124933" sldId="925"/>
        </pc:sldMkLst>
        <pc:spChg chg="mod ord">
          <ac:chgData name="Nataliia Chornii (UA)" userId="4e4b8b3d-5f31-49bb-9f80-8a25c04abfff" providerId="ADAL" clId="{EE97D3FE-9ACA-4467-98E5-532EC45D9D1C}" dt="2024-03-01T08:52:18.202" v="6707" actId="948"/>
          <ac:spMkLst>
            <pc:docMk/>
            <pc:sldMk cId="4107124933" sldId="925"/>
            <ac:spMk id="2" creationId="{00000000-0000-0000-0000-000000000000}"/>
          </ac:spMkLst>
        </pc:spChg>
        <pc:spChg chg="add del mod">
          <ac:chgData name="Nataliia Chornii (UA)" userId="4e4b8b3d-5f31-49bb-9f80-8a25c04abfff" providerId="ADAL" clId="{EE97D3FE-9ACA-4467-98E5-532EC45D9D1C}" dt="2024-03-01T08:42:42.153" v="268" actId="931"/>
          <ac:spMkLst>
            <pc:docMk/>
            <pc:sldMk cId="4107124933" sldId="925"/>
            <ac:spMk id="4" creationId="{88032EAD-8494-19AF-D316-E0ECE9EEFBF6}"/>
          </ac:spMkLst>
        </pc:spChg>
        <pc:spChg chg="mod ord">
          <ac:chgData name="Nataliia Chornii (UA)" userId="4e4b8b3d-5f31-49bb-9f80-8a25c04abfff" providerId="ADAL" clId="{EE97D3FE-9ACA-4467-98E5-532EC45D9D1C}" dt="2024-03-01T08:52:29.642" v="6894" actId="207"/>
          <ac:spMkLst>
            <pc:docMk/>
            <pc:sldMk cId="4107124933" sldId="925"/>
            <ac:spMk id="20" creationId="{DA4789A9-B8AF-52BF-5DEF-333466FE31C0}"/>
          </ac:spMkLst>
        </pc:spChg>
        <pc:spChg chg="mod ord">
          <ac:chgData name="Nataliia Chornii (UA)" userId="4e4b8b3d-5f31-49bb-9f80-8a25c04abfff" providerId="ADAL" clId="{EE97D3FE-9ACA-4467-98E5-532EC45D9D1C}" dt="2024-03-01T08:42:43.163" v="277"/>
          <ac:spMkLst>
            <pc:docMk/>
            <pc:sldMk cId="4107124933" sldId="925"/>
            <ac:spMk id="22" creationId="{DA09306E-3C26-7BF8-5FB5-F7E3D80F89C9}"/>
          </ac:spMkLst>
        </pc:spChg>
        <pc:spChg chg="mod ord">
          <ac:chgData name="Nataliia Chornii (UA)" userId="4e4b8b3d-5f31-49bb-9f80-8a25c04abfff" providerId="ADAL" clId="{EE97D3FE-9ACA-4467-98E5-532EC45D9D1C}" dt="2024-03-01T08:42:43.163" v="279"/>
          <ac:spMkLst>
            <pc:docMk/>
            <pc:sldMk cId="4107124933" sldId="925"/>
            <ac:spMk id="23" creationId="{B97F3C75-3AEC-3E9F-4D71-CA8C30F9835E}"/>
          </ac:spMkLst>
        </pc:spChg>
        <pc:spChg chg="mod ord">
          <ac:chgData name="Nataliia Chornii (UA)" userId="4e4b8b3d-5f31-49bb-9f80-8a25c04abfff" providerId="ADAL" clId="{EE97D3FE-9ACA-4467-98E5-532EC45D9D1C}" dt="2024-03-01T08:42:43.163" v="281"/>
          <ac:spMkLst>
            <pc:docMk/>
            <pc:sldMk cId="4107124933" sldId="925"/>
            <ac:spMk id="24" creationId="{E15793DA-AFC4-2E3B-FDAA-EF33B0365B71}"/>
          </ac:spMkLst>
        </pc:spChg>
        <pc:spChg chg="mod ord">
          <ac:chgData name="Nataliia Chornii (UA)" userId="4e4b8b3d-5f31-49bb-9f80-8a25c04abfff" providerId="ADAL" clId="{EE97D3FE-9ACA-4467-98E5-532EC45D9D1C}" dt="2024-03-01T08:42:43.170" v="283"/>
          <ac:spMkLst>
            <pc:docMk/>
            <pc:sldMk cId="4107124933" sldId="925"/>
            <ac:spMk id="25" creationId="{BFEDB8CC-ED47-80DF-F3C0-E0FEEBA29F85}"/>
          </ac:spMkLst>
        </pc:spChg>
        <pc:spChg chg="mod ord">
          <ac:chgData name="Nataliia Chornii (UA)" userId="4e4b8b3d-5f31-49bb-9f80-8a25c04abfff" providerId="ADAL" clId="{EE97D3FE-9ACA-4467-98E5-532EC45D9D1C}" dt="2024-03-01T08:42:43.173" v="285"/>
          <ac:spMkLst>
            <pc:docMk/>
            <pc:sldMk cId="4107124933" sldId="925"/>
            <ac:spMk id="26" creationId="{05E5DEE3-D3C2-1E81-B086-939B3E36E0E1}"/>
          </ac:spMkLst>
        </pc:spChg>
        <pc:graphicFrameChg chg="mod">
          <ac:chgData name="Nataliia Chornii (UA)" userId="4e4b8b3d-5f31-49bb-9f80-8a25c04abfff" providerId="ADAL" clId="{EE97D3FE-9ACA-4467-98E5-532EC45D9D1C}" dt="2024-03-01T08:52:18.423" v="6893"/>
          <ac:graphicFrameMkLst>
            <pc:docMk/>
            <pc:sldMk cId="4107124933" sldId="925"/>
            <ac:graphicFrameMk id="16" creationId="{8B5F8EBF-52CC-2EDB-41E8-3667D4E9C17E}"/>
          </ac:graphicFrameMkLst>
        </pc:graphicFrameChg>
        <pc:picChg chg="add mod ord">
          <ac:chgData name="Nataliia Chornii (UA)" userId="4e4b8b3d-5f31-49bb-9f80-8a25c04abfff" providerId="ADAL" clId="{EE97D3FE-9ACA-4467-98E5-532EC45D9D1C}" dt="2024-03-01T08:42:43.156" v="271"/>
          <ac:picMkLst>
            <pc:docMk/>
            <pc:sldMk cId="4107124933" sldId="925"/>
            <ac:picMk id="6" creationId="{DDDC1DA9-F0F8-4EDF-4943-D6FC81AF432D}"/>
          </ac:picMkLst>
        </pc:picChg>
        <pc:picChg chg="del mod ord">
          <ac:chgData name="Nataliia Chornii (UA)" userId="4e4b8b3d-5f31-49bb-9f80-8a25c04abfff" providerId="ADAL" clId="{EE97D3FE-9ACA-4467-98E5-532EC45D9D1C}" dt="2024-03-01T08:32:39.386" v="234" actId="478"/>
          <ac:picMkLst>
            <pc:docMk/>
            <pc:sldMk cId="4107124933" sldId="925"/>
            <ac:picMk id="18" creationId="{26D02910-881C-50EE-F448-D03745506520}"/>
          </ac:picMkLst>
        </pc:picChg>
      </pc:sldChg>
      <pc:sldChg chg="addSp delSp modSp add mod">
        <pc:chgData name="Nataliia Chornii (UA)" userId="4e4b8b3d-5f31-49bb-9f80-8a25c04abfff" providerId="ADAL" clId="{EE97D3FE-9ACA-4467-98E5-532EC45D9D1C}" dt="2024-03-01T09:12:50.512" v="8065"/>
        <pc:sldMkLst>
          <pc:docMk/>
          <pc:sldMk cId="76717427" sldId="926"/>
        </pc:sldMkLst>
        <pc:spChg chg="mod ord">
          <ac:chgData name="Nataliia Chornii (UA)" userId="4e4b8b3d-5f31-49bb-9f80-8a25c04abfff" providerId="ADAL" clId="{EE97D3FE-9ACA-4467-98E5-532EC45D9D1C}" dt="2024-03-01T09:12:50.500" v="8051"/>
          <ac:spMkLst>
            <pc:docMk/>
            <pc:sldMk cId="76717427" sldId="926"/>
            <ac:spMk id="2" creationId="{00000000-0000-0000-0000-000000000000}"/>
          </ac:spMkLst>
        </pc:spChg>
        <pc:spChg chg="add del mod modVis">
          <ac:chgData name="Nataliia Chornii (UA)" userId="4e4b8b3d-5f31-49bb-9f80-8a25c04abfff" providerId="ADAL" clId="{EE97D3FE-9ACA-4467-98E5-532EC45D9D1C}" dt="2024-03-01T09:12:40.722" v="8040"/>
          <ac:spMkLst>
            <pc:docMk/>
            <pc:sldMk cId="76717427" sldId="926"/>
            <ac:spMk id="3" creationId="{AC7F549D-316C-DA2D-264C-BA60CE706DA2}"/>
          </ac:spMkLst>
        </pc:spChg>
        <pc:spChg chg="add del mod">
          <ac:chgData name="Nataliia Chornii (UA)" userId="4e4b8b3d-5f31-49bb-9f80-8a25c04abfff" providerId="ADAL" clId="{EE97D3FE-9ACA-4467-98E5-532EC45D9D1C}" dt="2024-03-01T09:12:49.588" v="8044" actId="931"/>
          <ac:spMkLst>
            <pc:docMk/>
            <pc:sldMk cId="76717427" sldId="926"/>
            <ac:spMk id="5" creationId="{DF7E6CF0-77D4-87B5-CEEA-9280CD624CE8}"/>
          </ac:spMkLst>
        </pc:spChg>
        <pc:spChg chg="mod ord">
          <ac:chgData name="Nataliia Chornii (UA)" userId="4e4b8b3d-5f31-49bb-9f80-8a25c04abfff" providerId="ADAL" clId="{EE97D3FE-9ACA-4467-98E5-532EC45D9D1C}" dt="2024-03-01T09:12:50.500" v="8049"/>
          <ac:spMkLst>
            <pc:docMk/>
            <pc:sldMk cId="76717427" sldId="926"/>
            <ac:spMk id="20" creationId="{DA4789A9-B8AF-52BF-5DEF-333466FE31C0}"/>
          </ac:spMkLst>
        </pc:spChg>
        <pc:spChg chg="mod ord">
          <ac:chgData name="Nataliia Chornii (UA)" userId="4e4b8b3d-5f31-49bb-9f80-8a25c04abfff" providerId="ADAL" clId="{EE97D3FE-9ACA-4467-98E5-532EC45D9D1C}" dt="2024-03-01T09:12:50.500" v="8053"/>
          <ac:spMkLst>
            <pc:docMk/>
            <pc:sldMk cId="76717427" sldId="926"/>
            <ac:spMk id="22" creationId="{DA09306E-3C26-7BF8-5FB5-F7E3D80F89C9}"/>
          </ac:spMkLst>
        </pc:spChg>
        <pc:spChg chg="mod ord">
          <ac:chgData name="Nataliia Chornii (UA)" userId="4e4b8b3d-5f31-49bb-9f80-8a25c04abfff" providerId="ADAL" clId="{EE97D3FE-9ACA-4467-98E5-532EC45D9D1C}" dt="2024-03-01T09:12:50.500" v="8055"/>
          <ac:spMkLst>
            <pc:docMk/>
            <pc:sldMk cId="76717427" sldId="926"/>
            <ac:spMk id="23" creationId="{B97F3C75-3AEC-3E9F-4D71-CA8C30F9835E}"/>
          </ac:spMkLst>
        </pc:spChg>
        <pc:spChg chg="mod ord">
          <ac:chgData name="Nataliia Chornii (UA)" userId="4e4b8b3d-5f31-49bb-9f80-8a25c04abfff" providerId="ADAL" clId="{EE97D3FE-9ACA-4467-98E5-532EC45D9D1C}" dt="2024-03-01T09:12:50.500" v="8057"/>
          <ac:spMkLst>
            <pc:docMk/>
            <pc:sldMk cId="76717427" sldId="926"/>
            <ac:spMk id="24" creationId="{E15793DA-AFC4-2E3B-FDAA-EF33B0365B71}"/>
          </ac:spMkLst>
        </pc:spChg>
        <pc:spChg chg="mod ord">
          <ac:chgData name="Nataliia Chornii (UA)" userId="4e4b8b3d-5f31-49bb-9f80-8a25c04abfff" providerId="ADAL" clId="{EE97D3FE-9ACA-4467-98E5-532EC45D9D1C}" dt="2024-03-01T09:12:50.507" v="8059"/>
          <ac:spMkLst>
            <pc:docMk/>
            <pc:sldMk cId="76717427" sldId="926"/>
            <ac:spMk id="25" creationId="{BFEDB8CC-ED47-80DF-F3C0-E0FEEBA29F85}"/>
          </ac:spMkLst>
        </pc:spChg>
        <pc:spChg chg="mod ord">
          <ac:chgData name="Nataliia Chornii (UA)" userId="4e4b8b3d-5f31-49bb-9f80-8a25c04abfff" providerId="ADAL" clId="{EE97D3FE-9ACA-4467-98E5-532EC45D9D1C}" dt="2024-03-01T09:12:50.508" v="8061"/>
          <ac:spMkLst>
            <pc:docMk/>
            <pc:sldMk cId="76717427" sldId="926"/>
            <ac:spMk id="26" creationId="{05E5DEE3-D3C2-1E81-B086-939B3E36E0E1}"/>
          </ac:spMkLst>
        </pc:spChg>
        <pc:graphicFrameChg chg="mod">
          <ac:chgData name="Nataliia Chornii (UA)" userId="4e4b8b3d-5f31-49bb-9f80-8a25c04abfff" providerId="ADAL" clId="{EE97D3FE-9ACA-4467-98E5-532EC45D9D1C}" dt="2024-03-01T09:12:50.512" v="8065"/>
          <ac:graphicFrameMkLst>
            <pc:docMk/>
            <pc:sldMk cId="76717427" sldId="926"/>
            <ac:graphicFrameMk id="16" creationId="{8B5F8EBF-52CC-2EDB-41E8-3667D4E9C17E}"/>
          </ac:graphicFrameMkLst>
        </pc:graphicFrameChg>
        <pc:picChg chg="del">
          <ac:chgData name="Nataliia Chornii (UA)" userId="4e4b8b3d-5f31-49bb-9f80-8a25c04abfff" providerId="ADAL" clId="{EE97D3FE-9ACA-4467-98E5-532EC45D9D1C}" dt="2024-03-01T09:12:42.157" v="8043" actId="478"/>
          <ac:picMkLst>
            <pc:docMk/>
            <pc:sldMk cId="76717427" sldId="926"/>
            <ac:picMk id="6" creationId="{DDDC1DA9-F0F8-4EDF-4943-D6FC81AF432D}"/>
          </ac:picMkLst>
        </pc:picChg>
        <pc:picChg chg="add mod ord">
          <ac:chgData name="Nataliia Chornii (UA)" userId="4e4b8b3d-5f31-49bb-9f80-8a25c04abfff" providerId="ADAL" clId="{EE97D3FE-9ACA-4467-98E5-532EC45D9D1C}" dt="2024-03-01T09:12:50.500" v="8047"/>
          <ac:picMkLst>
            <pc:docMk/>
            <pc:sldMk cId="76717427" sldId="926"/>
            <ac:picMk id="8" creationId="{C12A4605-BDCD-3C9E-973D-5EC378636C7E}"/>
          </ac:picMkLst>
        </pc:picChg>
      </pc:sldChg>
      <pc:sldChg chg="add del">
        <pc:chgData name="Nataliia Chornii (UA)" userId="4e4b8b3d-5f31-49bb-9f80-8a25c04abfff" providerId="ADAL" clId="{EE97D3FE-9ACA-4467-98E5-532EC45D9D1C}" dt="2024-03-01T09:22:29.560" v="8284" actId="2696"/>
        <pc:sldMkLst>
          <pc:docMk/>
          <pc:sldMk cId="1826375005" sldId="927"/>
        </pc:sldMkLst>
      </pc:sldChg>
      <pc:sldChg chg="addSp delSp modSp add mod">
        <pc:chgData name="Nataliia Chornii (UA)" userId="4e4b8b3d-5f31-49bb-9f80-8a25c04abfff" providerId="ADAL" clId="{EE97D3FE-9ACA-4467-98E5-532EC45D9D1C}" dt="2024-03-01T09:51:17.623" v="9250"/>
        <pc:sldMkLst>
          <pc:docMk/>
          <pc:sldMk cId="4266541344" sldId="927"/>
        </pc:sldMkLst>
        <pc:spChg chg="mod ord">
          <ac:chgData name="Nataliia Chornii (UA)" userId="4e4b8b3d-5f31-49bb-9f80-8a25c04abfff" providerId="ADAL" clId="{EE97D3FE-9ACA-4467-98E5-532EC45D9D1C}" dt="2024-03-01T09:51:17.606" v="9236"/>
          <ac:spMkLst>
            <pc:docMk/>
            <pc:sldMk cId="4266541344" sldId="927"/>
            <ac:spMk id="2" creationId="{00000000-0000-0000-0000-000000000000}"/>
          </ac:spMkLst>
        </pc:spChg>
        <pc:spChg chg="add del mod modVis">
          <ac:chgData name="Nataliia Chornii (UA)" userId="4e4b8b3d-5f31-49bb-9f80-8a25c04abfff" providerId="ADAL" clId="{EE97D3FE-9ACA-4467-98E5-532EC45D9D1C}" dt="2024-03-01T09:51:02.437" v="9197"/>
          <ac:spMkLst>
            <pc:docMk/>
            <pc:sldMk cId="4266541344" sldId="927"/>
            <ac:spMk id="3" creationId="{DE9FCFB9-47E5-5F6F-EA3B-0441FC07D6A0}"/>
          </ac:spMkLst>
        </pc:spChg>
        <pc:spChg chg="add del mod modVis">
          <ac:chgData name="Nataliia Chornii (UA)" userId="4e4b8b3d-5f31-49bb-9f80-8a25c04abfff" providerId="ADAL" clId="{EE97D3FE-9ACA-4467-98E5-532EC45D9D1C}" dt="2024-03-01T09:51:04.583" v="9224"/>
          <ac:spMkLst>
            <pc:docMk/>
            <pc:sldMk cId="4266541344" sldId="927"/>
            <ac:spMk id="4" creationId="{2DFA5E78-F2B1-1024-DE7C-606017E05D0D}"/>
          </ac:spMkLst>
        </pc:spChg>
        <pc:spChg chg="add del mod">
          <ac:chgData name="Nataliia Chornii (UA)" userId="4e4b8b3d-5f31-49bb-9f80-8a25c04abfff" providerId="ADAL" clId="{EE97D3FE-9ACA-4467-98E5-532EC45D9D1C}" dt="2024-03-01T09:51:16.502" v="9229" actId="931"/>
          <ac:spMkLst>
            <pc:docMk/>
            <pc:sldMk cId="4266541344" sldId="927"/>
            <ac:spMk id="7" creationId="{299C233A-1408-25FB-1039-4F5D3A23FEC6}"/>
          </ac:spMkLst>
        </pc:spChg>
        <pc:spChg chg="mod ord">
          <ac:chgData name="Nataliia Chornii (UA)" userId="4e4b8b3d-5f31-49bb-9f80-8a25c04abfff" providerId="ADAL" clId="{EE97D3FE-9ACA-4467-98E5-532EC45D9D1C}" dt="2024-03-01T09:51:17.606" v="9234"/>
          <ac:spMkLst>
            <pc:docMk/>
            <pc:sldMk cId="4266541344" sldId="927"/>
            <ac:spMk id="20" creationId="{DA4789A9-B8AF-52BF-5DEF-333466FE31C0}"/>
          </ac:spMkLst>
        </pc:spChg>
        <pc:spChg chg="mod ord">
          <ac:chgData name="Nataliia Chornii (UA)" userId="4e4b8b3d-5f31-49bb-9f80-8a25c04abfff" providerId="ADAL" clId="{EE97D3FE-9ACA-4467-98E5-532EC45D9D1C}" dt="2024-03-01T09:51:17.606" v="9238"/>
          <ac:spMkLst>
            <pc:docMk/>
            <pc:sldMk cId="4266541344" sldId="927"/>
            <ac:spMk id="22" creationId="{DA09306E-3C26-7BF8-5FB5-F7E3D80F89C9}"/>
          </ac:spMkLst>
        </pc:spChg>
        <pc:spChg chg="mod ord">
          <ac:chgData name="Nataliia Chornii (UA)" userId="4e4b8b3d-5f31-49bb-9f80-8a25c04abfff" providerId="ADAL" clId="{EE97D3FE-9ACA-4467-98E5-532EC45D9D1C}" dt="2024-03-01T09:51:17.606" v="9240"/>
          <ac:spMkLst>
            <pc:docMk/>
            <pc:sldMk cId="4266541344" sldId="927"/>
            <ac:spMk id="23" creationId="{B97F3C75-3AEC-3E9F-4D71-CA8C30F9835E}"/>
          </ac:spMkLst>
        </pc:spChg>
        <pc:spChg chg="mod ord">
          <ac:chgData name="Nataliia Chornii (UA)" userId="4e4b8b3d-5f31-49bb-9f80-8a25c04abfff" providerId="ADAL" clId="{EE97D3FE-9ACA-4467-98E5-532EC45D9D1C}" dt="2024-03-01T09:51:17.622" v="9242"/>
          <ac:spMkLst>
            <pc:docMk/>
            <pc:sldMk cId="4266541344" sldId="927"/>
            <ac:spMk id="24" creationId="{E15793DA-AFC4-2E3B-FDAA-EF33B0365B71}"/>
          </ac:spMkLst>
        </pc:spChg>
        <pc:spChg chg="mod ord">
          <ac:chgData name="Nataliia Chornii (UA)" userId="4e4b8b3d-5f31-49bb-9f80-8a25c04abfff" providerId="ADAL" clId="{EE97D3FE-9ACA-4467-98E5-532EC45D9D1C}" dt="2024-03-01T09:51:17.623" v="9244"/>
          <ac:spMkLst>
            <pc:docMk/>
            <pc:sldMk cId="4266541344" sldId="927"/>
            <ac:spMk id="25" creationId="{BFEDB8CC-ED47-80DF-F3C0-E0FEEBA29F85}"/>
          </ac:spMkLst>
        </pc:spChg>
        <pc:spChg chg="mod ord">
          <ac:chgData name="Nataliia Chornii (UA)" userId="4e4b8b3d-5f31-49bb-9f80-8a25c04abfff" providerId="ADAL" clId="{EE97D3FE-9ACA-4467-98E5-532EC45D9D1C}" dt="2024-03-01T09:51:17.623" v="9246"/>
          <ac:spMkLst>
            <pc:docMk/>
            <pc:sldMk cId="4266541344" sldId="927"/>
            <ac:spMk id="26" creationId="{05E5DEE3-D3C2-1E81-B086-939B3E36E0E1}"/>
          </ac:spMkLst>
        </pc:spChg>
        <pc:graphicFrameChg chg="mod">
          <ac:chgData name="Nataliia Chornii (UA)" userId="4e4b8b3d-5f31-49bb-9f80-8a25c04abfff" providerId="ADAL" clId="{EE97D3FE-9ACA-4467-98E5-532EC45D9D1C}" dt="2024-03-01T09:51:17.623" v="9250"/>
          <ac:graphicFrameMkLst>
            <pc:docMk/>
            <pc:sldMk cId="4266541344" sldId="927"/>
            <ac:graphicFrameMk id="16" creationId="{8B5F8EBF-52CC-2EDB-41E8-3667D4E9C17E}"/>
          </ac:graphicFrameMkLst>
        </pc:graphicFrameChg>
        <pc:picChg chg="del">
          <ac:chgData name="Nataliia Chornii (UA)" userId="4e4b8b3d-5f31-49bb-9f80-8a25c04abfff" providerId="ADAL" clId="{EE97D3FE-9ACA-4467-98E5-532EC45D9D1C}" dt="2024-03-01T09:51:08.728" v="9228" actId="478"/>
          <ac:picMkLst>
            <pc:docMk/>
            <pc:sldMk cId="4266541344" sldId="927"/>
            <ac:picMk id="6" creationId="{DDDC1DA9-F0F8-4EDF-4943-D6FC81AF432D}"/>
          </ac:picMkLst>
        </pc:picChg>
        <pc:picChg chg="add mod ord">
          <ac:chgData name="Nataliia Chornii (UA)" userId="4e4b8b3d-5f31-49bb-9f80-8a25c04abfff" providerId="ADAL" clId="{EE97D3FE-9ACA-4467-98E5-532EC45D9D1C}" dt="2024-03-01T09:51:17.606" v="9232"/>
          <ac:picMkLst>
            <pc:docMk/>
            <pc:sldMk cId="4266541344" sldId="927"/>
            <ac:picMk id="9" creationId="{A46ED85B-107A-74E8-BADB-2F92835F9215}"/>
          </ac:picMkLst>
        </pc:picChg>
      </pc:sldChg>
      <pc:sldChg chg="addSp delSp modSp add mod">
        <pc:chgData name="Nataliia Chornii (UA)" userId="4e4b8b3d-5f31-49bb-9f80-8a25c04abfff" providerId="ADAL" clId="{EE97D3FE-9ACA-4467-98E5-532EC45D9D1C}" dt="2024-03-01T14:34:07.745" v="15150"/>
        <pc:sldMkLst>
          <pc:docMk/>
          <pc:sldMk cId="2463822678" sldId="928"/>
        </pc:sldMkLst>
        <pc:spChg chg="mod ord">
          <ac:chgData name="Nataliia Chornii (UA)" userId="4e4b8b3d-5f31-49bb-9f80-8a25c04abfff" providerId="ADAL" clId="{EE97D3FE-9ACA-4467-98E5-532EC45D9D1C}" dt="2024-03-01T14:34:07.729" v="15134"/>
          <ac:spMkLst>
            <pc:docMk/>
            <pc:sldMk cId="2463822678" sldId="928"/>
            <ac:spMk id="2" creationId="{00000000-0000-0000-0000-000000000000}"/>
          </ac:spMkLst>
        </pc:spChg>
        <pc:spChg chg="add del mod modVis">
          <ac:chgData name="Nataliia Chornii (UA)" userId="4e4b8b3d-5f31-49bb-9f80-8a25c04abfff" providerId="ADAL" clId="{EE97D3FE-9ACA-4467-98E5-532EC45D9D1C}" dt="2024-03-01T10:38:58.794" v="10338"/>
          <ac:spMkLst>
            <pc:docMk/>
            <pc:sldMk cId="2463822678" sldId="928"/>
            <ac:spMk id="3" creationId="{F5D100C9-36CA-1A11-E37D-01F708B83121}"/>
          </ac:spMkLst>
        </pc:spChg>
        <pc:spChg chg="add del mod">
          <ac:chgData name="Nataliia Chornii (UA)" userId="4e4b8b3d-5f31-49bb-9f80-8a25c04abfff" providerId="ADAL" clId="{EE97D3FE-9ACA-4467-98E5-532EC45D9D1C}" dt="2024-03-01T14:33:49.962" v="15071" actId="931"/>
          <ac:spMkLst>
            <pc:docMk/>
            <pc:sldMk cId="2463822678" sldId="928"/>
            <ac:spMk id="5" creationId="{6648707C-80CD-780E-D197-F56BE431FFF5}"/>
          </ac:spMkLst>
        </pc:spChg>
        <pc:spChg chg="add del mod modVis">
          <ac:chgData name="Nataliia Chornii (UA)" userId="4e4b8b3d-5f31-49bb-9f80-8a25c04abfff" providerId="ADAL" clId="{EE97D3FE-9ACA-4467-98E5-532EC45D9D1C}" dt="2024-03-01T10:39:06.256" v="10367"/>
          <ac:spMkLst>
            <pc:docMk/>
            <pc:sldMk cId="2463822678" sldId="928"/>
            <ac:spMk id="6" creationId="{15428645-5E4A-A568-CA86-B312C4FE3AA6}"/>
          </ac:spMkLst>
        </pc:spChg>
        <pc:spChg chg="add del mod">
          <ac:chgData name="Nataliia Chornii (UA)" userId="4e4b8b3d-5f31-49bb-9f80-8a25c04abfff" providerId="ADAL" clId="{EE97D3FE-9ACA-4467-98E5-532EC45D9D1C}" dt="2024-03-01T14:34:06.776" v="15108" actId="931"/>
          <ac:spMkLst>
            <pc:docMk/>
            <pc:sldMk cId="2463822678" sldId="928"/>
            <ac:spMk id="11" creationId="{B1D6313D-5B07-DAD3-BEDD-A36033137E23}"/>
          </ac:spMkLst>
        </pc:spChg>
        <pc:spChg chg="add del mod modVis">
          <ac:chgData name="Nataliia Chornii (UA)" userId="4e4b8b3d-5f31-49bb-9f80-8a25c04abfff" providerId="ADAL" clId="{EE97D3FE-9ACA-4467-98E5-532EC45D9D1C}" dt="2024-03-01T14:34:07.729" v="15148"/>
          <ac:spMkLst>
            <pc:docMk/>
            <pc:sldMk cId="2463822678" sldId="928"/>
            <ac:spMk id="14" creationId="{2F9083C5-9DBC-ACF9-B9E8-1D98548B4265}"/>
          </ac:spMkLst>
        </pc:spChg>
        <pc:spChg chg="mod ord">
          <ac:chgData name="Nataliia Chornii (UA)" userId="4e4b8b3d-5f31-49bb-9f80-8a25c04abfff" providerId="ADAL" clId="{EE97D3FE-9ACA-4467-98E5-532EC45D9D1C}" dt="2024-03-01T14:34:07.729" v="15132"/>
          <ac:spMkLst>
            <pc:docMk/>
            <pc:sldMk cId="2463822678" sldId="928"/>
            <ac:spMk id="20" creationId="{DA4789A9-B8AF-52BF-5DEF-333466FE31C0}"/>
          </ac:spMkLst>
        </pc:spChg>
        <pc:spChg chg="mod ord">
          <ac:chgData name="Nataliia Chornii (UA)" userId="4e4b8b3d-5f31-49bb-9f80-8a25c04abfff" providerId="ADAL" clId="{EE97D3FE-9ACA-4467-98E5-532EC45D9D1C}" dt="2024-03-01T14:34:07.729" v="15136"/>
          <ac:spMkLst>
            <pc:docMk/>
            <pc:sldMk cId="2463822678" sldId="928"/>
            <ac:spMk id="22" creationId="{DA09306E-3C26-7BF8-5FB5-F7E3D80F89C9}"/>
          </ac:spMkLst>
        </pc:spChg>
        <pc:spChg chg="mod ord">
          <ac:chgData name="Nataliia Chornii (UA)" userId="4e4b8b3d-5f31-49bb-9f80-8a25c04abfff" providerId="ADAL" clId="{EE97D3FE-9ACA-4467-98E5-532EC45D9D1C}" dt="2024-03-01T14:34:07.729" v="15138"/>
          <ac:spMkLst>
            <pc:docMk/>
            <pc:sldMk cId="2463822678" sldId="928"/>
            <ac:spMk id="23" creationId="{B97F3C75-3AEC-3E9F-4D71-CA8C30F9835E}"/>
          </ac:spMkLst>
        </pc:spChg>
        <pc:spChg chg="mod ord">
          <ac:chgData name="Nataliia Chornii (UA)" userId="4e4b8b3d-5f31-49bb-9f80-8a25c04abfff" providerId="ADAL" clId="{EE97D3FE-9ACA-4467-98E5-532EC45D9D1C}" dt="2024-03-01T14:34:07.729" v="15140"/>
          <ac:spMkLst>
            <pc:docMk/>
            <pc:sldMk cId="2463822678" sldId="928"/>
            <ac:spMk id="24" creationId="{E15793DA-AFC4-2E3B-FDAA-EF33B0365B71}"/>
          </ac:spMkLst>
        </pc:spChg>
        <pc:spChg chg="mod ord">
          <ac:chgData name="Nataliia Chornii (UA)" userId="4e4b8b3d-5f31-49bb-9f80-8a25c04abfff" providerId="ADAL" clId="{EE97D3FE-9ACA-4467-98E5-532EC45D9D1C}" dt="2024-03-01T14:34:07.729" v="15142"/>
          <ac:spMkLst>
            <pc:docMk/>
            <pc:sldMk cId="2463822678" sldId="928"/>
            <ac:spMk id="25" creationId="{BFEDB8CC-ED47-80DF-F3C0-E0FEEBA29F85}"/>
          </ac:spMkLst>
        </pc:spChg>
        <pc:spChg chg="mod ord">
          <ac:chgData name="Nataliia Chornii (UA)" userId="4e4b8b3d-5f31-49bb-9f80-8a25c04abfff" providerId="ADAL" clId="{EE97D3FE-9ACA-4467-98E5-532EC45D9D1C}" dt="2024-03-01T14:34:07.729" v="15144"/>
          <ac:spMkLst>
            <pc:docMk/>
            <pc:sldMk cId="2463822678" sldId="928"/>
            <ac:spMk id="26" creationId="{05E5DEE3-D3C2-1E81-B086-939B3E36E0E1}"/>
          </ac:spMkLst>
        </pc:spChg>
        <pc:graphicFrameChg chg="mod">
          <ac:chgData name="Nataliia Chornii (UA)" userId="4e4b8b3d-5f31-49bb-9f80-8a25c04abfff" providerId="ADAL" clId="{EE97D3FE-9ACA-4467-98E5-532EC45D9D1C}" dt="2024-03-01T14:34:07.745" v="15150"/>
          <ac:graphicFrameMkLst>
            <pc:docMk/>
            <pc:sldMk cId="2463822678" sldId="928"/>
            <ac:graphicFrameMk id="16" creationId="{8B5F8EBF-52CC-2EDB-41E8-3667D4E9C17E}"/>
          </ac:graphicFrameMkLst>
        </pc:graphicFrameChg>
        <pc:picChg chg="del">
          <ac:chgData name="Nataliia Chornii (UA)" userId="4e4b8b3d-5f31-49bb-9f80-8a25c04abfff" providerId="ADAL" clId="{EE97D3FE-9ACA-4467-98E5-532EC45D9D1C}" dt="2024-03-01T10:39:01.915" v="10342" actId="478"/>
          <ac:picMkLst>
            <pc:docMk/>
            <pc:sldMk cId="2463822678" sldId="928"/>
            <ac:picMk id="8" creationId="{C12A4605-BDCD-3C9E-973D-5EC378636C7E}"/>
          </ac:picMkLst>
        </pc:picChg>
        <pc:picChg chg="add del mod ord">
          <ac:chgData name="Nataliia Chornii (UA)" userId="4e4b8b3d-5f31-49bb-9f80-8a25c04abfff" providerId="ADAL" clId="{EE97D3FE-9ACA-4467-98E5-532EC45D9D1C}" dt="2024-03-01T14:33:56.717" v="15107" actId="478"/>
          <ac:picMkLst>
            <pc:docMk/>
            <pc:sldMk cId="2463822678" sldId="928"/>
            <ac:picMk id="9" creationId="{E4A932EE-B756-A12C-2C2D-99EE0602E5E1}"/>
          </ac:picMkLst>
        </pc:picChg>
        <pc:picChg chg="add mod ord">
          <ac:chgData name="Nataliia Chornii (UA)" userId="4e4b8b3d-5f31-49bb-9f80-8a25c04abfff" providerId="ADAL" clId="{EE97D3FE-9ACA-4467-98E5-532EC45D9D1C}" dt="2024-03-01T14:34:07.729" v="15130"/>
          <ac:picMkLst>
            <pc:docMk/>
            <pc:sldMk cId="2463822678" sldId="928"/>
            <ac:picMk id="13" creationId="{E7EEA787-A341-92D1-60ED-BDC23F0EF401}"/>
          </ac:picMkLst>
        </pc:picChg>
      </pc:sldChg>
      <pc:sldChg chg="modSp add del mod">
        <pc:chgData name="Nataliia Chornii (UA)" userId="4e4b8b3d-5f31-49bb-9f80-8a25c04abfff" providerId="ADAL" clId="{EE97D3FE-9ACA-4467-98E5-532EC45D9D1C}" dt="2024-03-01T10:20:33.915" v="9671" actId="47"/>
        <pc:sldMkLst>
          <pc:docMk/>
          <pc:sldMk cId="3646958141" sldId="928"/>
        </pc:sldMkLst>
        <pc:spChg chg="mod">
          <ac:chgData name="Nataliia Chornii (UA)" userId="4e4b8b3d-5f31-49bb-9f80-8a25c04abfff" providerId="ADAL" clId="{EE97D3FE-9ACA-4467-98E5-532EC45D9D1C}" dt="2024-03-01T10:20:12.131" v="9667" actId="1076"/>
          <ac:spMkLst>
            <pc:docMk/>
            <pc:sldMk cId="3646958141" sldId="928"/>
            <ac:spMk id="9" creationId="{A2B233A5-ED06-3246-BD46-B7B39150B709}"/>
          </ac:spMkLst>
        </pc:spChg>
        <pc:spChg chg="mod">
          <ac:chgData name="Nataliia Chornii (UA)" userId="4e4b8b3d-5f31-49bb-9f80-8a25c04abfff" providerId="ADAL" clId="{EE97D3FE-9ACA-4467-98E5-532EC45D9D1C}" dt="2024-03-01T10:20:16.548" v="9668" actId="1076"/>
          <ac:spMkLst>
            <pc:docMk/>
            <pc:sldMk cId="3646958141" sldId="928"/>
            <ac:spMk id="10" creationId="{C3DFDFF4-18D2-A047-B0B2-4C063F2C571A}"/>
          </ac:spMkLst>
        </pc:spChg>
        <pc:spChg chg="mod">
          <ac:chgData name="Nataliia Chornii (UA)" userId="4e4b8b3d-5f31-49bb-9f80-8a25c04abfff" providerId="ADAL" clId="{EE97D3FE-9ACA-4467-98E5-532EC45D9D1C}" dt="2024-03-01T10:20:12.131" v="9667" actId="1076"/>
          <ac:spMkLst>
            <pc:docMk/>
            <pc:sldMk cId="3646958141" sldId="928"/>
            <ac:spMk id="11" creationId="{ABB70BD2-60C1-064D-95BB-38DE736A1572}"/>
          </ac:spMkLst>
        </pc:spChg>
        <pc:spChg chg="mod">
          <ac:chgData name="Nataliia Chornii (UA)" userId="4e4b8b3d-5f31-49bb-9f80-8a25c04abfff" providerId="ADAL" clId="{EE97D3FE-9ACA-4467-98E5-532EC45D9D1C}" dt="2024-03-01T10:20:22.385" v="9669" actId="1076"/>
          <ac:spMkLst>
            <pc:docMk/>
            <pc:sldMk cId="3646958141" sldId="928"/>
            <ac:spMk id="12" creationId="{90E04B7C-9E41-4641-A5D6-FF34530482E0}"/>
          </ac:spMkLst>
        </pc:spChg>
        <pc:spChg chg="mod">
          <ac:chgData name="Nataliia Chornii (UA)" userId="4e4b8b3d-5f31-49bb-9f80-8a25c04abfff" providerId="ADAL" clId="{EE97D3FE-9ACA-4467-98E5-532EC45D9D1C}" dt="2024-03-01T10:20:22.385" v="9669" actId="1076"/>
          <ac:spMkLst>
            <pc:docMk/>
            <pc:sldMk cId="3646958141" sldId="928"/>
            <ac:spMk id="13" creationId="{FFA0AA22-B08B-7F4A-B365-587EEE2D842D}"/>
          </ac:spMkLst>
        </pc:spChg>
        <pc:spChg chg="mod">
          <ac:chgData name="Nataliia Chornii (UA)" userId="4e4b8b3d-5f31-49bb-9f80-8a25c04abfff" providerId="ADAL" clId="{EE97D3FE-9ACA-4467-98E5-532EC45D9D1C}" dt="2024-03-01T10:20:22.385" v="9669" actId="1076"/>
          <ac:spMkLst>
            <pc:docMk/>
            <pc:sldMk cId="3646958141" sldId="928"/>
            <ac:spMk id="15" creationId="{817192BF-33DA-6E42-944F-7B2F09E52C43}"/>
          </ac:spMkLst>
        </pc:spChg>
        <pc:spChg chg="mod">
          <ac:chgData name="Nataliia Chornii (UA)" userId="4e4b8b3d-5f31-49bb-9f80-8a25c04abfff" providerId="ADAL" clId="{EE97D3FE-9ACA-4467-98E5-532EC45D9D1C}" dt="2024-03-01T10:20:16.548" v="9668" actId="1076"/>
          <ac:spMkLst>
            <pc:docMk/>
            <pc:sldMk cId="3646958141" sldId="928"/>
            <ac:spMk id="16" creationId="{2AA0056B-1B3F-9647-9399-DD6B5207FA3B}"/>
          </ac:spMkLst>
        </pc:spChg>
        <pc:spChg chg="mod">
          <ac:chgData name="Nataliia Chornii (UA)" userId="4e4b8b3d-5f31-49bb-9f80-8a25c04abfff" providerId="ADAL" clId="{EE97D3FE-9ACA-4467-98E5-532EC45D9D1C}" dt="2024-03-01T10:20:16.548" v="9668" actId="1076"/>
          <ac:spMkLst>
            <pc:docMk/>
            <pc:sldMk cId="3646958141" sldId="928"/>
            <ac:spMk id="17" creationId="{C1683A97-5B75-9940-AD67-614A9DFD6627}"/>
          </ac:spMkLst>
        </pc:spChg>
        <pc:spChg chg="mod">
          <ac:chgData name="Nataliia Chornii (UA)" userId="4e4b8b3d-5f31-49bb-9f80-8a25c04abfff" providerId="ADAL" clId="{EE97D3FE-9ACA-4467-98E5-532EC45D9D1C}" dt="2024-03-01T10:20:16.548" v="9668" actId="1076"/>
          <ac:spMkLst>
            <pc:docMk/>
            <pc:sldMk cId="3646958141" sldId="928"/>
            <ac:spMk id="18" creationId="{E4C5F8F0-E4BD-274A-8190-28583D21E512}"/>
          </ac:spMkLst>
        </pc:spChg>
        <pc:spChg chg="mod">
          <ac:chgData name="Nataliia Chornii (UA)" userId="4e4b8b3d-5f31-49bb-9f80-8a25c04abfff" providerId="ADAL" clId="{EE97D3FE-9ACA-4467-98E5-532EC45D9D1C}" dt="2024-03-01T10:20:12.131" v="9667" actId="1076"/>
          <ac:spMkLst>
            <pc:docMk/>
            <pc:sldMk cId="3646958141" sldId="928"/>
            <ac:spMk id="23" creationId="{1DFA226E-CAF3-2D42-AC96-11A51BD07541}"/>
          </ac:spMkLst>
        </pc:spChg>
        <pc:spChg chg="mod">
          <ac:chgData name="Nataliia Chornii (UA)" userId="4e4b8b3d-5f31-49bb-9f80-8a25c04abfff" providerId="ADAL" clId="{EE97D3FE-9ACA-4467-98E5-532EC45D9D1C}" dt="2024-03-01T10:20:12.131" v="9667" actId="1076"/>
          <ac:spMkLst>
            <pc:docMk/>
            <pc:sldMk cId="3646958141" sldId="928"/>
            <ac:spMk id="24" creationId="{10B15265-346F-0349-AF94-74C872CA65DD}"/>
          </ac:spMkLst>
        </pc:spChg>
        <pc:spChg chg="mod">
          <ac:chgData name="Nataliia Chornii (UA)" userId="4e4b8b3d-5f31-49bb-9f80-8a25c04abfff" providerId="ADAL" clId="{EE97D3FE-9ACA-4467-98E5-532EC45D9D1C}" dt="2024-03-01T10:20:12.131" v="9667" actId="1076"/>
          <ac:spMkLst>
            <pc:docMk/>
            <pc:sldMk cId="3646958141" sldId="928"/>
            <ac:spMk id="25" creationId="{73F30B4C-A440-674A-9472-8F1EB39DA9F2}"/>
          </ac:spMkLst>
        </pc:spChg>
        <pc:spChg chg="mod">
          <ac:chgData name="Nataliia Chornii (UA)" userId="4e4b8b3d-5f31-49bb-9f80-8a25c04abfff" providerId="ADAL" clId="{EE97D3FE-9ACA-4467-98E5-532EC45D9D1C}" dt="2024-03-01T10:20:12.131" v="9667" actId="1076"/>
          <ac:spMkLst>
            <pc:docMk/>
            <pc:sldMk cId="3646958141" sldId="928"/>
            <ac:spMk id="26" creationId="{8B070493-BB90-AA4F-AE2F-427F4E058BD7}"/>
          </ac:spMkLst>
        </pc:spChg>
        <pc:spChg chg="mod">
          <ac:chgData name="Nataliia Chornii (UA)" userId="4e4b8b3d-5f31-49bb-9f80-8a25c04abfff" providerId="ADAL" clId="{EE97D3FE-9ACA-4467-98E5-532EC45D9D1C}" dt="2024-03-01T10:20:16.548" v="9668" actId="1076"/>
          <ac:spMkLst>
            <pc:docMk/>
            <pc:sldMk cId="3646958141" sldId="928"/>
            <ac:spMk id="80" creationId="{33F3258F-AFEA-7716-88A9-DEF866DBB873}"/>
          </ac:spMkLst>
        </pc:spChg>
        <pc:spChg chg="mod">
          <ac:chgData name="Nataliia Chornii (UA)" userId="4e4b8b3d-5f31-49bb-9f80-8a25c04abfff" providerId="ADAL" clId="{EE97D3FE-9ACA-4467-98E5-532EC45D9D1C}" dt="2024-03-01T10:20:16.548" v="9668" actId="1076"/>
          <ac:spMkLst>
            <pc:docMk/>
            <pc:sldMk cId="3646958141" sldId="928"/>
            <ac:spMk id="81" creationId="{03A635FF-A78F-8735-A808-281BDB5E3F81}"/>
          </ac:spMkLst>
        </pc:spChg>
        <pc:cxnChg chg="mod">
          <ac:chgData name="Nataliia Chornii (UA)" userId="4e4b8b3d-5f31-49bb-9f80-8a25c04abfff" providerId="ADAL" clId="{EE97D3FE-9ACA-4467-98E5-532EC45D9D1C}" dt="2024-03-01T10:20:16.548" v="9668" actId="1076"/>
          <ac:cxnSpMkLst>
            <pc:docMk/>
            <pc:sldMk cId="3646958141" sldId="928"/>
            <ac:cxnSpMk id="37" creationId="{7C7236BE-4ADF-8153-6B39-AEF796CC913C}"/>
          </ac:cxnSpMkLst>
        </pc:cxnChg>
        <pc:cxnChg chg="mod">
          <ac:chgData name="Nataliia Chornii (UA)" userId="4e4b8b3d-5f31-49bb-9f80-8a25c04abfff" providerId="ADAL" clId="{EE97D3FE-9ACA-4467-98E5-532EC45D9D1C}" dt="2024-03-01T10:20:12.131" v="9667" actId="1076"/>
          <ac:cxnSpMkLst>
            <pc:docMk/>
            <pc:sldMk cId="3646958141" sldId="928"/>
            <ac:cxnSpMk id="43" creationId="{72A0F912-B6F6-C429-1D73-5F944261C21E}"/>
          </ac:cxnSpMkLst>
        </pc:cxnChg>
        <pc:cxnChg chg="mod">
          <ac:chgData name="Nataliia Chornii (UA)" userId="4e4b8b3d-5f31-49bb-9f80-8a25c04abfff" providerId="ADAL" clId="{EE97D3FE-9ACA-4467-98E5-532EC45D9D1C}" dt="2024-03-01T10:20:12.131" v="9667" actId="1076"/>
          <ac:cxnSpMkLst>
            <pc:docMk/>
            <pc:sldMk cId="3646958141" sldId="928"/>
            <ac:cxnSpMk id="45" creationId="{98FC76CB-92CA-79EB-0FCC-0279B07E4868}"/>
          </ac:cxnSpMkLst>
        </pc:cxnChg>
        <pc:cxnChg chg="mod">
          <ac:chgData name="Nataliia Chornii (UA)" userId="4e4b8b3d-5f31-49bb-9f80-8a25c04abfff" providerId="ADAL" clId="{EE97D3FE-9ACA-4467-98E5-532EC45D9D1C}" dt="2024-03-01T10:20:12.131" v="9667" actId="1076"/>
          <ac:cxnSpMkLst>
            <pc:docMk/>
            <pc:sldMk cId="3646958141" sldId="928"/>
            <ac:cxnSpMk id="47" creationId="{8B8F284E-EAB2-AD04-A11A-3A260CFADB81}"/>
          </ac:cxnSpMkLst>
        </pc:cxnChg>
        <pc:cxnChg chg="mod">
          <ac:chgData name="Nataliia Chornii (UA)" userId="4e4b8b3d-5f31-49bb-9f80-8a25c04abfff" providerId="ADAL" clId="{EE97D3FE-9ACA-4467-98E5-532EC45D9D1C}" dt="2024-03-01T10:20:12.131" v="9667" actId="1076"/>
          <ac:cxnSpMkLst>
            <pc:docMk/>
            <pc:sldMk cId="3646958141" sldId="928"/>
            <ac:cxnSpMk id="49" creationId="{21BD98F9-4C54-5F05-8131-645F83133AD1}"/>
          </ac:cxnSpMkLst>
        </pc:cxnChg>
        <pc:cxnChg chg="mod">
          <ac:chgData name="Nataliia Chornii (UA)" userId="4e4b8b3d-5f31-49bb-9f80-8a25c04abfff" providerId="ADAL" clId="{EE97D3FE-9ACA-4467-98E5-532EC45D9D1C}" dt="2024-03-01T10:20:16.548" v="9668" actId="1076"/>
          <ac:cxnSpMkLst>
            <pc:docMk/>
            <pc:sldMk cId="3646958141" sldId="928"/>
            <ac:cxnSpMk id="51" creationId="{A247581D-B16A-3BCD-B844-5699CF8A122C}"/>
          </ac:cxnSpMkLst>
        </pc:cxnChg>
        <pc:cxnChg chg="mod">
          <ac:chgData name="Nataliia Chornii (UA)" userId="4e4b8b3d-5f31-49bb-9f80-8a25c04abfff" providerId="ADAL" clId="{EE97D3FE-9ACA-4467-98E5-532EC45D9D1C}" dt="2024-03-01T10:20:16.548" v="9668" actId="1076"/>
          <ac:cxnSpMkLst>
            <pc:docMk/>
            <pc:sldMk cId="3646958141" sldId="928"/>
            <ac:cxnSpMk id="53" creationId="{AC15A7FB-62D3-912B-C6CE-5B0703B74AC4}"/>
          </ac:cxnSpMkLst>
        </pc:cxnChg>
        <pc:cxnChg chg="mod">
          <ac:chgData name="Nataliia Chornii (UA)" userId="4e4b8b3d-5f31-49bb-9f80-8a25c04abfff" providerId="ADAL" clId="{EE97D3FE-9ACA-4467-98E5-532EC45D9D1C}" dt="2024-03-01T10:20:22.385" v="9669" actId="1076"/>
          <ac:cxnSpMkLst>
            <pc:docMk/>
            <pc:sldMk cId="3646958141" sldId="928"/>
            <ac:cxnSpMk id="55" creationId="{3F9B2E66-F81E-035C-3417-93CBB049A98A}"/>
          </ac:cxnSpMkLst>
        </pc:cxnChg>
        <pc:cxnChg chg="mod">
          <ac:chgData name="Nataliia Chornii (UA)" userId="4e4b8b3d-5f31-49bb-9f80-8a25c04abfff" providerId="ADAL" clId="{EE97D3FE-9ACA-4467-98E5-532EC45D9D1C}" dt="2024-03-01T10:20:22.385" v="9669" actId="1076"/>
          <ac:cxnSpMkLst>
            <pc:docMk/>
            <pc:sldMk cId="3646958141" sldId="928"/>
            <ac:cxnSpMk id="57" creationId="{F235514F-D8B3-0248-2D25-0B8582D92491}"/>
          </ac:cxnSpMkLst>
        </pc:cxnChg>
        <pc:cxnChg chg="mod">
          <ac:chgData name="Nataliia Chornii (UA)" userId="4e4b8b3d-5f31-49bb-9f80-8a25c04abfff" providerId="ADAL" clId="{EE97D3FE-9ACA-4467-98E5-532EC45D9D1C}" dt="2024-03-01T10:20:22.385" v="9669" actId="1076"/>
          <ac:cxnSpMkLst>
            <pc:docMk/>
            <pc:sldMk cId="3646958141" sldId="928"/>
            <ac:cxnSpMk id="59" creationId="{20A81309-2578-4335-8652-0E400C879DBE}"/>
          </ac:cxnSpMkLst>
        </pc:cxnChg>
        <pc:cxnChg chg="mod">
          <ac:chgData name="Nataliia Chornii (UA)" userId="4e4b8b3d-5f31-49bb-9f80-8a25c04abfff" providerId="ADAL" clId="{EE97D3FE-9ACA-4467-98E5-532EC45D9D1C}" dt="2024-03-01T10:20:26.705" v="9670" actId="14100"/>
          <ac:cxnSpMkLst>
            <pc:docMk/>
            <pc:sldMk cId="3646958141" sldId="928"/>
            <ac:cxnSpMk id="61" creationId="{FCB0AFCF-B4F3-24DA-9277-A13964EAFAC5}"/>
          </ac:cxnSpMkLst>
        </pc:cxnChg>
        <pc:cxnChg chg="mod">
          <ac:chgData name="Nataliia Chornii (UA)" userId="4e4b8b3d-5f31-49bb-9f80-8a25c04abfff" providerId="ADAL" clId="{EE97D3FE-9ACA-4467-98E5-532EC45D9D1C}" dt="2024-03-01T10:20:16.548" v="9668" actId="1076"/>
          <ac:cxnSpMkLst>
            <pc:docMk/>
            <pc:sldMk cId="3646958141" sldId="928"/>
            <ac:cxnSpMk id="62" creationId="{B56D4A98-332F-9244-0753-E78F9E7502E4}"/>
          </ac:cxnSpMkLst>
        </pc:cxnChg>
      </pc:sldChg>
      <pc:sldChg chg="addSp delSp modSp add del mod modShow">
        <pc:chgData name="Nataliia Chornii (UA)" userId="4e4b8b3d-5f31-49bb-9f80-8a25c04abfff" providerId="ADAL" clId="{EE97D3FE-9ACA-4467-98E5-532EC45D9D1C}" dt="2024-03-01T15:06:39.256" v="16181" actId="47"/>
        <pc:sldMkLst>
          <pc:docMk/>
          <pc:sldMk cId="2616931998" sldId="929"/>
        </pc:sldMkLst>
        <pc:spChg chg="add del mod modVis">
          <ac:chgData name="Nataliia Chornii (UA)" userId="4e4b8b3d-5f31-49bb-9f80-8a25c04abfff" providerId="ADAL" clId="{EE97D3FE-9ACA-4467-98E5-532EC45D9D1C}" dt="2024-03-01T10:59:36.338" v="11010"/>
          <ac:spMkLst>
            <pc:docMk/>
            <pc:sldMk cId="2616931998" sldId="929"/>
            <ac:spMk id="2" creationId="{745B983E-68C2-F7E2-1DF2-9DF66DD0F9C8}"/>
          </ac:spMkLst>
        </pc:spChg>
        <pc:spChg chg="mod ord">
          <ac:chgData name="Nataliia Chornii (UA)" userId="4e4b8b3d-5f31-49bb-9f80-8a25c04abfff" providerId="ADAL" clId="{EE97D3FE-9ACA-4467-98E5-532EC45D9D1C}" dt="2024-03-01T12:59:47.215" v="12235"/>
          <ac:spMkLst>
            <pc:docMk/>
            <pc:sldMk cId="2616931998" sldId="929"/>
            <ac:spMk id="3" creationId="{F4CCF02E-F3C4-C376-8F56-61BD85A2E74B}"/>
          </ac:spMkLst>
        </pc:spChg>
        <pc:spChg chg="mod ord">
          <ac:chgData name="Nataliia Chornii (UA)" userId="4e4b8b3d-5f31-49bb-9f80-8a25c04abfff" providerId="ADAL" clId="{EE97D3FE-9ACA-4467-98E5-532EC45D9D1C}" dt="2024-03-01T12:59:47.215" v="12237"/>
          <ac:spMkLst>
            <pc:docMk/>
            <pc:sldMk cId="2616931998" sldId="929"/>
            <ac:spMk id="4" creationId="{872966CD-924A-B939-E655-A6BAF817DCBF}"/>
          </ac:spMkLst>
        </pc:spChg>
        <pc:spChg chg="del">
          <ac:chgData name="Nataliia Chornii (UA)" userId="4e4b8b3d-5f31-49bb-9f80-8a25c04abfff" providerId="ADAL" clId="{EE97D3FE-9ACA-4467-98E5-532EC45D9D1C}" dt="2024-03-01T11:03:22.284" v="11124" actId="478"/>
          <ac:spMkLst>
            <pc:docMk/>
            <pc:sldMk cId="2616931998" sldId="929"/>
            <ac:spMk id="8" creationId="{2292A5BD-BBCF-E009-4522-732CB9873538}"/>
          </ac:spMkLst>
        </pc:spChg>
        <pc:spChg chg="mod ord">
          <ac:chgData name="Nataliia Chornii (UA)" userId="4e4b8b3d-5f31-49bb-9f80-8a25c04abfff" providerId="ADAL" clId="{EE97D3FE-9ACA-4467-98E5-532EC45D9D1C}" dt="2024-03-01T12:59:47.225" v="12251"/>
          <ac:spMkLst>
            <pc:docMk/>
            <pc:sldMk cId="2616931998" sldId="929"/>
            <ac:spMk id="10" creationId="{6F55AA3F-6103-110B-C367-10711AC49356}"/>
          </ac:spMkLst>
        </pc:spChg>
        <pc:spChg chg="mod ord">
          <ac:chgData name="Nataliia Chornii (UA)" userId="4e4b8b3d-5f31-49bb-9f80-8a25c04abfff" providerId="ADAL" clId="{EE97D3FE-9ACA-4467-98E5-532EC45D9D1C}" dt="2024-03-01T12:59:47.215" v="12239"/>
          <ac:spMkLst>
            <pc:docMk/>
            <pc:sldMk cId="2616931998" sldId="929"/>
            <ac:spMk id="21" creationId="{78DC1799-6B68-492D-BBE0-D7BECB3D58E6}"/>
          </ac:spMkLst>
        </pc:spChg>
        <pc:spChg chg="mod ord">
          <ac:chgData name="Nataliia Chornii (UA)" userId="4e4b8b3d-5f31-49bb-9f80-8a25c04abfff" providerId="ADAL" clId="{EE97D3FE-9ACA-4467-98E5-532EC45D9D1C}" dt="2024-03-01T13:00:35.572" v="12339" actId="12789"/>
          <ac:spMkLst>
            <pc:docMk/>
            <pc:sldMk cId="2616931998" sldId="929"/>
            <ac:spMk id="22" creationId="{8A383B1B-1F96-C467-6BC7-1ACF6506A40E}"/>
          </ac:spMkLst>
        </pc:spChg>
        <pc:spChg chg="del mod">
          <ac:chgData name="Nataliia Chornii (UA)" userId="4e4b8b3d-5f31-49bb-9f80-8a25c04abfff" providerId="ADAL" clId="{EE97D3FE-9ACA-4467-98E5-532EC45D9D1C}" dt="2024-03-01T11:00:17.481" v="11037" actId="478"/>
          <ac:spMkLst>
            <pc:docMk/>
            <pc:sldMk cId="2616931998" sldId="929"/>
            <ac:spMk id="24" creationId="{348FF9D4-2615-1990-FB78-3260C32CF406}"/>
          </ac:spMkLst>
        </pc:spChg>
        <pc:spChg chg="mod ord">
          <ac:chgData name="Nataliia Chornii (UA)" userId="4e4b8b3d-5f31-49bb-9f80-8a25c04abfff" providerId="ADAL" clId="{EE97D3FE-9ACA-4467-98E5-532EC45D9D1C}" dt="2024-03-01T12:59:47.215" v="12233"/>
          <ac:spMkLst>
            <pc:docMk/>
            <pc:sldMk cId="2616931998" sldId="929"/>
            <ac:spMk id="25" creationId="{2B261BF4-92C6-462D-AA95-793AE54DD688}"/>
          </ac:spMkLst>
        </pc:spChg>
        <pc:spChg chg="mod ord">
          <ac:chgData name="Nataliia Chornii (UA)" userId="4e4b8b3d-5f31-49bb-9f80-8a25c04abfff" providerId="ADAL" clId="{EE97D3FE-9ACA-4467-98E5-532EC45D9D1C}" dt="2024-03-01T12:59:47.225" v="12243"/>
          <ac:spMkLst>
            <pc:docMk/>
            <pc:sldMk cId="2616931998" sldId="929"/>
            <ac:spMk id="26" creationId="{5EC1F9AE-82A4-85FE-592B-EF659F76F7EC}"/>
          </ac:spMkLst>
        </pc:spChg>
        <pc:spChg chg="mod ord">
          <ac:chgData name="Nataliia Chornii (UA)" userId="4e4b8b3d-5f31-49bb-9f80-8a25c04abfff" providerId="ADAL" clId="{EE97D3FE-9ACA-4467-98E5-532EC45D9D1C}" dt="2024-03-01T12:59:47.225" v="12245"/>
          <ac:spMkLst>
            <pc:docMk/>
            <pc:sldMk cId="2616931998" sldId="929"/>
            <ac:spMk id="27" creationId="{72D802D4-B169-1594-D931-40179675E33A}"/>
          </ac:spMkLst>
        </pc:spChg>
        <pc:spChg chg="mod ord topLvl">
          <ac:chgData name="Nataliia Chornii (UA)" userId="4e4b8b3d-5f31-49bb-9f80-8a25c04abfff" providerId="ADAL" clId="{EE97D3FE-9ACA-4467-98E5-532EC45D9D1C}" dt="2024-03-01T12:59:47.225" v="12247"/>
          <ac:spMkLst>
            <pc:docMk/>
            <pc:sldMk cId="2616931998" sldId="929"/>
            <ac:spMk id="29" creationId="{3915AD89-6428-4A75-0915-328643F1703C}"/>
          </ac:spMkLst>
        </pc:spChg>
        <pc:spChg chg="mod ord topLvl">
          <ac:chgData name="Nataliia Chornii (UA)" userId="4e4b8b3d-5f31-49bb-9f80-8a25c04abfff" providerId="ADAL" clId="{EE97D3FE-9ACA-4467-98E5-532EC45D9D1C}" dt="2024-03-01T12:59:47.225" v="12249"/>
          <ac:spMkLst>
            <pc:docMk/>
            <pc:sldMk cId="2616931998" sldId="929"/>
            <ac:spMk id="30" creationId="{373AB206-F1F0-CC72-8C15-85605D9AF2AC}"/>
          </ac:spMkLst>
        </pc:spChg>
        <pc:spChg chg="add mod ord">
          <ac:chgData name="Nataliia Chornii (UA)" userId="4e4b8b3d-5f31-49bb-9f80-8a25c04abfff" providerId="ADAL" clId="{EE97D3FE-9ACA-4467-98E5-532EC45D9D1C}" dt="2024-03-01T12:59:47.241" v="12301"/>
          <ac:spMkLst>
            <pc:docMk/>
            <pc:sldMk cId="2616931998" sldId="929"/>
            <ac:spMk id="32" creationId="{FB63C400-82C1-C700-1D2B-17C849F124C0}"/>
          </ac:spMkLst>
        </pc:spChg>
        <pc:spChg chg="add mod ord">
          <ac:chgData name="Nataliia Chornii (UA)" userId="4e4b8b3d-5f31-49bb-9f80-8a25c04abfff" providerId="ADAL" clId="{EE97D3FE-9ACA-4467-98E5-532EC45D9D1C}" dt="2024-03-01T12:59:47.241" v="12303"/>
          <ac:spMkLst>
            <pc:docMk/>
            <pc:sldMk cId="2616931998" sldId="929"/>
            <ac:spMk id="33" creationId="{A4189C25-64A4-3289-336F-F9EC1B83ADCE}"/>
          </ac:spMkLst>
        </pc:spChg>
        <pc:spChg chg="add mod ord">
          <ac:chgData name="Nataliia Chornii (UA)" userId="4e4b8b3d-5f31-49bb-9f80-8a25c04abfff" providerId="ADAL" clId="{EE97D3FE-9ACA-4467-98E5-532EC45D9D1C}" dt="2024-03-01T12:59:47.241" v="12305"/>
          <ac:spMkLst>
            <pc:docMk/>
            <pc:sldMk cId="2616931998" sldId="929"/>
            <ac:spMk id="34" creationId="{395ADB54-EB2F-6A1C-D561-976CB34F7D25}"/>
          </ac:spMkLst>
        </pc:spChg>
        <pc:spChg chg="add mod ord">
          <ac:chgData name="Nataliia Chornii (UA)" userId="4e4b8b3d-5f31-49bb-9f80-8a25c04abfff" providerId="ADAL" clId="{EE97D3FE-9ACA-4467-98E5-532EC45D9D1C}" dt="2024-03-01T12:59:47.241" v="12307"/>
          <ac:spMkLst>
            <pc:docMk/>
            <pc:sldMk cId="2616931998" sldId="929"/>
            <ac:spMk id="35" creationId="{95F6B912-06AF-61A2-E8DC-BC5B3BB82471}"/>
          </ac:spMkLst>
        </pc:spChg>
        <pc:spChg chg="add mod ord">
          <ac:chgData name="Nataliia Chornii (UA)" userId="4e4b8b3d-5f31-49bb-9f80-8a25c04abfff" providerId="ADAL" clId="{EE97D3FE-9ACA-4467-98E5-532EC45D9D1C}" dt="2024-03-01T12:59:47.241" v="12309"/>
          <ac:spMkLst>
            <pc:docMk/>
            <pc:sldMk cId="2616931998" sldId="929"/>
            <ac:spMk id="36" creationId="{DFE7B78B-3579-AD72-FBC9-3EE2DBBE8C07}"/>
          </ac:spMkLst>
        </pc:spChg>
        <pc:spChg chg="add mod ord">
          <ac:chgData name="Nataliia Chornii (UA)" userId="4e4b8b3d-5f31-49bb-9f80-8a25c04abfff" providerId="ADAL" clId="{EE97D3FE-9ACA-4467-98E5-532EC45D9D1C}" dt="2024-03-01T12:59:47.241" v="12311"/>
          <ac:spMkLst>
            <pc:docMk/>
            <pc:sldMk cId="2616931998" sldId="929"/>
            <ac:spMk id="37" creationId="{739E7498-B313-0181-2BDB-105B1600AE16}"/>
          </ac:spMkLst>
        </pc:spChg>
        <pc:spChg chg="del mod">
          <ac:chgData name="Nataliia Chornii (UA)" userId="4e4b8b3d-5f31-49bb-9f80-8a25c04abfff" providerId="ADAL" clId="{EE97D3FE-9ACA-4467-98E5-532EC45D9D1C}" dt="2024-03-01T12:59:32.037" v="12201" actId="478"/>
          <ac:spMkLst>
            <pc:docMk/>
            <pc:sldMk cId="2616931998" sldId="929"/>
            <ac:spMk id="38" creationId="{272900AC-10C3-F441-FC58-31445D62009C}"/>
          </ac:spMkLst>
        </pc:spChg>
        <pc:spChg chg="add mod ord">
          <ac:chgData name="Nataliia Chornii (UA)" userId="4e4b8b3d-5f31-49bb-9f80-8a25c04abfff" providerId="ADAL" clId="{EE97D3FE-9ACA-4467-98E5-532EC45D9D1C}" dt="2024-03-01T12:59:47.241" v="12313"/>
          <ac:spMkLst>
            <pc:docMk/>
            <pc:sldMk cId="2616931998" sldId="929"/>
            <ac:spMk id="39" creationId="{C91C3C2E-BE8A-495D-5334-7C8FE4266B2C}"/>
          </ac:spMkLst>
        </pc:spChg>
        <pc:spChg chg="add mod ord">
          <ac:chgData name="Nataliia Chornii (UA)" userId="4e4b8b3d-5f31-49bb-9f80-8a25c04abfff" providerId="ADAL" clId="{EE97D3FE-9ACA-4467-98E5-532EC45D9D1C}" dt="2024-03-01T12:59:47.241" v="12315"/>
          <ac:spMkLst>
            <pc:docMk/>
            <pc:sldMk cId="2616931998" sldId="929"/>
            <ac:spMk id="40" creationId="{30043BD5-616D-7B17-4B98-50FB1B38DF1D}"/>
          </ac:spMkLst>
        </pc:spChg>
        <pc:spChg chg="mod ord">
          <ac:chgData name="Nataliia Chornii (UA)" userId="4e4b8b3d-5f31-49bb-9f80-8a25c04abfff" providerId="ADAL" clId="{EE97D3FE-9ACA-4467-98E5-532EC45D9D1C}" dt="2024-03-01T12:59:47.215" v="12231"/>
          <ac:spMkLst>
            <pc:docMk/>
            <pc:sldMk cId="2616931998" sldId="929"/>
            <ac:spMk id="42" creationId="{50830596-224D-A11D-D251-21B0CA3EB02E}"/>
          </ac:spMkLst>
        </pc:spChg>
        <pc:spChg chg="mod ord topLvl">
          <ac:chgData name="Nataliia Chornii (UA)" userId="4e4b8b3d-5f31-49bb-9f80-8a25c04abfff" providerId="ADAL" clId="{EE97D3FE-9ACA-4467-98E5-532EC45D9D1C}" dt="2024-03-01T12:59:47.225" v="12253"/>
          <ac:spMkLst>
            <pc:docMk/>
            <pc:sldMk cId="2616931998" sldId="929"/>
            <ac:spMk id="44" creationId="{37325A5C-F07F-2313-782A-18E3E98D15F0}"/>
          </ac:spMkLst>
        </pc:spChg>
        <pc:spChg chg="mod ord topLvl">
          <ac:chgData name="Nataliia Chornii (UA)" userId="4e4b8b3d-5f31-49bb-9f80-8a25c04abfff" providerId="ADAL" clId="{EE97D3FE-9ACA-4467-98E5-532EC45D9D1C}" dt="2024-03-01T12:59:47.225" v="12255"/>
          <ac:spMkLst>
            <pc:docMk/>
            <pc:sldMk cId="2616931998" sldId="929"/>
            <ac:spMk id="45" creationId="{5A4A472A-422C-56F4-A0F5-AE422E82D144}"/>
          </ac:spMkLst>
        </pc:spChg>
        <pc:spChg chg="add mod ord">
          <ac:chgData name="Nataliia Chornii (UA)" userId="4e4b8b3d-5f31-49bb-9f80-8a25c04abfff" providerId="ADAL" clId="{EE97D3FE-9ACA-4467-98E5-532EC45D9D1C}" dt="2024-03-01T12:59:47.241" v="12317"/>
          <ac:spMkLst>
            <pc:docMk/>
            <pc:sldMk cId="2616931998" sldId="929"/>
            <ac:spMk id="46" creationId="{09BF84D6-F468-7005-FAB5-AA0B6AE5CFB4}"/>
          </ac:spMkLst>
        </pc:spChg>
        <pc:spChg chg="mod ord">
          <ac:chgData name="Nataliia Chornii (UA)" userId="4e4b8b3d-5f31-49bb-9f80-8a25c04abfff" providerId="ADAL" clId="{EE97D3FE-9ACA-4467-98E5-532EC45D9D1C}" dt="2024-03-01T12:59:47.225" v="12257"/>
          <ac:spMkLst>
            <pc:docMk/>
            <pc:sldMk cId="2616931998" sldId="929"/>
            <ac:spMk id="47" creationId="{53CB8D3C-9648-B17B-BD59-60EED0CCD133}"/>
          </ac:spMkLst>
        </pc:spChg>
        <pc:spChg chg="del">
          <ac:chgData name="Nataliia Chornii (UA)" userId="4e4b8b3d-5f31-49bb-9f80-8a25c04abfff" providerId="ADAL" clId="{EE97D3FE-9ACA-4467-98E5-532EC45D9D1C}" dt="2024-03-01T10:59:29.947" v="10974" actId="478"/>
          <ac:spMkLst>
            <pc:docMk/>
            <pc:sldMk cId="2616931998" sldId="929"/>
            <ac:spMk id="48" creationId="{D9C7DEB2-1AFB-BF37-B503-BDA29810C585}"/>
          </ac:spMkLst>
        </pc:spChg>
        <pc:spChg chg="add mod ord">
          <ac:chgData name="Nataliia Chornii (UA)" userId="4e4b8b3d-5f31-49bb-9f80-8a25c04abfff" providerId="ADAL" clId="{EE97D3FE-9ACA-4467-98E5-532EC45D9D1C}" dt="2024-03-01T12:59:47.241" v="12319"/>
          <ac:spMkLst>
            <pc:docMk/>
            <pc:sldMk cId="2616931998" sldId="929"/>
            <ac:spMk id="49" creationId="{DED3BED4-139F-CB4F-0A7B-7B90211550F4}"/>
          </ac:spMkLst>
        </pc:spChg>
        <pc:spChg chg="add mod ord">
          <ac:chgData name="Nataliia Chornii (UA)" userId="4e4b8b3d-5f31-49bb-9f80-8a25c04abfff" providerId="ADAL" clId="{EE97D3FE-9ACA-4467-98E5-532EC45D9D1C}" dt="2024-03-01T13:00:35.572" v="12339" actId="12789"/>
          <ac:spMkLst>
            <pc:docMk/>
            <pc:sldMk cId="2616931998" sldId="929"/>
            <ac:spMk id="50" creationId="{8164624F-DC6E-41FF-C23B-0BD85A5DE744}"/>
          </ac:spMkLst>
        </pc:spChg>
        <pc:spChg chg="add mod ord">
          <ac:chgData name="Nataliia Chornii (UA)" userId="4e4b8b3d-5f31-49bb-9f80-8a25c04abfff" providerId="ADAL" clId="{EE97D3FE-9ACA-4467-98E5-532EC45D9D1C}" dt="2024-03-01T13:00:35.572" v="12339" actId="12789"/>
          <ac:spMkLst>
            <pc:docMk/>
            <pc:sldMk cId="2616931998" sldId="929"/>
            <ac:spMk id="51" creationId="{72AB78F5-D8BC-68FC-1143-72A7023BF9E7}"/>
          </ac:spMkLst>
        </pc:spChg>
        <pc:spChg chg="add del mod modVis">
          <ac:chgData name="Nataliia Chornii (UA)" userId="4e4b8b3d-5f31-49bb-9f80-8a25c04abfff" providerId="ADAL" clId="{EE97D3FE-9ACA-4467-98E5-532EC45D9D1C}" dt="2024-03-01T12:59:47.257" v="12325"/>
          <ac:spMkLst>
            <pc:docMk/>
            <pc:sldMk cId="2616931998" sldId="929"/>
            <ac:spMk id="52" creationId="{F134BCA2-776F-5883-562F-A1DF40839258}"/>
          </ac:spMkLst>
        </pc:spChg>
        <pc:spChg chg="mod ord">
          <ac:chgData name="Nataliia Chornii (UA)" userId="4e4b8b3d-5f31-49bb-9f80-8a25c04abfff" providerId="ADAL" clId="{EE97D3FE-9ACA-4467-98E5-532EC45D9D1C}" dt="2024-03-01T12:59:47.225" v="12259"/>
          <ac:spMkLst>
            <pc:docMk/>
            <pc:sldMk cId="2616931998" sldId="929"/>
            <ac:spMk id="61" creationId="{2A14CA01-2350-21C6-16E6-E9CEAF43B441}"/>
          </ac:spMkLst>
        </pc:spChg>
        <pc:spChg chg="del">
          <ac:chgData name="Nataliia Chornii (UA)" userId="4e4b8b3d-5f31-49bb-9f80-8a25c04abfff" providerId="ADAL" clId="{EE97D3FE-9ACA-4467-98E5-532EC45D9D1C}" dt="2024-03-01T10:59:29.947" v="10974" actId="478"/>
          <ac:spMkLst>
            <pc:docMk/>
            <pc:sldMk cId="2616931998" sldId="929"/>
            <ac:spMk id="62" creationId="{0977B53C-EEDF-ECC6-4AAC-EB21D6466344}"/>
          </ac:spMkLst>
        </pc:spChg>
        <pc:spChg chg="mod ord">
          <ac:chgData name="Nataliia Chornii (UA)" userId="4e4b8b3d-5f31-49bb-9f80-8a25c04abfff" providerId="ADAL" clId="{EE97D3FE-9ACA-4467-98E5-532EC45D9D1C}" dt="2024-03-01T12:59:47.225" v="12261"/>
          <ac:spMkLst>
            <pc:docMk/>
            <pc:sldMk cId="2616931998" sldId="929"/>
            <ac:spMk id="64" creationId="{19794A8F-A922-1A21-17E6-1B4B21C8F596}"/>
          </ac:spMkLst>
        </pc:spChg>
        <pc:spChg chg="del">
          <ac:chgData name="Nataliia Chornii (UA)" userId="4e4b8b3d-5f31-49bb-9f80-8a25c04abfff" providerId="ADAL" clId="{EE97D3FE-9ACA-4467-98E5-532EC45D9D1C}" dt="2024-03-01T10:59:49.292" v="11032" actId="478"/>
          <ac:spMkLst>
            <pc:docMk/>
            <pc:sldMk cId="2616931998" sldId="929"/>
            <ac:spMk id="65" creationId="{E637C43D-EB29-9E46-4805-26DDE31069D1}"/>
          </ac:spMkLst>
        </pc:spChg>
        <pc:spChg chg="mod ord">
          <ac:chgData name="Nataliia Chornii (UA)" userId="4e4b8b3d-5f31-49bb-9f80-8a25c04abfff" providerId="ADAL" clId="{EE97D3FE-9ACA-4467-98E5-532EC45D9D1C}" dt="2024-03-01T12:59:47.225" v="12263"/>
          <ac:spMkLst>
            <pc:docMk/>
            <pc:sldMk cId="2616931998" sldId="929"/>
            <ac:spMk id="67" creationId="{173D6274-53F8-0DD4-4E9A-1018104D2DCB}"/>
          </ac:spMkLst>
        </pc:spChg>
        <pc:spChg chg="del">
          <ac:chgData name="Nataliia Chornii (UA)" userId="4e4b8b3d-5f31-49bb-9f80-8a25c04abfff" providerId="ADAL" clId="{EE97D3FE-9ACA-4467-98E5-532EC45D9D1C}" dt="2024-03-01T10:59:49.292" v="11032" actId="478"/>
          <ac:spMkLst>
            <pc:docMk/>
            <pc:sldMk cId="2616931998" sldId="929"/>
            <ac:spMk id="68" creationId="{EA6E472F-8C91-1B3F-E19C-F4E7FEBD8822}"/>
          </ac:spMkLst>
        </pc:spChg>
        <pc:spChg chg="mod ord">
          <ac:chgData name="Nataliia Chornii (UA)" userId="4e4b8b3d-5f31-49bb-9f80-8a25c04abfff" providerId="ADAL" clId="{EE97D3FE-9ACA-4467-98E5-532EC45D9D1C}" dt="2024-03-01T12:59:47.225" v="12265"/>
          <ac:spMkLst>
            <pc:docMk/>
            <pc:sldMk cId="2616931998" sldId="929"/>
            <ac:spMk id="70" creationId="{8E071A3F-2B5A-7CD2-907D-0A46168AC360}"/>
          </ac:spMkLst>
        </pc:spChg>
        <pc:spChg chg="del">
          <ac:chgData name="Nataliia Chornii (UA)" userId="4e4b8b3d-5f31-49bb-9f80-8a25c04abfff" providerId="ADAL" clId="{EE97D3FE-9ACA-4467-98E5-532EC45D9D1C}" dt="2024-03-01T10:59:49.292" v="11032" actId="478"/>
          <ac:spMkLst>
            <pc:docMk/>
            <pc:sldMk cId="2616931998" sldId="929"/>
            <ac:spMk id="71" creationId="{4E9A4B16-5B86-15F3-0EC5-EC8CABFD7433}"/>
          </ac:spMkLst>
        </pc:spChg>
        <pc:spChg chg="mod ord">
          <ac:chgData name="Nataliia Chornii (UA)" userId="4e4b8b3d-5f31-49bb-9f80-8a25c04abfff" providerId="ADAL" clId="{EE97D3FE-9ACA-4467-98E5-532EC45D9D1C}" dt="2024-03-01T12:59:47.225" v="12267"/>
          <ac:spMkLst>
            <pc:docMk/>
            <pc:sldMk cId="2616931998" sldId="929"/>
            <ac:spMk id="73" creationId="{F861E25B-F987-831A-A602-44A1BC3C9C06}"/>
          </ac:spMkLst>
        </pc:spChg>
        <pc:spChg chg="del">
          <ac:chgData name="Nataliia Chornii (UA)" userId="4e4b8b3d-5f31-49bb-9f80-8a25c04abfff" providerId="ADAL" clId="{EE97D3FE-9ACA-4467-98E5-532EC45D9D1C}" dt="2024-03-01T10:59:49.292" v="11032" actId="478"/>
          <ac:spMkLst>
            <pc:docMk/>
            <pc:sldMk cId="2616931998" sldId="929"/>
            <ac:spMk id="74" creationId="{237C8191-4F1C-824D-519C-F908FF1C2C8A}"/>
          </ac:spMkLst>
        </pc:spChg>
        <pc:spChg chg="mod ord">
          <ac:chgData name="Nataliia Chornii (UA)" userId="4e4b8b3d-5f31-49bb-9f80-8a25c04abfff" providerId="ADAL" clId="{EE97D3FE-9ACA-4467-98E5-532EC45D9D1C}" dt="2024-03-01T12:59:47.225" v="12269"/>
          <ac:spMkLst>
            <pc:docMk/>
            <pc:sldMk cId="2616931998" sldId="929"/>
            <ac:spMk id="76" creationId="{48C1CD32-80B1-493D-9426-7B73B4755484}"/>
          </ac:spMkLst>
        </pc:spChg>
        <pc:spChg chg="del">
          <ac:chgData name="Nataliia Chornii (UA)" userId="4e4b8b3d-5f31-49bb-9f80-8a25c04abfff" providerId="ADAL" clId="{EE97D3FE-9ACA-4467-98E5-532EC45D9D1C}" dt="2024-03-01T10:59:49.292" v="11032" actId="478"/>
          <ac:spMkLst>
            <pc:docMk/>
            <pc:sldMk cId="2616931998" sldId="929"/>
            <ac:spMk id="77" creationId="{457656DF-9381-E741-ED31-A72942D19F30}"/>
          </ac:spMkLst>
        </pc:spChg>
        <pc:spChg chg="mod ord">
          <ac:chgData name="Nataliia Chornii (UA)" userId="4e4b8b3d-5f31-49bb-9f80-8a25c04abfff" providerId="ADAL" clId="{EE97D3FE-9ACA-4467-98E5-532EC45D9D1C}" dt="2024-03-01T12:59:47.225" v="12271"/>
          <ac:spMkLst>
            <pc:docMk/>
            <pc:sldMk cId="2616931998" sldId="929"/>
            <ac:spMk id="79" creationId="{84ACD26B-9585-F3C8-8179-0329BA741C8A}"/>
          </ac:spMkLst>
        </pc:spChg>
        <pc:spChg chg="del">
          <ac:chgData name="Nataliia Chornii (UA)" userId="4e4b8b3d-5f31-49bb-9f80-8a25c04abfff" providerId="ADAL" clId="{EE97D3FE-9ACA-4467-98E5-532EC45D9D1C}" dt="2024-03-01T10:59:49.292" v="11032" actId="478"/>
          <ac:spMkLst>
            <pc:docMk/>
            <pc:sldMk cId="2616931998" sldId="929"/>
            <ac:spMk id="80" creationId="{3EC4EC2B-AF59-0356-9A1D-C0C6D812DBE9}"/>
          </ac:spMkLst>
        </pc:spChg>
        <pc:spChg chg="del">
          <ac:chgData name="Nataliia Chornii (UA)" userId="4e4b8b3d-5f31-49bb-9f80-8a25c04abfff" providerId="ADAL" clId="{EE97D3FE-9ACA-4467-98E5-532EC45D9D1C}" dt="2024-03-01T11:01:58.616" v="11100" actId="478"/>
          <ac:spMkLst>
            <pc:docMk/>
            <pc:sldMk cId="2616931998" sldId="929"/>
            <ac:spMk id="99" creationId="{68245ED2-E555-5BDE-3F3A-DC7B7145C331}"/>
          </ac:spMkLst>
        </pc:spChg>
        <pc:spChg chg="mod ord">
          <ac:chgData name="Nataliia Chornii (UA)" userId="4e4b8b3d-5f31-49bb-9f80-8a25c04abfff" providerId="ADAL" clId="{EE97D3FE-9ACA-4467-98E5-532EC45D9D1C}" dt="2024-03-01T12:59:47.225" v="12273"/>
          <ac:spMkLst>
            <pc:docMk/>
            <pc:sldMk cId="2616931998" sldId="929"/>
            <ac:spMk id="100" creationId="{6196419E-02BA-D21D-1546-F1EC7C2A2D38}"/>
          </ac:spMkLst>
        </pc:spChg>
        <pc:spChg chg="mod ord">
          <ac:chgData name="Nataliia Chornii (UA)" userId="4e4b8b3d-5f31-49bb-9f80-8a25c04abfff" providerId="ADAL" clId="{EE97D3FE-9ACA-4467-98E5-532EC45D9D1C}" dt="2024-03-01T12:59:47.225" v="12275"/>
          <ac:spMkLst>
            <pc:docMk/>
            <pc:sldMk cId="2616931998" sldId="929"/>
            <ac:spMk id="101" creationId="{9ECA4B5E-E4A7-485E-4742-A7A24FB938CD}"/>
          </ac:spMkLst>
        </pc:spChg>
        <pc:spChg chg="mod ord">
          <ac:chgData name="Nataliia Chornii (UA)" userId="4e4b8b3d-5f31-49bb-9f80-8a25c04abfff" providerId="ADAL" clId="{EE97D3FE-9ACA-4467-98E5-532EC45D9D1C}" dt="2024-03-01T12:59:47.225" v="12277"/>
          <ac:spMkLst>
            <pc:docMk/>
            <pc:sldMk cId="2616931998" sldId="929"/>
            <ac:spMk id="102" creationId="{6C2839D0-72C0-7347-1A1F-A4C976165D3B}"/>
          </ac:spMkLst>
        </pc:spChg>
        <pc:spChg chg="mod ord">
          <ac:chgData name="Nataliia Chornii (UA)" userId="4e4b8b3d-5f31-49bb-9f80-8a25c04abfff" providerId="ADAL" clId="{EE97D3FE-9ACA-4467-98E5-532EC45D9D1C}" dt="2024-03-01T12:59:47.225" v="12279"/>
          <ac:spMkLst>
            <pc:docMk/>
            <pc:sldMk cId="2616931998" sldId="929"/>
            <ac:spMk id="103" creationId="{20162A1E-1272-A65F-9743-08A1C56CDD8F}"/>
          </ac:spMkLst>
        </pc:spChg>
        <pc:spChg chg="mod ord">
          <ac:chgData name="Nataliia Chornii (UA)" userId="4e4b8b3d-5f31-49bb-9f80-8a25c04abfff" providerId="ADAL" clId="{EE97D3FE-9ACA-4467-98E5-532EC45D9D1C}" dt="2024-03-01T12:59:47.225" v="12281"/>
          <ac:spMkLst>
            <pc:docMk/>
            <pc:sldMk cId="2616931998" sldId="929"/>
            <ac:spMk id="104" creationId="{C489AEBB-7FB2-EC1A-2DC3-18B08D331418}"/>
          </ac:spMkLst>
        </pc:spChg>
        <pc:spChg chg="mod ord">
          <ac:chgData name="Nataliia Chornii (UA)" userId="4e4b8b3d-5f31-49bb-9f80-8a25c04abfff" providerId="ADAL" clId="{EE97D3FE-9ACA-4467-98E5-532EC45D9D1C}" dt="2024-03-01T12:59:47.225" v="12283"/>
          <ac:spMkLst>
            <pc:docMk/>
            <pc:sldMk cId="2616931998" sldId="929"/>
            <ac:spMk id="107" creationId="{5E4C4BD5-129E-6AAF-672B-2CE5A9EA1809}"/>
          </ac:spMkLst>
        </pc:spChg>
        <pc:spChg chg="mod ord">
          <ac:chgData name="Nataliia Chornii (UA)" userId="4e4b8b3d-5f31-49bb-9f80-8a25c04abfff" providerId="ADAL" clId="{EE97D3FE-9ACA-4467-98E5-532EC45D9D1C}" dt="2024-03-01T12:59:47.225" v="12285"/>
          <ac:spMkLst>
            <pc:docMk/>
            <pc:sldMk cId="2616931998" sldId="929"/>
            <ac:spMk id="108" creationId="{374ED229-16EB-16FE-4EEB-6C75D32758A7}"/>
          </ac:spMkLst>
        </pc:spChg>
        <pc:grpChg chg="del">
          <ac:chgData name="Nataliia Chornii (UA)" userId="4e4b8b3d-5f31-49bb-9f80-8a25c04abfff" providerId="ADAL" clId="{EE97D3FE-9ACA-4467-98E5-532EC45D9D1C}" dt="2024-03-01T11:05:16.518" v="11132" actId="165"/>
          <ac:grpSpMkLst>
            <pc:docMk/>
            <pc:sldMk cId="2616931998" sldId="929"/>
            <ac:grpSpMk id="28" creationId="{DBEF3A72-62F9-B29D-8908-60C19CF93A03}"/>
          </ac:grpSpMkLst>
        </pc:grpChg>
        <pc:grpChg chg="del">
          <ac:chgData name="Nataliia Chornii (UA)" userId="4e4b8b3d-5f31-49bb-9f80-8a25c04abfff" providerId="ADAL" clId="{EE97D3FE-9ACA-4467-98E5-532EC45D9D1C}" dt="2024-03-01T11:05:23.885" v="11134" actId="165"/>
          <ac:grpSpMkLst>
            <pc:docMk/>
            <pc:sldMk cId="2616931998" sldId="929"/>
            <ac:grpSpMk id="43" creationId="{E9134216-27EA-A647-A616-B86FA8931C14}"/>
          </ac:grpSpMkLst>
        </pc:grpChg>
        <pc:graphicFrameChg chg="mod">
          <ac:chgData name="Nataliia Chornii (UA)" userId="4e4b8b3d-5f31-49bb-9f80-8a25c04abfff" providerId="ADAL" clId="{EE97D3FE-9ACA-4467-98E5-532EC45D9D1C}" dt="2024-03-01T12:59:47.257" v="12327"/>
          <ac:graphicFrameMkLst>
            <pc:docMk/>
            <pc:sldMk cId="2616931998" sldId="929"/>
            <ac:graphicFrameMk id="12" creationId="{F6E6AF23-7B86-113A-F559-513B41FEC1FE}"/>
          </ac:graphicFrameMkLst>
        </pc:graphicFrameChg>
        <pc:picChg chg="mod ord">
          <ac:chgData name="Nataliia Chornii (UA)" userId="4e4b8b3d-5f31-49bb-9f80-8a25c04abfff" providerId="ADAL" clId="{EE97D3FE-9ACA-4467-98E5-532EC45D9D1C}" dt="2024-03-01T12:59:47.215" v="12229"/>
          <ac:picMkLst>
            <pc:docMk/>
            <pc:sldMk cId="2616931998" sldId="929"/>
            <ac:picMk id="41" creationId="{7CAE88F2-0719-E8A4-5A3E-39E39CF155A6}"/>
          </ac:picMkLst>
        </pc:picChg>
        <pc:cxnChg chg="add mod ord">
          <ac:chgData name="Nataliia Chornii (UA)" userId="4e4b8b3d-5f31-49bb-9f80-8a25c04abfff" providerId="ADAL" clId="{EE97D3FE-9ACA-4467-98E5-532EC45D9D1C}" dt="2024-03-01T12:59:47.225" v="12287"/>
          <ac:cxnSpMkLst>
            <pc:docMk/>
            <pc:sldMk cId="2616931998" sldId="929"/>
            <ac:cxnSpMk id="6" creationId="{B3733624-6466-BD41-3C49-71F64E87C523}"/>
          </ac:cxnSpMkLst>
        </pc:cxnChg>
        <pc:cxnChg chg="add mod ord">
          <ac:chgData name="Nataliia Chornii (UA)" userId="4e4b8b3d-5f31-49bb-9f80-8a25c04abfff" providerId="ADAL" clId="{EE97D3FE-9ACA-4467-98E5-532EC45D9D1C}" dt="2024-03-01T12:59:47.225" v="12289"/>
          <ac:cxnSpMkLst>
            <pc:docMk/>
            <pc:sldMk cId="2616931998" sldId="929"/>
            <ac:cxnSpMk id="7" creationId="{5A2159BA-60F1-B7B5-DA22-2E5D2C4A8574}"/>
          </ac:cxnSpMkLst>
        </pc:cxnChg>
        <pc:cxnChg chg="add mod ord">
          <ac:chgData name="Nataliia Chornii (UA)" userId="4e4b8b3d-5f31-49bb-9f80-8a25c04abfff" providerId="ADAL" clId="{EE97D3FE-9ACA-4467-98E5-532EC45D9D1C}" dt="2024-03-01T12:59:47.225" v="12291"/>
          <ac:cxnSpMkLst>
            <pc:docMk/>
            <pc:sldMk cId="2616931998" sldId="929"/>
            <ac:cxnSpMk id="9" creationId="{CBCFB46D-F848-5D86-81ED-08C2DDBD6018}"/>
          </ac:cxnSpMkLst>
        </pc:cxnChg>
        <pc:cxnChg chg="add mod ord">
          <ac:chgData name="Nataliia Chornii (UA)" userId="4e4b8b3d-5f31-49bb-9f80-8a25c04abfff" providerId="ADAL" clId="{EE97D3FE-9ACA-4467-98E5-532EC45D9D1C}" dt="2024-03-01T12:59:47.225" v="12293"/>
          <ac:cxnSpMkLst>
            <pc:docMk/>
            <pc:sldMk cId="2616931998" sldId="929"/>
            <ac:cxnSpMk id="11" creationId="{A04A74A1-0026-74F8-2A50-1E9075544CF3}"/>
          </ac:cxnSpMkLst>
        </pc:cxnChg>
        <pc:cxnChg chg="add mod ord">
          <ac:chgData name="Nataliia Chornii (UA)" userId="4e4b8b3d-5f31-49bb-9f80-8a25c04abfff" providerId="ADAL" clId="{EE97D3FE-9ACA-4467-98E5-532EC45D9D1C}" dt="2024-03-01T12:59:47.241" v="12295"/>
          <ac:cxnSpMkLst>
            <pc:docMk/>
            <pc:sldMk cId="2616931998" sldId="929"/>
            <ac:cxnSpMk id="13" creationId="{CB152EF5-0E28-D564-BA70-371799026C17}"/>
          </ac:cxnSpMkLst>
        </pc:cxnChg>
        <pc:cxnChg chg="add mod ord">
          <ac:chgData name="Nataliia Chornii (UA)" userId="4e4b8b3d-5f31-49bb-9f80-8a25c04abfff" providerId="ADAL" clId="{EE97D3FE-9ACA-4467-98E5-532EC45D9D1C}" dt="2024-03-01T12:59:47.241" v="12297"/>
          <ac:cxnSpMkLst>
            <pc:docMk/>
            <pc:sldMk cId="2616931998" sldId="929"/>
            <ac:cxnSpMk id="14" creationId="{FEF121C9-BA2C-579A-87E4-3935103FF4BC}"/>
          </ac:cxnSpMkLst>
        </pc:cxnChg>
        <pc:cxnChg chg="add mod ord">
          <ac:chgData name="Nataliia Chornii (UA)" userId="4e4b8b3d-5f31-49bb-9f80-8a25c04abfff" providerId="ADAL" clId="{EE97D3FE-9ACA-4467-98E5-532EC45D9D1C}" dt="2024-03-01T12:59:47.241" v="12299"/>
          <ac:cxnSpMkLst>
            <pc:docMk/>
            <pc:sldMk cId="2616931998" sldId="929"/>
            <ac:cxnSpMk id="15" creationId="{3DE31210-26C3-2A63-15ED-FE32524A997D}"/>
          </ac:cxnSpMkLst>
        </pc:cxnChg>
        <pc:cxnChg chg="add mod">
          <ac:chgData name="Nataliia Chornii (UA)" userId="4e4b8b3d-5f31-49bb-9f80-8a25c04abfff" providerId="ADAL" clId="{EE97D3FE-9ACA-4467-98E5-532EC45D9D1C}" dt="2024-03-01T13:00:45.925" v="12340" actId="408"/>
          <ac:cxnSpMkLst>
            <pc:docMk/>
            <pc:sldMk cId="2616931998" sldId="929"/>
            <ac:cxnSpMk id="54" creationId="{425D3CDD-3230-B756-BF10-BB0DB723DBBE}"/>
          </ac:cxnSpMkLst>
        </pc:cxnChg>
        <pc:cxnChg chg="del">
          <ac:chgData name="Nataliia Chornii (UA)" userId="4e4b8b3d-5f31-49bb-9f80-8a25c04abfff" providerId="ADAL" clId="{EE97D3FE-9ACA-4467-98E5-532EC45D9D1C}" dt="2024-03-01T11:00:00.868" v="11033" actId="478"/>
          <ac:cxnSpMkLst>
            <pc:docMk/>
            <pc:sldMk cId="2616931998" sldId="929"/>
            <ac:cxnSpMk id="106" creationId="{FFD4031A-36A2-8179-5E2D-0A3C984BF25A}"/>
          </ac:cxnSpMkLst>
        </pc:cxnChg>
      </pc:sldChg>
      <pc:sldChg chg="addSp delSp modSp add del mod modShow">
        <pc:chgData name="Nataliia Chornii (UA)" userId="4e4b8b3d-5f31-49bb-9f80-8a25c04abfff" providerId="ADAL" clId="{EE97D3FE-9ACA-4467-98E5-532EC45D9D1C}" dt="2024-03-01T15:06:39.256" v="16181" actId="47"/>
        <pc:sldMkLst>
          <pc:docMk/>
          <pc:sldMk cId="3888153566" sldId="930"/>
        </pc:sldMkLst>
        <pc:spChg chg="add del mod modVis">
          <ac:chgData name="Nataliia Chornii (UA)" userId="4e4b8b3d-5f31-49bb-9f80-8a25c04abfff" providerId="ADAL" clId="{EE97D3FE-9ACA-4467-98E5-532EC45D9D1C}" dt="2024-03-01T12:44:06.020" v="11168"/>
          <ac:spMkLst>
            <pc:docMk/>
            <pc:sldMk cId="3888153566" sldId="930"/>
            <ac:spMk id="2" creationId="{4D0191AC-CB94-E198-F890-791F0C08677A}"/>
          </ac:spMkLst>
        </pc:spChg>
        <pc:spChg chg="mod ord">
          <ac:chgData name="Nataliia Chornii (UA)" userId="4e4b8b3d-5f31-49bb-9f80-8a25c04abfff" providerId="ADAL" clId="{EE97D3FE-9ACA-4467-98E5-532EC45D9D1C}" dt="2024-03-01T12:50:06.198" v="11629" actId="948"/>
          <ac:spMkLst>
            <pc:docMk/>
            <pc:sldMk cId="3888153566" sldId="930"/>
            <ac:spMk id="3" creationId="{F4CCF02E-F3C4-C376-8F56-61BD85A2E74B}"/>
          </ac:spMkLst>
        </pc:spChg>
        <pc:spChg chg="mod ord">
          <ac:chgData name="Nataliia Chornii (UA)" userId="4e4b8b3d-5f31-49bb-9f80-8a25c04abfff" providerId="ADAL" clId="{EE97D3FE-9ACA-4467-98E5-532EC45D9D1C}" dt="2024-03-01T12:48:14.056" v="11536"/>
          <ac:spMkLst>
            <pc:docMk/>
            <pc:sldMk cId="3888153566" sldId="930"/>
            <ac:spMk id="4" creationId="{872966CD-924A-B939-E655-A6BAF817DCBF}"/>
          </ac:spMkLst>
        </pc:spChg>
        <pc:spChg chg="add del mod ord topLvl">
          <ac:chgData name="Nataliia Chornii (UA)" userId="4e4b8b3d-5f31-49bb-9f80-8a25c04abfff" providerId="ADAL" clId="{EE97D3FE-9ACA-4467-98E5-532EC45D9D1C}" dt="2024-03-01T12:47:07.616" v="11395" actId="478"/>
          <ac:spMkLst>
            <pc:docMk/>
            <pc:sldMk cId="3888153566" sldId="930"/>
            <ac:spMk id="5" creationId="{D8F58FFE-2BDD-A155-DB37-C866E8C978C1}"/>
          </ac:spMkLst>
        </pc:spChg>
        <pc:spChg chg="mod ord">
          <ac:chgData name="Nataliia Chornii (UA)" userId="4e4b8b3d-5f31-49bb-9f80-8a25c04abfff" providerId="ADAL" clId="{EE97D3FE-9ACA-4467-98E5-532EC45D9D1C}" dt="2024-03-01T12:48:14.056" v="11536"/>
          <ac:spMkLst>
            <pc:docMk/>
            <pc:sldMk cId="3888153566" sldId="930"/>
            <ac:spMk id="10" creationId="{6F55AA3F-6103-110B-C367-10711AC49356}"/>
          </ac:spMkLst>
        </pc:spChg>
        <pc:spChg chg="add mod ord">
          <ac:chgData name="Nataliia Chornii (UA)" userId="4e4b8b3d-5f31-49bb-9f80-8a25c04abfff" providerId="ADAL" clId="{EE97D3FE-9ACA-4467-98E5-532EC45D9D1C}" dt="2024-03-01T12:50:50.361" v="11679" actId="1076"/>
          <ac:spMkLst>
            <pc:docMk/>
            <pc:sldMk cId="3888153566" sldId="930"/>
            <ac:spMk id="16" creationId="{F908943B-C266-904B-3454-FC2231E2F170}"/>
          </ac:spMkLst>
        </pc:spChg>
        <pc:spChg chg="add del mod">
          <ac:chgData name="Nataliia Chornii (UA)" userId="4e4b8b3d-5f31-49bb-9f80-8a25c04abfff" providerId="ADAL" clId="{EE97D3FE-9ACA-4467-98E5-532EC45D9D1C}" dt="2024-03-01T12:50:36.977" v="11674" actId="478"/>
          <ac:spMkLst>
            <pc:docMk/>
            <pc:sldMk cId="3888153566" sldId="930"/>
            <ac:spMk id="17" creationId="{726C1634-3CF4-83C0-8814-1E5F79C4BD07}"/>
          </ac:spMkLst>
        </pc:spChg>
        <pc:spChg chg="add mod">
          <ac:chgData name="Nataliia Chornii (UA)" userId="4e4b8b3d-5f31-49bb-9f80-8a25c04abfff" providerId="ADAL" clId="{EE97D3FE-9ACA-4467-98E5-532EC45D9D1C}" dt="2024-03-01T12:51:26.320" v="11689" actId="1037"/>
          <ac:spMkLst>
            <pc:docMk/>
            <pc:sldMk cId="3888153566" sldId="930"/>
            <ac:spMk id="18" creationId="{2852DDF1-0BDD-7DC5-15A3-5F5BF48E2C01}"/>
          </ac:spMkLst>
        </pc:spChg>
        <pc:spChg chg="add del mod modVis">
          <ac:chgData name="Nataliia Chornii (UA)" userId="4e4b8b3d-5f31-49bb-9f80-8a25c04abfff" providerId="ADAL" clId="{EE97D3FE-9ACA-4467-98E5-532EC45D9D1C}" dt="2024-03-01T12:50:04.118" v="11626"/>
          <ac:spMkLst>
            <pc:docMk/>
            <pc:sldMk cId="3888153566" sldId="930"/>
            <ac:spMk id="19" creationId="{CB5AD677-F624-DA29-517E-F880E4A90CC8}"/>
          </ac:spMkLst>
        </pc:spChg>
        <pc:spChg chg="add del mod modVis">
          <ac:chgData name="Nataliia Chornii (UA)" userId="4e4b8b3d-5f31-49bb-9f80-8a25c04abfff" providerId="ADAL" clId="{EE97D3FE-9ACA-4467-98E5-532EC45D9D1C}" dt="2024-03-01T12:50:06.240" v="11664"/>
          <ac:spMkLst>
            <pc:docMk/>
            <pc:sldMk cId="3888153566" sldId="930"/>
            <ac:spMk id="20" creationId="{A20F9336-E891-9338-A209-05A13A057270}"/>
          </ac:spMkLst>
        </pc:spChg>
        <pc:spChg chg="mod ord">
          <ac:chgData name="Nataliia Chornii (UA)" userId="4e4b8b3d-5f31-49bb-9f80-8a25c04abfff" providerId="ADAL" clId="{EE97D3FE-9ACA-4467-98E5-532EC45D9D1C}" dt="2024-03-01T12:48:14.056" v="11536"/>
          <ac:spMkLst>
            <pc:docMk/>
            <pc:sldMk cId="3888153566" sldId="930"/>
            <ac:spMk id="21" creationId="{78DC1799-6B68-492D-BBE0-D7BECB3D58E6}"/>
          </ac:spMkLst>
        </pc:spChg>
        <pc:spChg chg="mod ord">
          <ac:chgData name="Nataliia Chornii (UA)" userId="4e4b8b3d-5f31-49bb-9f80-8a25c04abfff" providerId="ADAL" clId="{EE97D3FE-9ACA-4467-98E5-532EC45D9D1C}" dt="2024-03-01T12:48:14.056" v="11536"/>
          <ac:spMkLst>
            <pc:docMk/>
            <pc:sldMk cId="3888153566" sldId="930"/>
            <ac:spMk id="22" creationId="{8A383B1B-1F96-C467-6BC7-1ACF6506A40E}"/>
          </ac:spMkLst>
        </pc:spChg>
        <pc:spChg chg="add mod">
          <ac:chgData name="Nataliia Chornii (UA)" userId="4e4b8b3d-5f31-49bb-9f80-8a25c04abfff" providerId="ADAL" clId="{EE97D3FE-9ACA-4467-98E5-532EC45D9D1C}" dt="2024-03-01T12:50:56.788" v="11681" actId="1076"/>
          <ac:spMkLst>
            <pc:docMk/>
            <pc:sldMk cId="3888153566" sldId="930"/>
            <ac:spMk id="23" creationId="{C8661E4A-380D-1530-2DEB-20ECF775B25F}"/>
          </ac:spMkLst>
        </pc:spChg>
        <pc:spChg chg="add mod">
          <ac:chgData name="Nataliia Chornii (UA)" userId="4e4b8b3d-5f31-49bb-9f80-8a25c04abfff" providerId="ADAL" clId="{EE97D3FE-9ACA-4467-98E5-532EC45D9D1C}" dt="2024-03-01T12:50:59.673" v="11682" actId="571"/>
          <ac:spMkLst>
            <pc:docMk/>
            <pc:sldMk cId="3888153566" sldId="930"/>
            <ac:spMk id="24" creationId="{7CB9FBD5-D7EF-ACAB-0CA3-234365A7FAAC}"/>
          </ac:spMkLst>
        </pc:spChg>
        <pc:spChg chg="mod ord">
          <ac:chgData name="Nataliia Chornii (UA)" userId="4e4b8b3d-5f31-49bb-9f80-8a25c04abfff" providerId="ADAL" clId="{EE97D3FE-9ACA-4467-98E5-532EC45D9D1C}" dt="2024-03-01T12:48:14.056" v="11536"/>
          <ac:spMkLst>
            <pc:docMk/>
            <pc:sldMk cId="3888153566" sldId="930"/>
            <ac:spMk id="25" creationId="{2B261BF4-92C6-462D-AA95-793AE54DD688}"/>
          </ac:spMkLst>
        </pc:spChg>
        <pc:spChg chg="mod ord">
          <ac:chgData name="Nataliia Chornii (UA)" userId="4e4b8b3d-5f31-49bb-9f80-8a25c04abfff" providerId="ADAL" clId="{EE97D3FE-9ACA-4467-98E5-532EC45D9D1C}" dt="2024-03-01T12:48:14.056" v="11536"/>
          <ac:spMkLst>
            <pc:docMk/>
            <pc:sldMk cId="3888153566" sldId="930"/>
            <ac:spMk id="26" creationId="{5EC1F9AE-82A4-85FE-592B-EF659F76F7EC}"/>
          </ac:spMkLst>
        </pc:spChg>
        <pc:spChg chg="mod ord">
          <ac:chgData name="Nataliia Chornii (UA)" userId="4e4b8b3d-5f31-49bb-9f80-8a25c04abfff" providerId="ADAL" clId="{EE97D3FE-9ACA-4467-98E5-532EC45D9D1C}" dt="2024-03-01T12:48:14.056" v="11536"/>
          <ac:spMkLst>
            <pc:docMk/>
            <pc:sldMk cId="3888153566" sldId="930"/>
            <ac:spMk id="27" creationId="{72D802D4-B169-1594-D931-40179675E33A}"/>
          </ac:spMkLst>
        </pc:spChg>
        <pc:spChg chg="add mod">
          <ac:chgData name="Nataliia Chornii (UA)" userId="4e4b8b3d-5f31-49bb-9f80-8a25c04abfff" providerId="ADAL" clId="{EE97D3FE-9ACA-4467-98E5-532EC45D9D1C}" dt="2024-03-01T12:51:02.808" v="11683" actId="571"/>
          <ac:spMkLst>
            <pc:docMk/>
            <pc:sldMk cId="3888153566" sldId="930"/>
            <ac:spMk id="28" creationId="{B73C6DD6-259D-72A7-73A8-61A654B3BC0D}"/>
          </ac:spMkLst>
        </pc:spChg>
        <pc:spChg chg="mod ord">
          <ac:chgData name="Nataliia Chornii (UA)" userId="4e4b8b3d-5f31-49bb-9f80-8a25c04abfff" providerId="ADAL" clId="{EE97D3FE-9ACA-4467-98E5-532EC45D9D1C}" dt="2024-03-01T12:48:14.056" v="11536"/>
          <ac:spMkLst>
            <pc:docMk/>
            <pc:sldMk cId="3888153566" sldId="930"/>
            <ac:spMk id="29" creationId="{3915AD89-6428-4A75-0915-328643F1703C}"/>
          </ac:spMkLst>
        </pc:spChg>
        <pc:spChg chg="mod ord">
          <ac:chgData name="Nataliia Chornii (UA)" userId="4e4b8b3d-5f31-49bb-9f80-8a25c04abfff" providerId="ADAL" clId="{EE97D3FE-9ACA-4467-98E5-532EC45D9D1C}" dt="2024-03-01T12:48:14.056" v="11536"/>
          <ac:spMkLst>
            <pc:docMk/>
            <pc:sldMk cId="3888153566" sldId="930"/>
            <ac:spMk id="30" creationId="{373AB206-F1F0-CC72-8C15-85605D9AF2AC}"/>
          </ac:spMkLst>
        </pc:spChg>
        <pc:spChg chg="add mod">
          <ac:chgData name="Nataliia Chornii (UA)" userId="4e4b8b3d-5f31-49bb-9f80-8a25c04abfff" providerId="ADAL" clId="{EE97D3FE-9ACA-4467-98E5-532EC45D9D1C}" dt="2024-03-01T12:51:05.997" v="11684" actId="571"/>
          <ac:spMkLst>
            <pc:docMk/>
            <pc:sldMk cId="3888153566" sldId="930"/>
            <ac:spMk id="31" creationId="{BC6E9824-A4F1-7DE4-34FC-F109678A272D}"/>
          </ac:spMkLst>
        </pc:spChg>
        <pc:spChg chg="del">
          <ac:chgData name="Nataliia Chornii (UA)" userId="4e4b8b3d-5f31-49bb-9f80-8a25c04abfff" providerId="ADAL" clId="{EE97D3FE-9ACA-4467-98E5-532EC45D9D1C}" dt="2024-03-01T12:44:02.919" v="11144" actId="478"/>
          <ac:spMkLst>
            <pc:docMk/>
            <pc:sldMk cId="3888153566" sldId="930"/>
            <ac:spMk id="32" creationId="{FB63C400-82C1-C700-1D2B-17C849F124C0}"/>
          </ac:spMkLst>
        </pc:spChg>
        <pc:spChg chg="del">
          <ac:chgData name="Nataliia Chornii (UA)" userId="4e4b8b3d-5f31-49bb-9f80-8a25c04abfff" providerId="ADAL" clId="{EE97D3FE-9ACA-4467-98E5-532EC45D9D1C}" dt="2024-03-01T12:44:02.919" v="11144" actId="478"/>
          <ac:spMkLst>
            <pc:docMk/>
            <pc:sldMk cId="3888153566" sldId="930"/>
            <ac:spMk id="33" creationId="{A4189C25-64A4-3289-336F-F9EC1B83ADCE}"/>
          </ac:spMkLst>
        </pc:spChg>
        <pc:spChg chg="del">
          <ac:chgData name="Nataliia Chornii (UA)" userId="4e4b8b3d-5f31-49bb-9f80-8a25c04abfff" providerId="ADAL" clId="{EE97D3FE-9ACA-4467-98E5-532EC45D9D1C}" dt="2024-03-01T12:44:02.919" v="11144" actId="478"/>
          <ac:spMkLst>
            <pc:docMk/>
            <pc:sldMk cId="3888153566" sldId="930"/>
            <ac:spMk id="34" creationId="{395ADB54-EB2F-6A1C-D561-976CB34F7D25}"/>
          </ac:spMkLst>
        </pc:spChg>
        <pc:spChg chg="del">
          <ac:chgData name="Nataliia Chornii (UA)" userId="4e4b8b3d-5f31-49bb-9f80-8a25c04abfff" providerId="ADAL" clId="{EE97D3FE-9ACA-4467-98E5-532EC45D9D1C}" dt="2024-03-01T12:44:02.919" v="11144" actId="478"/>
          <ac:spMkLst>
            <pc:docMk/>
            <pc:sldMk cId="3888153566" sldId="930"/>
            <ac:spMk id="35" creationId="{95F6B912-06AF-61A2-E8DC-BC5B3BB82471}"/>
          </ac:spMkLst>
        </pc:spChg>
        <pc:spChg chg="del">
          <ac:chgData name="Nataliia Chornii (UA)" userId="4e4b8b3d-5f31-49bb-9f80-8a25c04abfff" providerId="ADAL" clId="{EE97D3FE-9ACA-4467-98E5-532EC45D9D1C}" dt="2024-03-01T12:44:02.919" v="11144" actId="478"/>
          <ac:spMkLst>
            <pc:docMk/>
            <pc:sldMk cId="3888153566" sldId="930"/>
            <ac:spMk id="36" creationId="{DFE7B78B-3579-AD72-FBC9-3EE2DBBE8C07}"/>
          </ac:spMkLst>
        </pc:spChg>
        <pc:spChg chg="del">
          <ac:chgData name="Nataliia Chornii (UA)" userId="4e4b8b3d-5f31-49bb-9f80-8a25c04abfff" providerId="ADAL" clId="{EE97D3FE-9ACA-4467-98E5-532EC45D9D1C}" dt="2024-03-01T12:44:02.919" v="11144" actId="478"/>
          <ac:spMkLst>
            <pc:docMk/>
            <pc:sldMk cId="3888153566" sldId="930"/>
            <ac:spMk id="37" creationId="{739E7498-B313-0181-2BDB-105B1600AE16}"/>
          </ac:spMkLst>
        </pc:spChg>
        <pc:spChg chg="mod ord">
          <ac:chgData name="Nataliia Chornii (UA)" userId="4e4b8b3d-5f31-49bb-9f80-8a25c04abfff" providerId="ADAL" clId="{EE97D3FE-9ACA-4467-98E5-532EC45D9D1C}" dt="2024-03-01T12:48:14.056" v="11536"/>
          <ac:spMkLst>
            <pc:docMk/>
            <pc:sldMk cId="3888153566" sldId="930"/>
            <ac:spMk id="38" creationId="{272900AC-10C3-F441-FC58-31445D62009C}"/>
          </ac:spMkLst>
        </pc:spChg>
        <pc:spChg chg="del">
          <ac:chgData name="Nataliia Chornii (UA)" userId="4e4b8b3d-5f31-49bb-9f80-8a25c04abfff" providerId="ADAL" clId="{EE97D3FE-9ACA-4467-98E5-532EC45D9D1C}" dt="2024-03-01T12:44:02.919" v="11144" actId="478"/>
          <ac:spMkLst>
            <pc:docMk/>
            <pc:sldMk cId="3888153566" sldId="930"/>
            <ac:spMk id="39" creationId="{C91C3C2E-BE8A-495D-5334-7C8FE4266B2C}"/>
          </ac:spMkLst>
        </pc:spChg>
        <pc:spChg chg="del">
          <ac:chgData name="Nataliia Chornii (UA)" userId="4e4b8b3d-5f31-49bb-9f80-8a25c04abfff" providerId="ADAL" clId="{EE97D3FE-9ACA-4467-98E5-532EC45D9D1C}" dt="2024-03-01T12:44:02.919" v="11144" actId="478"/>
          <ac:spMkLst>
            <pc:docMk/>
            <pc:sldMk cId="3888153566" sldId="930"/>
            <ac:spMk id="40" creationId="{30043BD5-616D-7B17-4B98-50FB1B38DF1D}"/>
          </ac:spMkLst>
        </pc:spChg>
        <pc:spChg chg="mod ord">
          <ac:chgData name="Nataliia Chornii (UA)" userId="4e4b8b3d-5f31-49bb-9f80-8a25c04abfff" providerId="ADAL" clId="{EE97D3FE-9ACA-4467-98E5-532EC45D9D1C}" dt="2024-03-01T12:48:14.056" v="11536"/>
          <ac:spMkLst>
            <pc:docMk/>
            <pc:sldMk cId="3888153566" sldId="930"/>
            <ac:spMk id="42" creationId="{50830596-224D-A11D-D251-21B0CA3EB02E}"/>
          </ac:spMkLst>
        </pc:spChg>
        <pc:spChg chg="add mod">
          <ac:chgData name="Nataliia Chornii (UA)" userId="4e4b8b3d-5f31-49bb-9f80-8a25c04abfff" providerId="ADAL" clId="{EE97D3FE-9ACA-4467-98E5-532EC45D9D1C}" dt="2024-03-01T12:51:09.138" v="11685" actId="571"/>
          <ac:spMkLst>
            <pc:docMk/>
            <pc:sldMk cId="3888153566" sldId="930"/>
            <ac:spMk id="43" creationId="{2C097BF4-4EBC-7A01-1054-189AF6B5E6CA}"/>
          </ac:spMkLst>
        </pc:spChg>
        <pc:spChg chg="mod ord">
          <ac:chgData name="Nataliia Chornii (UA)" userId="4e4b8b3d-5f31-49bb-9f80-8a25c04abfff" providerId="ADAL" clId="{EE97D3FE-9ACA-4467-98E5-532EC45D9D1C}" dt="2024-03-01T12:48:14.056" v="11536"/>
          <ac:spMkLst>
            <pc:docMk/>
            <pc:sldMk cId="3888153566" sldId="930"/>
            <ac:spMk id="44" creationId="{37325A5C-F07F-2313-782A-18E3E98D15F0}"/>
          </ac:spMkLst>
        </pc:spChg>
        <pc:spChg chg="mod ord">
          <ac:chgData name="Nataliia Chornii (UA)" userId="4e4b8b3d-5f31-49bb-9f80-8a25c04abfff" providerId="ADAL" clId="{EE97D3FE-9ACA-4467-98E5-532EC45D9D1C}" dt="2024-03-01T12:48:14.056" v="11536"/>
          <ac:spMkLst>
            <pc:docMk/>
            <pc:sldMk cId="3888153566" sldId="930"/>
            <ac:spMk id="45" creationId="{5A4A472A-422C-56F4-A0F5-AE422E82D144}"/>
          </ac:spMkLst>
        </pc:spChg>
        <pc:spChg chg="mod ord">
          <ac:chgData name="Nataliia Chornii (UA)" userId="4e4b8b3d-5f31-49bb-9f80-8a25c04abfff" providerId="ADAL" clId="{EE97D3FE-9ACA-4467-98E5-532EC45D9D1C}" dt="2024-03-01T12:48:14.056" v="11536"/>
          <ac:spMkLst>
            <pc:docMk/>
            <pc:sldMk cId="3888153566" sldId="930"/>
            <ac:spMk id="46" creationId="{09BF84D6-F468-7005-FAB5-AA0B6AE5CFB4}"/>
          </ac:spMkLst>
        </pc:spChg>
        <pc:spChg chg="mod ord topLvl">
          <ac:chgData name="Nataliia Chornii (UA)" userId="4e4b8b3d-5f31-49bb-9f80-8a25c04abfff" providerId="ADAL" clId="{EE97D3FE-9ACA-4467-98E5-532EC45D9D1C}" dt="2024-03-01T12:50:09.222" v="11669" actId="554"/>
          <ac:spMkLst>
            <pc:docMk/>
            <pc:sldMk cId="3888153566" sldId="930"/>
            <ac:spMk id="47" creationId="{53CB8D3C-9648-B17B-BD59-60EED0CCD133}"/>
          </ac:spMkLst>
        </pc:spChg>
        <pc:spChg chg="add mod">
          <ac:chgData name="Nataliia Chornii (UA)" userId="4e4b8b3d-5f31-49bb-9f80-8a25c04abfff" providerId="ADAL" clId="{EE97D3FE-9ACA-4467-98E5-532EC45D9D1C}" dt="2024-03-01T12:51:13.719" v="11686" actId="571"/>
          <ac:spMkLst>
            <pc:docMk/>
            <pc:sldMk cId="3888153566" sldId="930"/>
            <ac:spMk id="48" creationId="{9E9036DA-4B46-0D5A-1D92-8FCB1111AFF9}"/>
          </ac:spMkLst>
        </pc:spChg>
        <pc:spChg chg="mod ord">
          <ac:chgData name="Nataliia Chornii (UA)" userId="4e4b8b3d-5f31-49bb-9f80-8a25c04abfff" providerId="ADAL" clId="{EE97D3FE-9ACA-4467-98E5-532EC45D9D1C}" dt="2024-03-01T12:48:14.056" v="11536"/>
          <ac:spMkLst>
            <pc:docMk/>
            <pc:sldMk cId="3888153566" sldId="930"/>
            <ac:spMk id="49" creationId="{DED3BED4-139F-CB4F-0A7B-7B90211550F4}"/>
          </ac:spMkLst>
        </pc:spChg>
        <pc:spChg chg="add mod">
          <ac:chgData name="Nataliia Chornii (UA)" userId="4e4b8b3d-5f31-49bb-9f80-8a25c04abfff" providerId="ADAL" clId="{EE97D3FE-9ACA-4467-98E5-532EC45D9D1C}" dt="2024-03-01T12:52:09.011" v="11702" actId="207"/>
          <ac:spMkLst>
            <pc:docMk/>
            <pc:sldMk cId="3888153566" sldId="930"/>
            <ac:spMk id="50" creationId="{61121769-21A2-D009-3D52-F0E0C6592564}"/>
          </ac:spMkLst>
        </pc:spChg>
        <pc:spChg chg="add mod">
          <ac:chgData name="Nataliia Chornii (UA)" userId="4e4b8b3d-5f31-49bb-9f80-8a25c04abfff" providerId="ADAL" clId="{EE97D3FE-9ACA-4467-98E5-532EC45D9D1C}" dt="2024-03-01T12:51:48.655" v="11698" actId="465"/>
          <ac:spMkLst>
            <pc:docMk/>
            <pc:sldMk cId="3888153566" sldId="930"/>
            <ac:spMk id="51" creationId="{3997DF34-76F2-6AE1-A0C4-827982A6B07F}"/>
          </ac:spMkLst>
        </pc:spChg>
        <pc:spChg chg="add mod">
          <ac:chgData name="Nataliia Chornii (UA)" userId="4e4b8b3d-5f31-49bb-9f80-8a25c04abfff" providerId="ADAL" clId="{EE97D3FE-9ACA-4467-98E5-532EC45D9D1C}" dt="2024-03-01T12:52:09.011" v="11702" actId="207"/>
          <ac:spMkLst>
            <pc:docMk/>
            <pc:sldMk cId="3888153566" sldId="930"/>
            <ac:spMk id="52" creationId="{46DDC8D3-270D-6902-464D-024C2818DB76}"/>
          </ac:spMkLst>
        </pc:spChg>
        <pc:spChg chg="add mod">
          <ac:chgData name="Nataliia Chornii (UA)" userId="4e4b8b3d-5f31-49bb-9f80-8a25c04abfff" providerId="ADAL" clId="{EE97D3FE-9ACA-4467-98E5-532EC45D9D1C}" dt="2024-03-01T12:51:48.655" v="11698" actId="465"/>
          <ac:spMkLst>
            <pc:docMk/>
            <pc:sldMk cId="3888153566" sldId="930"/>
            <ac:spMk id="53" creationId="{8C783681-E821-3CF5-13F3-E6CFD02BD8C7}"/>
          </ac:spMkLst>
        </pc:spChg>
        <pc:spChg chg="add mod">
          <ac:chgData name="Nataliia Chornii (UA)" userId="4e4b8b3d-5f31-49bb-9f80-8a25c04abfff" providerId="ADAL" clId="{EE97D3FE-9ACA-4467-98E5-532EC45D9D1C}" dt="2024-03-01T12:52:09.011" v="11702" actId="207"/>
          <ac:spMkLst>
            <pc:docMk/>
            <pc:sldMk cId="3888153566" sldId="930"/>
            <ac:spMk id="54" creationId="{07D1BC64-6A12-CC92-BB16-BD158E162656}"/>
          </ac:spMkLst>
        </pc:spChg>
        <pc:spChg chg="add mod">
          <ac:chgData name="Nataliia Chornii (UA)" userId="4e4b8b3d-5f31-49bb-9f80-8a25c04abfff" providerId="ADAL" clId="{EE97D3FE-9ACA-4467-98E5-532EC45D9D1C}" dt="2024-03-01T12:51:48.655" v="11698" actId="465"/>
          <ac:spMkLst>
            <pc:docMk/>
            <pc:sldMk cId="3888153566" sldId="930"/>
            <ac:spMk id="55" creationId="{8C097EE3-F6C4-6234-3083-E71D5EA8DD39}"/>
          </ac:spMkLst>
        </pc:spChg>
        <pc:spChg chg="add mod">
          <ac:chgData name="Nataliia Chornii (UA)" userId="4e4b8b3d-5f31-49bb-9f80-8a25c04abfff" providerId="ADAL" clId="{EE97D3FE-9ACA-4467-98E5-532EC45D9D1C}" dt="2024-03-01T12:52:09.011" v="11702" actId="207"/>
          <ac:spMkLst>
            <pc:docMk/>
            <pc:sldMk cId="3888153566" sldId="930"/>
            <ac:spMk id="56" creationId="{ECBD8D0F-9B63-C8A0-20CA-AFF76EDDBA2A}"/>
          </ac:spMkLst>
        </pc:spChg>
        <pc:spChg chg="mod ord">
          <ac:chgData name="Nataliia Chornii (UA)" userId="4e4b8b3d-5f31-49bb-9f80-8a25c04abfff" providerId="ADAL" clId="{EE97D3FE-9ACA-4467-98E5-532EC45D9D1C}" dt="2024-03-01T12:51:59.190" v="11700" actId="207"/>
          <ac:spMkLst>
            <pc:docMk/>
            <pc:sldMk cId="3888153566" sldId="930"/>
            <ac:spMk id="61" creationId="{2A14CA01-2350-21C6-16E6-E9CEAF43B441}"/>
          </ac:spMkLst>
        </pc:spChg>
        <pc:spChg chg="mod ord">
          <ac:chgData name="Nataliia Chornii (UA)" userId="4e4b8b3d-5f31-49bb-9f80-8a25c04abfff" providerId="ADAL" clId="{EE97D3FE-9ACA-4467-98E5-532EC45D9D1C}" dt="2024-03-01T12:52:04.100" v="11701" actId="207"/>
          <ac:spMkLst>
            <pc:docMk/>
            <pc:sldMk cId="3888153566" sldId="930"/>
            <ac:spMk id="64" creationId="{19794A8F-A922-1A21-17E6-1B4B21C8F596}"/>
          </ac:spMkLst>
        </pc:spChg>
        <pc:spChg chg="mod ord">
          <ac:chgData name="Nataliia Chornii (UA)" userId="4e4b8b3d-5f31-49bb-9f80-8a25c04abfff" providerId="ADAL" clId="{EE97D3FE-9ACA-4467-98E5-532EC45D9D1C}" dt="2024-03-01T12:51:59.190" v="11700" actId="207"/>
          <ac:spMkLst>
            <pc:docMk/>
            <pc:sldMk cId="3888153566" sldId="930"/>
            <ac:spMk id="67" creationId="{173D6274-53F8-0DD4-4E9A-1018104D2DCB}"/>
          </ac:spMkLst>
        </pc:spChg>
        <pc:spChg chg="mod ord">
          <ac:chgData name="Nataliia Chornii (UA)" userId="4e4b8b3d-5f31-49bb-9f80-8a25c04abfff" providerId="ADAL" clId="{EE97D3FE-9ACA-4467-98E5-532EC45D9D1C}" dt="2024-03-01T12:48:14.056" v="11536"/>
          <ac:spMkLst>
            <pc:docMk/>
            <pc:sldMk cId="3888153566" sldId="930"/>
            <ac:spMk id="70" creationId="{8E071A3F-2B5A-7CD2-907D-0A46168AC360}"/>
          </ac:spMkLst>
        </pc:spChg>
        <pc:spChg chg="mod ord">
          <ac:chgData name="Nataliia Chornii (UA)" userId="4e4b8b3d-5f31-49bb-9f80-8a25c04abfff" providerId="ADAL" clId="{EE97D3FE-9ACA-4467-98E5-532EC45D9D1C}" dt="2024-03-01T12:49:08.980" v="11550" actId="207"/>
          <ac:spMkLst>
            <pc:docMk/>
            <pc:sldMk cId="3888153566" sldId="930"/>
            <ac:spMk id="73" creationId="{F861E25B-F987-831A-A602-44A1BC3C9C06}"/>
          </ac:spMkLst>
        </pc:spChg>
        <pc:spChg chg="mod ord">
          <ac:chgData name="Nataliia Chornii (UA)" userId="4e4b8b3d-5f31-49bb-9f80-8a25c04abfff" providerId="ADAL" clId="{EE97D3FE-9ACA-4467-98E5-532EC45D9D1C}" dt="2024-03-01T12:52:04.100" v="11701" actId="207"/>
          <ac:spMkLst>
            <pc:docMk/>
            <pc:sldMk cId="3888153566" sldId="930"/>
            <ac:spMk id="76" creationId="{48C1CD32-80B1-493D-9426-7B73B4755484}"/>
          </ac:spMkLst>
        </pc:spChg>
        <pc:spChg chg="mod ord">
          <ac:chgData name="Nataliia Chornii (UA)" userId="4e4b8b3d-5f31-49bb-9f80-8a25c04abfff" providerId="ADAL" clId="{EE97D3FE-9ACA-4467-98E5-532EC45D9D1C}" dt="2024-03-01T12:51:59.190" v="11700" actId="207"/>
          <ac:spMkLst>
            <pc:docMk/>
            <pc:sldMk cId="3888153566" sldId="930"/>
            <ac:spMk id="79" creationId="{84ACD26B-9585-F3C8-8179-0329BA741C8A}"/>
          </ac:spMkLst>
        </pc:spChg>
        <pc:spChg chg="mod ord">
          <ac:chgData name="Nataliia Chornii (UA)" userId="4e4b8b3d-5f31-49bb-9f80-8a25c04abfff" providerId="ADAL" clId="{EE97D3FE-9ACA-4467-98E5-532EC45D9D1C}" dt="2024-03-01T12:48:14.056" v="11536"/>
          <ac:spMkLst>
            <pc:docMk/>
            <pc:sldMk cId="3888153566" sldId="930"/>
            <ac:spMk id="100" creationId="{6196419E-02BA-D21D-1546-F1EC7C2A2D38}"/>
          </ac:spMkLst>
        </pc:spChg>
        <pc:spChg chg="mod ord">
          <ac:chgData name="Nataliia Chornii (UA)" userId="4e4b8b3d-5f31-49bb-9f80-8a25c04abfff" providerId="ADAL" clId="{EE97D3FE-9ACA-4467-98E5-532EC45D9D1C}" dt="2024-03-01T12:48:14.056" v="11536"/>
          <ac:spMkLst>
            <pc:docMk/>
            <pc:sldMk cId="3888153566" sldId="930"/>
            <ac:spMk id="101" creationId="{9ECA4B5E-E4A7-485E-4742-A7A24FB938CD}"/>
          </ac:spMkLst>
        </pc:spChg>
        <pc:spChg chg="mod ord">
          <ac:chgData name="Nataliia Chornii (UA)" userId="4e4b8b3d-5f31-49bb-9f80-8a25c04abfff" providerId="ADAL" clId="{EE97D3FE-9ACA-4467-98E5-532EC45D9D1C}" dt="2024-03-01T12:48:14.056" v="11536"/>
          <ac:spMkLst>
            <pc:docMk/>
            <pc:sldMk cId="3888153566" sldId="930"/>
            <ac:spMk id="102" creationId="{6C2839D0-72C0-7347-1A1F-A4C976165D3B}"/>
          </ac:spMkLst>
        </pc:spChg>
        <pc:spChg chg="mod ord">
          <ac:chgData name="Nataliia Chornii (UA)" userId="4e4b8b3d-5f31-49bb-9f80-8a25c04abfff" providerId="ADAL" clId="{EE97D3FE-9ACA-4467-98E5-532EC45D9D1C}" dt="2024-03-01T12:48:14.056" v="11536"/>
          <ac:spMkLst>
            <pc:docMk/>
            <pc:sldMk cId="3888153566" sldId="930"/>
            <ac:spMk id="103" creationId="{20162A1E-1272-A65F-9743-08A1C56CDD8F}"/>
          </ac:spMkLst>
        </pc:spChg>
        <pc:spChg chg="mod ord">
          <ac:chgData name="Nataliia Chornii (UA)" userId="4e4b8b3d-5f31-49bb-9f80-8a25c04abfff" providerId="ADAL" clId="{EE97D3FE-9ACA-4467-98E5-532EC45D9D1C}" dt="2024-03-01T12:48:14.056" v="11536"/>
          <ac:spMkLst>
            <pc:docMk/>
            <pc:sldMk cId="3888153566" sldId="930"/>
            <ac:spMk id="104" creationId="{C489AEBB-7FB2-EC1A-2DC3-18B08D331418}"/>
          </ac:spMkLst>
        </pc:spChg>
        <pc:spChg chg="mod ord">
          <ac:chgData name="Nataliia Chornii (UA)" userId="4e4b8b3d-5f31-49bb-9f80-8a25c04abfff" providerId="ADAL" clId="{EE97D3FE-9ACA-4467-98E5-532EC45D9D1C}" dt="2024-03-01T12:48:14.056" v="11536"/>
          <ac:spMkLst>
            <pc:docMk/>
            <pc:sldMk cId="3888153566" sldId="930"/>
            <ac:spMk id="107" creationId="{5E4C4BD5-129E-6AAF-672B-2CE5A9EA1809}"/>
          </ac:spMkLst>
        </pc:spChg>
        <pc:spChg chg="mod ord">
          <ac:chgData name="Nataliia Chornii (UA)" userId="4e4b8b3d-5f31-49bb-9f80-8a25c04abfff" providerId="ADAL" clId="{EE97D3FE-9ACA-4467-98E5-532EC45D9D1C}" dt="2024-03-01T12:48:14.056" v="11536"/>
          <ac:spMkLst>
            <pc:docMk/>
            <pc:sldMk cId="3888153566" sldId="930"/>
            <ac:spMk id="108" creationId="{374ED229-16EB-16FE-4EEB-6C75D32758A7}"/>
          </ac:spMkLst>
        </pc:spChg>
        <pc:grpChg chg="add del mod">
          <ac:chgData name="Nataliia Chornii (UA)" userId="4e4b8b3d-5f31-49bb-9f80-8a25c04abfff" providerId="ADAL" clId="{EE97D3FE-9ACA-4467-98E5-532EC45D9D1C}" dt="2024-03-01T12:46:23.187" v="11216" actId="165"/>
          <ac:grpSpMkLst>
            <pc:docMk/>
            <pc:sldMk cId="3888153566" sldId="930"/>
            <ac:grpSpMk id="8" creationId="{B5ACC0DB-2997-B4F6-C396-4E485721259C}"/>
          </ac:grpSpMkLst>
        </pc:grpChg>
        <pc:graphicFrameChg chg="mod">
          <ac:chgData name="Nataliia Chornii (UA)" userId="4e4b8b3d-5f31-49bb-9f80-8a25c04abfff" providerId="ADAL" clId="{EE97D3FE-9ACA-4467-98E5-532EC45D9D1C}" dt="2024-03-01T12:50:06.240" v="11666"/>
          <ac:graphicFrameMkLst>
            <pc:docMk/>
            <pc:sldMk cId="3888153566" sldId="930"/>
            <ac:graphicFrameMk id="12" creationId="{F6E6AF23-7B86-113A-F559-513B41FEC1FE}"/>
          </ac:graphicFrameMkLst>
        </pc:graphicFrameChg>
        <pc:picChg chg="mod ord">
          <ac:chgData name="Nataliia Chornii (UA)" userId="4e4b8b3d-5f31-49bb-9f80-8a25c04abfff" providerId="ADAL" clId="{EE97D3FE-9ACA-4467-98E5-532EC45D9D1C}" dt="2024-03-01T12:48:14.056" v="11536"/>
          <ac:picMkLst>
            <pc:docMk/>
            <pc:sldMk cId="3888153566" sldId="930"/>
            <ac:picMk id="41" creationId="{7CAE88F2-0719-E8A4-5A3E-39E39CF155A6}"/>
          </ac:picMkLst>
        </pc:picChg>
        <pc:cxnChg chg="mod ord">
          <ac:chgData name="Nataliia Chornii (UA)" userId="4e4b8b3d-5f31-49bb-9f80-8a25c04abfff" providerId="ADAL" clId="{EE97D3FE-9ACA-4467-98E5-532EC45D9D1C}" dt="2024-03-01T12:48:14.056" v="11536"/>
          <ac:cxnSpMkLst>
            <pc:docMk/>
            <pc:sldMk cId="3888153566" sldId="930"/>
            <ac:cxnSpMk id="6" creationId="{B3733624-6466-BD41-3C49-71F64E87C523}"/>
          </ac:cxnSpMkLst>
        </pc:cxnChg>
        <pc:cxnChg chg="mod ord">
          <ac:chgData name="Nataliia Chornii (UA)" userId="4e4b8b3d-5f31-49bb-9f80-8a25c04abfff" providerId="ADAL" clId="{EE97D3FE-9ACA-4467-98E5-532EC45D9D1C}" dt="2024-03-01T12:48:14.056" v="11536"/>
          <ac:cxnSpMkLst>
            <pc:docMk/>
            <pc:sldMk cId="3888153566" sldId="930"/>
            <ac:cxnSpMk id="7" creationId="{5A2159BA-60F1-B7B5-DA22-2E5D2C4A8574}"/>
          </ac:cxnSpMkLst>
        </pc:cxnChg>
        <pc:cxnChg chg="mod ord">
          <ac:chgData name="Nataliia Chornii (UA)" userId="4e4b8b3d-5f31-49bb-9f80-8a25c04abfff" providerId="ADAL" clId="{EE97D3FE-9ACA-4467-98E5-532EC45D9D1C}" dt="2024-03-01T12:48:14.056" v="11536"/>
          <ac:cxnSpMkLst>
            <pc:docMk/>
            <pc:sldMk cId="3888153566" sldId="930"/>
            <ac:cxnSpMk id="9" creationId="{CBCFB46D-F848-5D86-81ED-08C2DDBD6018}"/>
          </ac:cxnSpMkLst>
        </pc:cxnChg>
        <pc:cxnChg chg="mod ord">
          <ac:chgData name="Nataliia Chornii (UA)" userId="4e4b8b3d-5f31-49bb-9f80-8a25c04abfff" providerId="ADAL" clId="{EE97D3FE-9ACA-4467-98E5-532EC45D9D1C}" dt="2024-03-01T12:48:14.056" v="11536"/>
          <ac:cxnSpMkLst>
            <pc:docMk/>
            <pc:sldMk cId="3888153566" sldId="930"/>
            <ac:cxnSpMk id="11" creationId="{A04A74A1-0026-74F8-2A50-1E9075544CF3}"/>
          </ac:cxnSpMkLst>
        </pc:cxnChg>
        <pc:cxnChg chg="mod ord">
          <ac:chgData name="Nataliia Chornii (UA)" userId="4e4b8b3d-5f31-49bb-9f80-8a25c04abfff" providerId="ADAL" clId="{EE97D3FE-9ACA-4467-98E5-532EC45D9D1C}" dt="2024-03-01T12:48:14.056" v="11536"/>
          <ac:cxnSpMkLst>
            <pc:docMk/>
            <pc:sldMk cId="3888153566" sldId="930"/>
            <ac:cxnSpMk id="13" creationId="{CB152EF5-0E28-D564-BA70-371799026C17}"/>
          </ac:cxnSpMkLst>
        </pc:cxnChg>
        <pc:cxnChg chg="mod ord">
          <ac:chgData name="Nataliia Chornii (UA)" userId="4e4b8b3d-5f31-49bb-9f80-8a25c04abfff" providerId="ADAL" clId="{EE97D3FE-9ACA-4467-98E5-532EC45D9D1C}" dt="2024-03-01T12:48:14.056" v="11536"/>
          <ac:cxnSpMkLst>
            <pc:docMk/>
            <pc:sldMk cId="3888153566" sldId="930"/>
            <ac:cxnSpMk id="14" creationId="{FEF121C9-BA2C-579A-87E4-3935103FF4BC}"/>
          </ac:cxnSpMkLst>
        </pc:cxnChg>
        <pc:cxnChg chg="mod ord">
          <ac:chgData name="Nataliia Chornii (UA)" userId="4e4b8b3d-5f31-49bb-9f80-8a25c04abfff" providerId="ADAL" clId="{EE97D3FE-9ACA-4467-98E5-532EC45D9D1C}" dt="2024-03-01T12:48:14.056" v="11536"/>
          <ac:cxnSpMkLst>
            <pc:docMk/>
            <pc:sldMk cId="3888153566" sldId="930"/>
            <ac:cxnSpMk id="15" creationId="{3DE31210-26C3-2A63-15ED-FE32524A997D}"/>
          </ac:cxnSpMkLst>
        </pc:cxnChg>
      </pc:sldChg>
      <pc:sldChg chg="addSp delSp modSp mod modShow">
        <pc:chgData name="Nataliia Chornii (UA)" userId="4e4b8b3d-5f31-49bb-9f80-8a25c04abfff" providerId="ADAL" clId="{EE97D3FE-9ACA-4467-98E5-532EC45D9D1C}" dt="2024-03-11T14:28:52.619" v="24176" actId="14100"/>
        <pc:sldMkLst>
          <pc:docMk/>
          <pc:sldMk cId="3431578971" sldId="931"/>
        </pc:sldMkLst>
        <pc:spChg chg="mod ord">
          <ac:chgData name="Nataliia Chornii (UA)" userId="4e4b8b3d-5f31-49bb-9f80-8a25c04abfff" providerId="ADAL" clId="{EE97D3FE-9ACA-4467-98E5-532EC45D9D1C}" dt="2024-03-01T14:51:53.848" v="15824" actId="1076"/>
          <ac:spMkLst>
            <pc:docMk/>
            <pc:sldMk cId="3431578971" sldId="931"/>
            <ac:spMk id="2" creationId="{6CA1ECBA-9098-2617-476E-BB53C42ACEE3}"/>
          </ac:spMkLst>
        </pc:spChg>
        <pc:spChg chg="mod ord">
          <ac:chgData name="Nataliia Chornii (UA)" userId="4e4b8b3d-5f31-49bb-9f80-8a25c04abfff" providerId="ADAL" clId="{EE97D3FE-9ACA-4467-98E5-532EC45D9D1C}" dt="2024-03-11T14:28:39.719" v="24140" actId="948"/>
          <ac:spMkLst>
            <pc:docMk/>
            <pc:sldMk cId="3431578971" sldId="931"/>
            <ac:spMk id="3" creationId="{F4CCF02E-F3C4-C376-8F56-61BD85A2E74B}"/>
          </ac:spMkLst>
        </pc:spChg>
        <pc:spChg chg="mod ord">
          <ac:chgData name="Nataliia Chornii (UA)" userId="4e4b8b3d-5f31-49bb-9f80-8a25c04abfff" providerId="ADAL" clId="{EE97D3FE-9ACA-4467-98E5-532EC45D9D1C}" dt="2024-03-01T14:14:10.613" v="14094"/>
          <ac:spMkLst>
            <pc:docMk/>
            <pc:sldMk cId="3431578971" sldId="931"/>
            <ac:spMk id="4" creationId="{872966CD-924A-B939-E655-A6BAF817DCBF}"/>
          </ac:spMkLst>
        </pc:spChg>
        <pc:spChg chg="add mod">
          <ac:chgData name="Nataliia Chornii (UA)" userId="4e4b8b3d-5f31-49bb-9f80-8a25c04abfff" providerId="ADAL" clId="{EE97D3FE-9ACA-4467-98E5-532EC45D9D1C}" dt="2024-03-04T08:45:22.679" v="17514" actId="553"/>
          <ac:spMkLst>
            <pc:docMk/>
            <pc:sldMk cId="3431578971" sldId="931"/>
            <ac:spMk id="5" creationId="{24043397-1676-6167-2BCF-94B9BF536C60}"/>
          </ac:spMkLst>
        </pc:spChg>
        <pc:spChg chg="add del mod modVis">
          <ac:chgData name="Nataliia Chornii (UA)" userId="4e4b8b3d-5f31-49bb-9f80-8a25c04abfff" providerId="ADAL" clId="{EE97D3FE-9ACA-4467-98E5-532EC45D9D1C}" dt="2024-03-04T08:45:15.935" v="17500"/>
          <ac:spMkLst>
            <pc:docMk/>
            <pc:sldMk cId="3431578971" sldId="931"/>
            <ac:spMk id="8" creationId="{0263EF45-10C7-16EC-E88A-1362F99D2328}"/>
          </ac:spMkLst>
        </pc:spChg>
        <pc:spChg chg="add mod">
          <ac:chgData name="Nataliia Chornii (UA)" userId="4e4b8b3d-5f31-49bb-9f80-8a25c04abfff" providerId="ADAL" clId="{EE97D3FE-9ACA-4467-98E5-532EC45D9D1C}" dt="2024-03-11T14:25:43.872" v="24080"/>
          <ac:spMkLst>
            <pc:docMk/>
            <pc:sldMk cId="3431578971" sldId="931"/>
            <ac:spMk id="8" creationId="{3E1B33AD-40C6-3992-E0C2-7519E160295A}"/>
          </ac:spMkLst>
        </pc:spChg>
        <pc:spChg chg="del mod ord">
          <ac:chgData name="Nataliia Chornii (UA)" userId="4e4b8b3d-5f31-49bb-9f80-8a25c04abfff" providerId="ADAL" clId="{EE97D3FE-9ACA-4467-98E5-532EC45D9D1C}" dt="2024-03-01T15:19:12.291" v="16983" actId="478"/>
          <ac:spMkLst>
            <pc:docMk/>
            <pc:sldMk cId="3431578971" sldId="931"/>
            <ac:spMk id="10" creationId="{6F55AA3F-6103-110B-C367-10711AC49356}"/>
          </ac:spMkLst>
        </pc:spChg>
        <pc:spChg chg="mod">
          <ac:chgData name="Nataliia Chornii (UA)" userId="4e4b8b3d-5f31-49bb-9f80-8a25c04abfff" providerId="ADAL" clId="{EE97D3FE-9ACA-4467-98E5-532EC45D9D1C}" dt="2024-03-11T14:25:43.872" v="24080"/>
          <ac:spMkLst>
            <pc:docMk/>
            <pc:sldMk cId="3431578971" sldId="931"/>
            <ac:spMk id="16" creationId="{6E96110A-895D-143A-EB76-4DB46538EA41}"/>
          </ac:spMkLst>
        </pc:spChg>
        <pc:spChg chg="mod ord">
          <ac:chgData name="Nataliia Chornii (UA)" userId="4e4b8b3d-5f31-49bb-9f80-8a25c04abfff" providerId="ADAL" clId="{EE97D3FE-9ACA-4467-98E5-532EC45D9D1C}" dt="2024-03-01T14:51:59.229" v="15826" actId="465"/>
          <ac:spMkLst>
            <pc:docMk/>
            <pc:sldMk cId="3431578971" sldId="931"/>
            <ac:spMk id="17" creationId="{1B3B2816-7084-FA8B-9573-B5304273EF81}"/>
          </ac:spMkLst>
        </pc:spChg>
        <pc:spChg chg="add del mod modVis">
          <ac:chgData name="Nataliia Chornii (UA)" userId="4e4b8b3d-5f31-49bb-9f80-8a25c04abfff" providerId="ADAL" clId="{EE97D3FE-9ACA-4467-98E5-532EC45D9D1C}" dt="2024-03-01T14:10:02.296" v="13885"/>
          <ac:spMkLst>
            <pc:docMk/>
            <pc:sldMk cId="3431578971" sldId="931"/>
            <ac:spMk id="18" creationId="{FAE4DD5A-FF3C-FEA2-5765-9357D0E00539}"/>
          </ac:spMkLst>
        </pc:spChg>
        <pc:spChg chg="mod">
          <ac:chgData name="Nataliia Chornii (UA)" userId="4e4b8b3d-5f31-49bb-9f80-8a25c04abfff" providerId="ADAL" clId="{EE97D3FE-9ACA-4467-98E5-532EC45D9D1C}" dt="2024-03-11T14:25:43.872" v="24080"/>
          <ac:spMkLst>
            <pc:docMk/>
            <pc:sldMk cId="3431578971" sldId="931"/>
            <ac:spMk id="18" creationId="{FD14261E-CBDA-FA05-1BAA-CF7B902A24CD}"/>
          </ac:spMkLst>
        </pc:spChg>
        <pc:spChg chg="mod">
          <ac:chgData name="Nataliia Chornii (UA)" userId="4e4b8b3d-5f31-49bb-9f80-8a25c04abfff" providerId="ADAL" clId="{EE97D3FE-9ACA-4467-98E5-532EC45D9D1C}" dt="2024-03-11T14:25:43.872" v="24080"/>
          <ac:spMkLst>
            <pc:docMk/>
            <pc:sldMk cId="3431578971" sldId="931"/>
            <ac:spMk id="19" creationId="{D9DC4DBD-8CE5-CBB7-CC9F-9CC6FC5C8D09}"/>
          </ac:spMkLst>
        </pc:spChg>
        <pc:spChg chg="mod ord">
          <ac:chgData name="Nataliia Chornii (UA)" userId="4e4b8b3d-5f31-49bb-9f80-8a25c04abfff" providerId="ADAL" clId="{EE97D3FE-9ACA-4467-98E5-532EC45D9D1C}" dt="2024-03-01T14:51:26.431" v="15816" actId="555"/>
          <ac:spMkLst>
            <pc:docMk/>
            <pc:sldMk cId="3431578971" sldId="931"/>
            <ac:spMk id="21" creationId="{78DC1799-6B68-492D-BBE0-D7BECB3D58E6}"/>
          </ac:spMkLst>
        </pc:spChg>
        <pc:spChg chg="mod">
          <ac:chgData name="Nataliia Chornii (UA)" userId="4e4b8b3d-5f31-49bb-9f80-8a25c04abfff" providerId="ADAL" clId="{EE97D3FE-9ACA-4467-98E5-532EC45D9D1C}" dt="2024-03-11T14:25:43.872" v="24080"/>
          <ac:spMkLst>
            <pc:docMk/>
            <pc:sldMk cId="3431578971" sldId="931"/>
            <ac:spMk id="22" creationId="{7CE1B8D0-9D45-1E35-5DA0-AAF347446E12}"/>
          </ac:spMkLst>
        </pc:spChg>
        <pc:spChg chg="del mod ord">
          <ac:chgData name="Nataliia Chornii (UA)" userId="4e4b8b3d-5f31-49bb-9f80-8a25c04abfff" providerId="ADAL" clId="{EE97D3FE-9ACA-4467-98E5-532EC45D9D1C}" dt="2024-03-01T14:14:37.765" v="14189" actId="478"/>
          <ac:spMkLst>
            <pc:docMk/>
            <pc:sldMk cId="3431578971" sldId="931"/>
            <ac:spMk id="22" creationId="{8A383B1B-1F96-C467-6BC7-1ACF6506A40E}"/>
          </ac:spMkLst>
        </pc:spChg>
        <pc:spChg chg="add mod ord">
          <ac:chgData name="Nataliia Chornii (UA)" userId="4e4b8b3d-5f31-49bb-9f80-8a25c04abfff" providerId="ADAL" clId="{EE97D3FE-9ACA-4467-98E5-532EC45D9D1C}" dt="2024-03-01T14:51:34.269" v="15819" actId="12789"/>
          <ac:spMkLst>
            <pc:docMk/>
            <pc:sldMk cId="3431578971" sldId="931"/>
            <ac:spMk id="23" creationId="{AF01EC8D-5F48-32D6-594A-E45D62E76E38}"/>
          </ac:spMkLst>
        </pc:spChg>
        <pc:spChg chg="add del mod">
          <ac:chgData name="Nataliia Chornii (UA)" userId="4e4b8b3d-5f31-49bb-9f80-8a25c04abfff" providerId="ADAL" clId="{EE97D3FE-9ACA-4467-98E5-532EC45D9D1C}" dt="2024-03-01T14:12:52.618" v="13962" actId="478"/>
          <ac:spMkLst>
            <pc:docMk/>
            <pc:sldMk cId="3431578971" sldId="931"/>
            <ac:spMk id="24" creationId="{23FE492F-CC43-7842-9E5C-F1272278010F}"/>
          </ac:spMkLst>
        </pc:spChg>
        <pc:spChg chg="mod">
          <ac:chgData name="Nataliia Chornii (UA)" userId="4e4b8b3d-5f31-49bb-9f80-8a25c04abfff" providerId="ADAL" clId="{EE97D3FE-9ACA-4467-98E5-532EC45D9D1C}" dt="2024-03-11T14:25:43.872" v="24080"/>
          <ac:spMkLst>
            <pc:docMk/>
            <pc:sldMk cId="3431578971" sldId="931"/>
            <ac:spMk id="24" creationId="{DADAC315-E73E-4258-E5CD-F4E424D8C890}"/>
          </ac:spMkLst>
        </pc:spChg>
        <pc:spChg chg="mod ord">
          <ac:chgData name="Nataliia Chornii (UA)" userId="4e4b8b3d-5f31-49bb-9f80-8a25c04abfff" providerId="ADAL" clId="{EE97D3FE-9ACA-4467-98E5-532EC45D9D1C}" dt="2024-03-01T14:51:08.576" v="15809" actId="555"/>
          <ac:spMkLst>
            <pc:docMk/>
            <pc:sldMk cId="3431578971" sldId="931"/>
            <ac:spMk id="25" creationId="{2B261BF4-92C6-462D-AA95-793AE54DD688}"/>
          </ac:spMkLst>
        </pc:spChg>
        <pc:spChg chg="add del mod ord">
          <ac:chgData name="Nataliia Chornii (UA)" userId="4e4b8b3d-5f31-49bb-9f80-8a25c04abfff" providerId="ADAL" clId="{EE97D3FE-9ACA-4467-98E5-532EC45D9D1C}" dt="2024-03-01T14:49:56.252" v="15782" actId="478"/>
          <ac:spMkLst>
            <pc:docMk/>
            <pc:sldMk cId="3431578971" sldId="931"/>
            <ac:spMk id="26" creationId="{5EC1F9AE-82A4-85FE-592B-EF659F76F7EC}"/>
          </ac:spMkLst>
        </pc:spChg>
        <pc:spChg chg="add del mod ord">
          <ac:chgData name="Nataliia Chornii (UA)" userId="4e4b8b3d-5f31-49bb-9f80-8a25c04abfff" providerId="ADAL" clId="{EE97D3FE-9ACA-4467-98E5-532EC45D9D1C}" dt="2024-03-01T14:49:56.252" v="15782" actId="478"/>
          <ac:spMkLst>
            <pc:docMk/>
            <pc:sldMk cId="3431578971" sldId="931"/>
            <ac:spMk id="27" creationId="{72D802D4-B169-1594-D931-40179675E33A}"/>
          </ac:spMkLst>
        </pc:spChg>
        <pc:spChg chg="mod">
          <ac:chgData name="Nataliia Chornii (UA)" userId="4e4b8b3d-5f31-49bb-9f80-8a25c04abfff" providerId="ADAL" clId="{EE97D3FE-9ACA-4467-98E5-532EC45D9D1C}" dt="2024-03-11T14:25:43.872" v="24080"/>
          <ac:spMkLst>
            <pc:docMk/>
            <pc:sldMk cId="3431578971" sldId="931"/>
            <ac:spMk id="28" creationId="{684D453C-C5B2-B4F0-6ECA-227B80AAF470}"/>
          </ac:spMkLst>
        </pc:spChg>
        <pc:spChg chg="add del mod">
          <ac:chgData name="Nataliia Chornii (UA)" userId="4e4b8b3d-5f31-49bb-9f80-8a25c04abfff" providerId="ADAL" clId="{EE97D3FE-9ACA-4467-98E5-532EC45D9D1C}" dt="2024-03-01T14:12:52.618" v="13962" actId="478"/>
          <ac:spMkLst>
            <pc:docMk/>
            <pc:sldMk cId="3431578971" sldId="931"/>
            <ac:spMk id="28" creationId="{A747948C-5416-7903-93A6-D1E30B6ECF16}"/>
          </ac:spMkLst>
        </pc:spChg>
        <pc:spChg chg="add del mod ord">
          <ac:chgData name="Nataliia Chornii (UA)" userId="4e4b8b3d-5f31-49bb-9f80-8a25c04abfff" providerId="ADAL" clId="{EE97D3FE-9ACA-4467-98E5-532EC45D9D1C}" dt="2024-03-01T14:49:56.252" v="15782" actId="478"/>
          <ac:spMkLst>
            <pc:docMk/>
            <pc:sldMk cId="3431578971" sldId="931"/>
            <ac:spMk id="29" creationId="{3915AD89-6428-4A75-0915-328643F1703C}"/>
          </ac:spMkLst>
        </pc:spChg>
        <pc:spChg chg="add del mod ord">
          <ac:chgData name="Nataliia Chornii (UA)" userId="4e4b8b3d-5f31-49bb-9f80-8a25c04abfff" providerId="ADAL" clId="{EE97D3FE-9ACA-4467-98E5-532EC45D9D1C}" dt="2024-03-01T14:49:56.252" v="15782" actId="478"/>
          <ac:spMkLst>
            <pc:docMk/>
            <pc:sldMk cId="3431578971" sldId="931"/>
            <ac:spMk id="30" creationId="{373AB206-F1F0-CC72-8C15-85605D9AF2AC}"/>
          </ac:spMkLst>
        </pc:spChg>
        <pc:spChg chg="add del mod modVis">
          <ac:chgData name="Nataliia Chornii (UA)" userId="4e4b8b3d-5f31-49bb-9f80-8a25c04abfff" providerId="ADAL" clId="{EE97D3FE-9ACA-4467-98E5-532EC45D9D1C}" dt="2024-03-11T14:28:39.816" v="24168"/>
          <ac:spMkLst>
            <pc:docMk/>
            <pc:sldMk cId="3431578971" sldId="931"/>
            <ac:spMk id="31" creationId="{1645E71A-B3EF-F22C-91C5-8CFE37089110}"/>
          </ac:spMkLst>
        </pc:spChg>
        <pc:spChg chg="add del mod">
          <ac:chgData name="Nataliia Chornii (UA)" userId="4e4b8b3d-5f31-49bb-9f80-8a25c04abfff" providerId="ADAL" clId="{EE97D3FE-9ACA-4467-98E5-532EC45D9D1C}" dt="2024-03-01T14:12:49.984" v="13961" actId="478"/>
          <ac:spMkLst>
            <pc:docMk/>
            <pc:sldMk cId="3431578971" sldId="931"/>
            <ac:spMk id="31" creationId="{CB1739FF-706E-7058-C6FC-1F1AD9962774}"/>
          </ac:spMkLst>
        </pc:spChg>
        <pc:spChg chg="add del mod">
          <ac:chgData name="Nataliia Chornii (UA)" userId="4e4b8b3d-5f31-49bb-9f80-8a25c04abfff" providerId="ADAL" clId="{EE97D3FE-9ACA-4467-98E5-532EC45D9D1C}" dt="2024-03-01T14:12:49.984" v="13961" actId="478"/>
          <ac:spMkLst>
            <pc:docMk/>
            <pc:sldMk cId="3431578971" sldId="931"/>
            <ac:spMk id="32" creationId="{3ABB0220-F9F6-C7A5-0BD7-71C51C8E57C9}"/>
          </ac:spMkLst>
        </pc:spChg>
        <pc:spChg chg="add del mod">
          <ac:chgData name="Nataliia Chornii (UA)" userId="4e4b8b3d-5f31-49bb-9f80-8a25c04abfff" providerId="ADAL" clId="{EE97D3FE-9ACA-4467-98E5-532EC45D9D1C}" dt="2024-03-01T14:12:49.984" v="13961" actId="478"/>
          <ac:spMkLst>
            <pc:docMk/>
            <pc:sldMk cId="3431578971" sldId="931"/>
            <ac:spMk id="33" creationId="{45D979CE-556A-D3FA-ADEB-FEFCD93A4795}"/>
          </ac:spMkLst>
        </pc:spChg>
        <pc:spChg chg="add del mod">
          <ac:chgData name="Nataliia Chornii (UA)" userId="4e4b8b3d-5f31-49bb-9f80-8a25c04abfff" providerId="ADAL" clId="{EE97D3FE-9ACA-4467-98E5-532EC45D9D1C}" dt="2024-03-01T14:12:46.912" v="13960" actId="478"/>
          <ac:spMkLst>
            <pc:docMk/>
            <pc:sldMk cId="3431578971" sldId="931"/>
            <ac:spMk id="34" creationId="{28C301E2-C906-A489-8548-8AE11DBF2C0E}"/>
          </ac:spMkLst>
        </pc:spChg>
        <pc:spChg chg="add del mod">
          <ac:chgData name="Nataliia Chornii (UA)" userId="4e4b8b3d-5f31-49bb-9f80-8a25c04abfff" providerId="ADAL" clId="{EE97D3FE-9ACA-4467-98E5-532EC45D9D1C}" dt="2024-03-01T14:12:46.912" v="13960" actId="478"/>
          <ac:spMkLst>
            <pc:docMk/>
            <pc:sldMk cId="3431578971" sldId="931"/>
            <ac:spMk id="35" creationId="{5EC288BF-C3AA-3C51-63B5-C4A7A2445C8C}"/>
          </ac:spMkLst>
        </pc:spChg>
        <pc:spChg chg="add mod ord">
          <ac:chgData name="Nataliia Chornii (UA)" userId="4e4b8b3d-5f31-49bb-9f80-8a25c04abfff" providerId="ADAL" clId="{EE97D3FE-9ACA-4467-98E5-532EC45D9D1C}" dt="2024-03-01T14:51:59.229" v="15826" actId="465"/>
          <ac:spMkLst>
            <pc:docMk/>
            <pc:sldMk cId="3431578971" sldId="931"/>
            <ac:spMk id="36" creationId="{B685A229-84EC-B93B-3F43-6BFE2BE1F4CA}"/>
          </ac:spMkLst>
        </pc:spChg>
        <pc:spChg chg="add mod ord">
          <ac:chgData name="Nataliia Chornii (UA)" userId="4e4b8b3d-5f31-49bb-9f80-8a25c04abfff" providerId="ADAL" clId="{EE97D3FE-9ACA-4467-98E5-532EC45D9D1C}" dt="2024-03-01T14:51:59.229" v="15826" actId="465"/>
          <ac:spMkLst>
            <pc:docMk/>
            <pc:sldMk cId="3431578971" sldId="931"/>
            <ac:spMk id="37" creationId="{9D96FB8A-4DBF-49F0-A6C2-FDA1251682FE}"/>
          </ac:spMkLst>
        </pc:spChg>
        <pc:spChg chg="del mod ord">
          <ac:chgData name="Nataliia Chornii (UA)" userId="4e4b8b3d-5f31-49bb-9f80-8a25c04abfff" providerId="ADAL" clId="{EE97D3FE-9ACA-4467-98E5-532EC45D9D1C}" dt="2024-03-01T14:14:37.765" v="14189" actId="478"/>
          <ac:spMkLst>
            <pc:docMk/>
            <pc:sldMk cId="3431578971" sldId="931"/>
            <ac:spMk id="38" creationId="{272900AC-10C3-F441-FC58-31445D62009C}"/>
          </ac:spMkLst>
        </pc:spChg>
        <pc:spChg chg="add mod ord">
          <ac:chgData name="Nataliia Chornii (UA)" userId="4e4b8b3d-5f31-49bb-9f80-8a25c04abfff" providerId="ADAL" clId="{EE97D3FE-9ACA-4467-98E5-532EC45D9D1C}" dt="2024-03-01T14:51:59.229" v="15826" actId="465"/>
          <ac:spMkLst>
            <pc:docMk/>
            <pc:sldMk cId="3431578971" sldId="931"/>
            <ac:spMk id="39" creationId="{E8BDE45B-79CA-CD3A-5214-E24D77B8609C}"/>
          </ac:spMkLst>
        </pc:spChg>
        <pc:spChg chg="add mod ord">
          <ac:chgData name="Nataliia Chornii (UA)" userId="4e4b8b3d-5f31-49bb-9f80-8a25c04abfff" providerId="ADAL" clId="{EE97D3FE-9ACA-4467-98E5-532EC45D9D1C}" dt="2024-03-01T14:51:59.229" v="15826" actId="465"/>
          <ac:spMkLst>
            <pc:docMk/>
            <pc:sldMk cId="3431578971" sldId="931"/>
            <ac:spMk id="40" creationId="{D996275D-295E-F1D0-D67A-44A0A69B4C01}"/>
          </ac:spMkLst>
        </pc:spChg>
        <pc:spChg chg="mod ord">
          <ac:chgData name="Nataliia Chornii (UA)" userId="4e4b8b3d-5f31-49bb-9f80-8a25c04abfff" providerId="ADAL" clId="{EE97D3FE-9ACA-4467-98E5-532EC45D9D1C}" dt="2024-03-01T14:36:00.658" v="15228" actId="1076"/>
          <ac:spMkLst>
            <pc:docMk/>
            <pc:sldMk cId="3431578971" sldId="931"/>
            <ac:spMk id="42" creationId="{50830596-224D-A11D-D251-21B0CA3EB02E}"/>
          </ac:spMkLst>
        </pc:spChg>
        <pc:spChg chg="add mod ord">
          <ac:chgData name="Nataliia Chornii (UA)" userId="4e4b8b3d-5f31-49bb-9f80-8a25c04abfff" providerId="ADAL" clId="{EE97D3FE-9ACA-4467-98E5-532EC45D9D1C}" dt="2024-03-01T14:51:47.779" v="15823" actId="1076"/>
          <ac:spMkLst>
            <pc:docMk/>
            <pc:sldMk cId="3431578971" sldId="931"/>
            <ac:spMk id="43" creationId="{45949670-5BCB-C59B-3D24-28AC2A6F87F3}"/>
          </ac:spMkLst>
        </pc:spChg>
        <pc:spChg chg="add del mod ord">
          <ac:chgData name="Nataliia Chornii (UA)" userId="4e4b8b3d-5f31-49bb-9f80-8a25c04abfff" providerId="ADAL" clId="{EE97D3FE-9ACA-4467-98E5-532EC45D9D1C}" dt="2024-03-01T14:49:56.252" v="15782" actId="478"/>
          <ac:spMkLst>
            <pc:docMk/>
            <pc:sldMk cId="3431578971" sldId="931"/>
            <ac:spMk id="44" creationId="{37325A5C-F07F-2313-782A-18E3E98D15F0}"/>
          </ac:spMkLst>
        </pc:spChg>
        <pc:spChg chg="add del mod ord">
          <ac:chgData name="Nataliia Chornii (UA)" userId="4e4b8b3d-5f31-49bb-9f80-8a25c04abfff" providerId="ADAL" clId="{EE97D3FE-9ACA-4467-98E5-532EC45D9D1C}" dt="2024-03-01T14:49:56.252" v="15782" actId="478"/>
          <ac:spMkLst>
            <pc:docMk/>
            <pc:sldMk cId="3431578971" sldId="931"/>
            <ac:spMk id="45" creationId="{5A4A472A-422C-56F4-A0F5-AE422E82D144}"/>
          </ac:spMkLst>
        </pc:spChg>
        <pc:spChg chg="add del mod ord">
          <ac:chgData name="Nataliia Chornii (UA)" userId="4e4b8b3d-5f31-49bb-9f80-8a25c04abfff" providerId="ADAL" clId="{EE97D3FE-9ACA-4467-98E5-532EC45D9D1C}" dt="2024-03-01T14:49:56.252" v="15782" actId="478"/>
          <ac:spMkLst>
            <pc:docMk/>
            <pc:sldMk cId="3431578971" sldId="931"/>
            <ac:spMk id="46" creationId="{09BF84D6-F468-7005-FAB5-AA0B6AE5CFB4}"/>
          </ac:spMkLst>
        </pc:spChg>
        <pc:spChg chg="mod ord">
          <ac:chgData name="Nataliia Chornii (UA)" userId="4e4b8b3d-5f31-49bb-9f80-8a25c04abfff" providerId="ADAL" clId="{EE97D3FE-9ACA-4467-98E5-532EC45D9D1C}" dt="2024-03-01T14:51:34.269" v="15819" actId="12789"/>
          <ac:spMkLst>
            <pc:docMk/>
            <pc:sldMk cId="3431578971" sldId="931"/>
            <ac:spMk id="47" creationId="{53CB8D3C-9648-B17B-BD59-60EED0CCD133}"/>
          </ac:spMkLst>
        </pc:spChg>
        <pc:spChg chg="add mod ord">
          <ac:chgData name="Nataliia Chornii (UA)" userId="4e4b8b3d-5f31-49bb-9f80-8a25c04abfff" providerId="ADAL" clId="{EE97D3FE-9ACA-4467-98E5-532EC45D9D1C}" dt="2024-03-01T14:14:10.645" v="14178"/>
          <ac:spMkLst>
            <pc:docMk/>
            <pc:sldMk cId="3431578971" sldId="931"/>
            <ac:spMk id="48" creationId="{9DA2A02A-BBDF-DCC7-18AC-878856D7A5B2}"/>
          </ac:spMkLst>
        </pc:spChg>
        <pc:spChg chg="add del mod ord">
          <ac:chgData name="Nataliia Chornii (UA)" userId="4e4b8b3d-5f31-49bb-9f80-8a25c04abfff" providerId="ADAL" clId="{EE97D3FE-9ACA-4467-98E5-532EC45D9D1C}" dt="2024-03-01T14:49:56.252" v="15782" actId="478"/>
          <ac:spMkLst>
            <pc:docMk/>
            <pc:sldMk cId="3431578971" sldId="931"/>
            <ac:spMk id="49" creationId="{DED3BED4-139F-CB4F-0A7B-7B90211550F4}"/>
          </ac:spMkLst>
        </pc:spChg>
        <pc:spChg chg="add mod">
          <ac:chgData name="Nataliia Chornii (UA)" userId="4e4b8b3d-5f31-49bb-9f80-8a25c04abfff" providerId="ADAL" clId="{EE97D3FE-9ACA-4467-98E5-532EC45D9D1C}" dt="2024-03-01T14:49:20.913" v="15777" actId="12789"/>
          <ac:spMkLst>
            <pc:docMk/>
            <pc:sldMk cId="3431578971" sldId="931"/>
            <ac:spMk id="50" creationId="{0130363F-7CE7-F3D0-4AB5-F295FAC2DCBC}"/>
          </ac:spMkLst>
        </pc:spChg>
        <pc:spChg chg="add mod">
          <ac:chgData name="Nataliia Chornii (UA)" userId="4e4b8b3d-5f31-49bb-9f80-8a25c04abfff" providerId="ADAL" clId="{EE97D3FE-9ACA-4467-98E5-532EC45D9D1C}" dt="2024-03-01T14:49:20.913" v="15777" actId="12789"/>
          <ac:spMkLst>
            <pc:docMk/>
            <pc:sldMk cId="3431578971" sldId="931"/>
            <ac:spMk id="51" creationId="{AFEB1935-0849-FFDB-14A2-768E555E2F79}"/>
          </ac:spMkLst>
        </pc:spChg>
        <pc:spChg chg="add del mod">
          <ac:chgData name="Nataliia Chornii (UA)" userId="4e4b8b3d-5f31-49bb-9f80-8a25c04abfff" providerId="ADAL" clId="{EE97D3FE-9ACA-4467-98E5-532EC45D9D1C}" dt="2024-03-04T08:45:24.181" v="17515" actId="478"/>
          <ac:spMkLst>
            <pc:docMk/>
            <pc:sldMk cId="3431578971" sldId="931"/>
            <ac:spMk id="52" creationId="{C28EBB85-E5E0-FA58-8077-AD15508F23C6}"/>
          </ac:spMkLst>
        </pc:spChg>
        <pc:spChg chg="add del mod">
          <ac:chgData name="Nataliia Chornii (UA)" userId="4e4b8b3d-5f31-49bb-9f80-8a25c04abfff" providerId="ADAL" clId="{EE97D3FE-9ACA-4467-98E5-532EC45D9D1C}" dt="2024-03-01T14:49:22.112" v="15778" actId="478"/>
          <ac:spMkLst>
            <pc:docMk/>
            <pc:sldMk cId="3431578971" sldId="931"/>
            <ac:spMk id="54" creationId="{434902A7-8723-F7F5-C884-FDD1A60EE3D6}"/>
          </ac:spMkLst>
        </pc:spChg>
        <pc:spChg chg="add mod">
          <ac:chgData name="Nataliia Chornii (UA)" userId="4e4b8b3d-5f31-49bb-9f80-8a25c04abfff" providerId="ADAL" clId="{EE97D3FE-9ACA-4467-98E5-532EC45D9D1C}" dt="2024-03-11T14:28:52.619" v="24176" actId="14100"/>
          <ac:spMkLst>
            <pc:docMk/>
            <pc:sldMk cId="3431578971" sldId="931"/>
            <ac:spMk id="57" creationId="{E0007A68-F3EF-5218-37FA-972FF8C8BB56}"/>
          </ac:spMkLst>
        </pc:spChg>
        <pc:spChg chg="mod ord">
          <ac:chgData name="Nataliia Chornii (UA)" userId="4e4b8b3d-5f31-49bb-9f80-8a25c04abfff" providerId="ADAL" clId="{EE97D3FE-9ACA-4467-98E5-532EC45D9D1C}" dt="2024-03-01T14:51:12.900" v="15810" actId="465"/>
          <ac:spMkLst>
            <pc:docMk/>
            <pc:sldMk cId="3431578971" sldId="931"/>
            <ac:spMk id="61" creationId="{2A14CA01-2350-21C6-16E6-E9CEAF43B441}"/>
          </ac:spMkLst>
        </pc:spChg>
        <pc:spChg chg="mod ord">
          <ac:chgData name="Nataliia Chornii (UA)" userId="4e4b8b3d-5f31-49bb-9f80-8a25c04abfff" providerId="ADAL" clId="{EE97D3FE-9ACA-4467-98E5-532EC45D9D1C}" dt="2024-03-01T14:51:12.900" v="15810" actId="465"/>
          <ac:spMkLst>
            <pc:docMk/>
            <pc:sldMk cId="3431578971" sldId="931"/>
            <ac:spMk id="64" creationId="{19794A8F-A922-1A21-17E6-1B4B21C8F596}"/>
          </ac:spMkLst>
        </pc:spChg>
        <pc:spChg chg="mod ord">
          <ac:chgData name="Nataliia Chornii (UA)" userId="4e4b8b3d-5f31-49bb-9f80-8a25c04abfff" providerId="ADAL" clId="{EE97D3FE-9ACA-4467-98E5-532EC45D9D1C}" dt="2024-03-01T14:51:12.900" v="15810" actId="465"/>
          <ac:spMkLst>
            <pc:docMk/>
            <pc:sldMk cId="3431578971" sldId="931"/>
            <ac:spMk id="67" creationId="{173D6274-53F8-0DD4-4E9A-1018104D2DCB}"/>
          </ac:spMkLst>
        </pc:spChg>
        <pc:spChg chg="mod ord">
          <ac:chgData name="Nataliia Chornii (UA)" userId="4e4b8b3d-5f31-49bb-9f80-8a25c04abfff" providerId="ADAL" clId="{EE97D3FE-9ACA-4467-98E5-532EC45D9D1C}" dt="2024-03-01T14:51:12.900" v="15810" actId="465"/>
          <ac:spMkLst>
            <pc:docMk/>
            <pc:sldMk cId="3431578971" sldId="931"/>
            <ac:spMk id="70" creationId="{8E071A3F-2B5A-7CD2-907D-0A46168AC360}"/>
          </ac:spMkLst>
        </pc:spChg>
        <pc:spChg chg="mod ord">
          <ac:chgData name="Nataliia Chornii (UA)" userId="4e4b8b3d-5f31-49bb-9f80-8a25c04abfff" providerId="ADAL" clId="{EE97D3FE-9ACA-4467-98E5-532EC45D9D1C}" dt="2024-03-01T14:51:12.900" v="15810" actId="465"/>
          <ac:spMkLst>
            <pc:docMk/>
            <pc:sldMk cId="3431578971" sldId="931"/>
            <ac:spMk id="73" creationId="{F861E25B-F987-831A-A602-44A1BC3C9C06}"/>
          </ac:spMkLst>
        </pc:spChg>
        <pc:spChg chg="mod ord">
          <ac:chgData name="Nataliia Chornii (UA)" userId="4e4b8b3d-5f31-49bb-9f80-8a25c04abfff" providerId="ADAL" clId="{EE97D3FE-9ACA-4467-98E5-532EC45D9D1C}" dt="2024-03-01T14:51:12.900" v="15810" actId="465"/>
          <ac:spMkLst>
            <pc:docMk/>
            <pc:sldMk cId="3431578971" sldId="931"/>
            <ac:spMk id="76" creationId="{48C1CD32-80B1-493D-9426-7B73B4755484}"/>
          </ac:spMkLst>
        </pc:spChg>
        <pc:spChg chg="mod ord">
          <ac:chgData name="Nataliia Chornii (UA)" userId="4e4b8b3d-5f31-49bb-9f80-8a25c04abfff" providerId="ADAL" clId="{EE97D3FE-9ACA-4467-98E5-532EC45D9D1C}" dt="2024-03-01T14:51:08.576" v="15809" actId="555"/>
          <ac:spMkLst>
            <pc:docMk/>
            <pc:sldMk cId="3431578971" sldId="931"/>
            <ac:spMk id="79" creationId="{84ACD26B-9585-F3C8-8179-0329BA741C8A}"/>
          </ac:spMkLst>
        </pc:spChg>
        <pc:spChg chg="mod ord">
          <ac:chgData name="Nataliia Chornii (UA)" userId="4e4b8b3d-5f31-49bb-9f80-8a25c04abfff" providerId="ADAL" clId="{EE97D3FE-9ACA-4467-98E5-532EC45D9D1C}" dt="2024-03-01T14:51:31.182" v="15817" actId="465"/>
          <ac:spMkLst>
            <pc:docMk/>
            <pc:sldMk cId="3431578971" sldId="931"/>
            <ac:spMk id="100" creationId="{6196419E-02BA-D21D-1546-F1EC7C2A2D38}"/>
          </ac:spMkLst>
        </pc:spChg>
        <pc:spChg chg="mod ord">
          <ac:chgData name="Nataliia Chornii (UA)" userId="4e4b8b3d-5f31-49bb-9f80-8a25c04abfff" providerId="ADAL" clId="{EE97D3FE-9ACA-4467-98E5-532EC45D9D1C}" dt="2024-03-01T14:51:31.182" v="15817" actId="465"/>
          <ac:spMkLst>
            <pc:docMk/>
            <pc:sldMk cId="3431578971" sldId="931"/>
            <ac:spMk id="101" creationId="{9ECA4B5E-E4A7-485E-4742-A7A24FB938CD}"/>
          </ac:spMkLst>
        </pc:spChg>
        <pc:spChg chg="mod ord">
          <ac:chgData name="Nataliia Chornii (UA)" userId="4e4b8b3d-5f31-49bb-9f80-8a25c04abfff" providerId="ADAL" clId="{EE97D3FE-9ACA-4467-98E5-532EC45D9D1C}" dt="2024-03-01T14:51:31.182" v="15817" actId="465"/>
          <ac:spMkLst>
            <pc:docMk/>
            <pc:sldMk cId="3431578971" sldId="931"/>
            <ac:spMk id="102" creationId="{6C2839D0-72C0-7347-1A1F-A4C976165D3B}"/>
          </ac:spMkLst>
        </pc:spChg>
        <pc:spChg chg="mod ord">
          <ac:chgData name="Nataliia Chornii (UA)" userId="4e4b8b3d-5f31-49bb-9f80-8a25c04abfff" providerId="ADAL" clId="{EE97D3FE-9ACA-4467-98E5-532EC45D9D1C}" dt="2024-03-01T14:51:31.182" v="15817" actId="465"/>
          <ac:spMkLst>
            <pc:docMk/>
            <pc:sldMk cId="3431578971" sldId="931"/>
            <ac:spMk id="103" creationId="{20162A1E-1272-A65F-9743-08A1C56CDD8F}"/>
          </ac:spMkLst>
        </pc:spChg>
        <pc:spChg chg="mod ord">
          <ac:chgData name="Nataliia Chornii (UA)" userId="4e4b8b3d-5f31-49bb-9f80-8a25c04abfff" providerId="ADAL" clId="{EE97D3FE-9ACA-4467-98E5-532EC45D9D1C}" dt="2024-03-01T14:51:22.201" v="15813" actId="14100"/>
          <ac:spMkLst>
            <pc:docMk/>
            <pc:sldMk cId="3431578971" sldId="931"/>
            <ac:spMk id="104" creationId="{C489AEBB-7FB2-EC1A-2DC3-18B08D331418}"/>
          </ac:spMkLst>
        </pc:spChg>
        <pc:spChg chg="mod ord">
          <ac:chgData name="Nataliia Chornii (UA)" userId="4e4b8b3d-5f31-49bb-9f80-8a25c04abfff" providerId="ADAL" clId="{EE97D3FE-9ACA-4467-98E5-532EC45D9D1C}" dt="2024-03-01T14:51:31.182" v="15817" actId="465"/>
          <ac:spMkLst>
            <pc:docMk/>
            <pc:sldMk cId="3431578971" sldId="931"/>
            <ac:spMk id="107" creationId="{5E4C4BD5-129E-6AAF-672B-2CE5A9EA1809}"/>
          </ac:spMkLst>
        </pc:spChg>
        <pc:spChg chg="mod ord">
          <ac:chgData name="Nataliia Chornii (UA)" userId="4e4b8b3d-5f31-49bb-9f80-8a25c04abfff" providerId="ADAL" clId="{EE97D3FE-9ACA-4467-98E5-532EC45D9D1C}" dt="2024-03-01T14:51:31.182" v="15817" actId="465"/>
          <ac:spMkLst>
            <pc:docMk/>
            <pc:sldMk cId="3431578971" sldId="931"/>
            <ac:spMk id="108" creationId="{374ED229-16EB-16FE-4EEB-6C75D32758A7}"/>
          </ac:spMkLst>
        </pc:spChg>
        <pc:grpChg chg="add mod">
          <ac:chgData name="Nataliia Chornii (UA)" userId="4e4b8b3d-5f31-49bb-9f80-8a25c04abfff" providerId="ADAL" clId="{EE97D3FE-9ACA-4467-98E5-532EC45D9D1C}" dt="2024-03-11T14:25:43.872" v="24080"/>
          <ac:grpSpMkLst>
            <pc:docMk/>
            <pc:sldMk cId="3431578971" sldId="931"/>
            <ac:grpSpMk id="10" creationId="{829B9916-9D35-631D-748F-F9A64E3DB324}"/>
          </ac:grpSpMkLst>
        </pc:grpChg>
        <pc:graphicFrameChg chg="mod">
          <ac:chgData name="Nataliia Chornii (UA)" userId="4e4b8b3d-5f31-49bb-9f80-8a25c04abfff" providerId="ADAL" clId="{EE97D3FE-9ACA-4467-98E5-532EC45D9D1C}" dt="2024-03-11T14:28:39.824" v="24170"/>
          <ac:graphicFrameMkLst>
            <pc:docMk/>
            <pc:sldMk cId="3431578971" sldId="931"/>
            <ac:graphicFrameMk id="12" creationId="{F6E6AF23-7B86-113A-F559-513B41FEC1FE}"/>
          </ac:graphicFrameMkLst>
        </pc:graphicFrameChg>
        <pc:picChg chg="mod ord">
          <ac:chgData name="Nataliia Chornii (UA)" userId="4e4b8b3d-5f31-49bb-9f80-8a25c04abfff" providerId="ADAL" clId="{EE97D3FE-9ACA-4467-98E5-532EC45D9D1C}" dt="2024-03-01T14:14:10.613" v="14086"/>
          <ac:picMkLst>
            <pc:docMk/>
            <pc:sldMk cId="3431578971" sldId="931"/>
            <ac:picMk id="41" creationId="{7CAE88F2-0719-E8A4-5A3E-39E39CF155A6}"/>
          </ac:picMkLst>
        </pc:picChg>
        <pc:cxnChg chg="mod ord">
          <ac:chgData name="Nataliia Chornii (UA)" userId="4e4b8b3d-5f31-49bb-9f80-8a25c04abfff" providerId="ADAL" clId="{EE97D3FE-9ACA-4467-98E5-532EC45D9D1C}" dt="2024-03-01T14:51:31.182" v="15817" actId="465"/>
          <ac:cxnSpMkLst>
            <pc:docMk/>
            <pc:sldMk cId="3431578971" sldId="931"/>
            <ac:cxnSpMk id="6" creationId="{B3733624-6466-BD41-3C49-71F64E87C523}"/>
          </ac:cxnSpMkLst>
        </pc:cxnChg>
        <pc:cxnChg chg="mod ord">
          <ac:chgData name="Nataliia Chornii (UA)" userId="4e4b8b3d-5f31-49bb-9f80-8a25c04abfff" providerId="ADAL" clId="{EE97D3FE-9ACA-4467-98E5-532EC45D9D1C}" dt="2024-03-01T14:51:31.182" v="15817" actId="465"/>
          <ac:cxnSpMkLst>
            <pc:docMk/>
            <pc:sldMk cId="3431578971" sldId="931"/>
            <ac:cxnSpMk id="7" creationId="{5A2159BA-60F1-B7B5-DA22-2E5D2C4A8574}"/>
          </ac:cxnSpMkLst>
        </pc:cxnChg>
        <pc:cxnChg chg="mod ord">
          <ac:chgData name="Nataliia Chornii (UA)" userId="4e4b8b3d-5f31-49bb-9f80-8a25c04abfff" providerId="ADAL" clId="{EE97D3FE-9ACA-4467-98E5-532EC45D9D1C}" dt="2024-03-01T14:51:31.182" v="15817" actId="465"/>
          <ac:cxnSpMkLst>
            <pc:docMk/>
            <pc:sldMk cId="3431578971" sldId="931"/>
            <ac:cxnSpMk id="9" creationId="{CBCFB46D-F848-5D86-81ED-08C2DDBD6018}"/>
          </ac:cxnSpMkLst>
        </pc:cxnChg>
        <pc:cxnChg chg="mod ord">
          <ac:chgData name="Nataliia Chornii (UA)" userId="4e4b8b3d-5f31-49bb-9f80-8a25c04abfff" providerId="ADAL" clId="{EE97D3FE-9ACA-4467-98E5-532EC45D9D1C}" dt="2024-03-01T14:51:31.182" v="15817" actId="465"/>
          <ac:cxnSpMkLst>
            <pc:docMk/>
            <pc:sldMk cId="3431578971" sldId="931"/>
            <ac:cxnSpMk id="11" creationId="{A04A74A1-0026-74F8-2A50-1E9075544CF3}"/>
          </ac:cxnSpMkLst>
        </pc:cxnChg>
        <pc:cxnChg chg="mod ord">
          <ac:chgData name="Nataliia Chornii (UA)" userId="4e4b8b3d-5f31-49bb-9f80-8a25c04abfff" providerId="ADAL" clId="{EE97D3FE-9ACA-4467-98E5-532EC45D9D1C}" dt="2024-03-01T14:51:31.182" v="15817" actId="465"/>
          <ac:cxnSpMkLst>
            <pc:docMk/>
            <pc:sldMk cId="3431578971" sldId="931"/>
            <ac:cxnSpMk id="13" creationId="{CB152EF5-0E28-D564-BA70-371799026C17}"/>
          </ac:cxnSpMkLst>
        </pc:cxnChg>
        <pc:cxnChg chg="mod ord">
          <ac:chgData name="Nataliia Chornii (UA)" userId="4e4b8b3d-5f31-49bb-9f80-8a25c04abfff" providerId="ADAL" clId="{EE97D3FE-9ACA-4467-98E5-532EC45D9D1C}" dt="2024-03-01T14:51:31.182" v="15817" actId="465"/>
          <ac:cxnSpMkLst>
            <pc:docMk/>
            <pc:sldMk cId="3431578971" sldId="931"/>
            <ac:cxnSpMk id="14" creationId="{FEF121C9-BA2C-579A-87E4-3935103FF4BC}"/>
          </ac:cxnSpMkLst>
        </pc:cxnChg>
        <pc:cxnChg chg="mod ord">
          <ac:chgData name="Nataliia Chornii (UA)" userId="4e4b8b3d-5f31-49bb-9f80-8a25c04abfff" providerId="ADAL" clId="{EE97D3FE-9ACA-4467-98E5-532EC45D9D1C}" dt="2024-03-01T14:51:31.182" v="15817" actId="465"/>
          <ac:cxnSpMkLst>
            <pc:docMk/>
            <pc:sldMk cId="3431578971" sldId="931"/>
            <ac:cxnSpMk id="15" creationId="{3DE31210-26C3-2A63-15ED-FE32524A997D}"/>
          </ac:cxnSpMkLst>
        </pc:cxnChg>
        <pc:cxnChg chg="add mod ord">
          <ac:chgData name="Nataliia Chornii (UA)" userId="4e4b8b3d-5f31-49bb-9f80-8a25c04abfff" providerId="ADAL" clId="{EE97D3FE-9ACA-4467-98E5-532EC45D9D1C}" dt="2024-03-01T14:51:43.714" v="15821" actId="14100"/>
          <ac:cxnSpMkLst>
            <pc:docMk/>
            <pc:sldMk cId="3431578971" sldId="931"/>
            <ac:cxnSpMk id="20" creationId="{2864A4FB-5A6B-6282-1ED3-79348932303D}"/>
          </ac:cxnSpMkLst>
        </pc:cxnChg>
        <pc:cxnChg chg="add mod">
          <ac:chgData name="Nataliia Chornii (UA)" userId="4e4b8b3d-5f31-49bb-9f80-8a25c04abfff" providerId="ADAL" clId="{EE97D3FE-9ACA-4467-98E5-532EC45D9D1C}" dt="2024-03-01T14:49:20.913" v="15777" actId="12789"/>
          <ac:cxnSpMkLst>
            <pc:docMk/>
            <pc:sldMk cId="3431578971" sldId="931"/>
            <ac:cxnSpMk id="53" creationId="{F358E754-064A-5B8C-B2FC-4E612BA07893}"/>
          </ac:cxnSpMkLst>
        </pc:cxnChg>
      </pc:sldChg>
      <pc:sldChg chg="addSp delSp modSp add del mod modShow">
        <pc:chgData name="Nataliia Chornii (UA)" userId="4e4b8b3d-5f31-49bb-9f80-8a25c04abfff" providerId="ADAL" clId="{EE97D3FE-9ACA-4467-98E5-532EC45D9D1C}" dt="2024-03-01T15:06:39.256" v="16181" actId="47"/>
        <pc:sldMkLst>
          <pc:docMk/>
          <pc:sldMk cId="756169269" sldId="932"/>
        </pc:sldMkLst>
        <pc:spChg chg="add del mod">
          <ac:chgData name="Nataliia Chornii (UA)" userId="4e4b8b3d-5f31-49bb-9f80-8a25c04abfff" providerId="ADAL" clId="{EE97D3FE-9ACA-4467-98E5-532EC45D9D1C}" dt="2024-03-01T12:53:35.776" v="11712" actId="478"/>
          <ac:spMkLst>
            <pc:docMk/>
            <pc:sldMk cId="756169269" sldId="932"/>
            <ac:spMk id="2" creationId="{C0DB1C25-AB12-40F9-37F8-71757651EB48}"/>
          </ac:spMkLst>
        </pc:spChg>
        <pc:spChg chg="mod ord">
          <ac:chgData name="Nataliia Chornii (UA)" userId="4e4b8b3d-5f31-49bb-9f80-8a25c04abfff" providerId="ADAL" clId="{EE97D3FE-9ACA-4467-98E5-532EC45D9D1C}" dt="2024-03-01T12:55:11.641" v="12013"/>
          <ac:spMkLst>
            <pc:docMk/>
            <pc:sldMk cId="756169269" sldId="932"/>
            <ac:spMk id="3" creationId="{F4CCF02E-F3C4-C376-8F56-61BD85A2E74B}"/>
          </ac:spMkLst>
        </pc:spChg>
        <pc:spChg chg="mod ord">
          <ac:chgData name="Nataliia Chornii (UA)" userId="4e4b8b3d-5f31-49bb-9f80-8a25c04abfff" providerId="ADAL" clId="{EE97D3FE-9ACA-4467-98E5-532EC45D9D1C}" dt="2024-03-01T12:55:11.641" v="12015"/>
          <ac:spMkLst>
            <pc:docMk/>
            <pc:sldMk cId="756169269" sldId="932"/>
            <ac:spMk id="4" creationId="{872966CD-924A-B939-E655-A6BAF817DCBF}"/>
          </ac:spMkLst>
        </pc:spChg>
        <pc:spChg chg="add del mod">
          <ac:chgData name="Nataliia Chornii (UA)" userId="4e4b8b3d-5f31-49bb-9f80-8a25c04abfff" providerId="ADAL" clId="{EE97D3FE-9ACA-4467-98E5-532EC45D9D1C}" dt="2024-03-01T12:53:35.193" v="11711" actId="478"/>
          <ac:spMkLst>
            <pc:docMk/>
            <pc:sldMk cId="756169269" sldId="932"/>
            <ac:spMk id="5" creationId="{535C0361-3230-3BD9-D9D2-F3B003C8C718}"/>
          </ac:spMkLst>
        </pc:spChg>
        <pc:spChg chg="add del mod modVis">
          <ac:chgData name="Nataliia Chornii (UA)" userId="4e4b8b3d-5f31-49bb-9f80-8a25c04abfff" providerId="ADAL" clId="{EE97D3FE-9ACA-4467-98E5-532EC45D9D1C}" dt="2024-03-01T12:53:41.753" v="11847"/>
          <ac:spMkLst>
            <pc:docMk/>
            <pc:sldMk cId="756169269" sldId="932"/>
            <ac:spMk id="8" creationId="{1FDA9B35-A551-99DF-4CEA-6A6027A004ED}"/>
          </ac:spMkLst>
        </pc:spChg>
        <pc:spChg chg="mod ord">
          <ac:chgData name="Nataliia Chornii (UA)" userId="4e4b8b3d-5f31-49bb-9f80-8a25c04abfff" providerId="ADAL" clId="{EE97D3FE-9ACA-4467-98E5-532EC45D9D1C}" dt="2024-03-01T12:55:11.641" v="12029"/>
          <ac:spMkLst>
            <pc:docMk/>
            <pc:sldMk cId="756169269" sldId="932"/>
            <ac:spMk id="10" creationId="{6F55AA3F-6103-110B-C367-10711AC49356}"/>
          </ac:spMkLst>
        </pc:spChg>
        <pc:spChg chg="del mod ord">
          <ac:chgData name="Nataliia Chornii (UA)" userId="4e4b8b3d-5f31-49bb-9f80-8a25c04abfff" providerId="ADAL" clId="{EE97D3FE-9ACA-4467-98E5-532EC45D9D1C}" dt="2024-03-01T12:54:27.229" v="11865" actId="478"/>
          <ac:spMkLst>
            <pc:docMk/>
            <pc:sldMk cId="756169269" sldId="932"/>
            <ac:spMk id="16" creationId="{F908943B-C266-904B-3454-FC2231E2F170}"/>
          </ac:spMkLst>
        </pc:spChg>
        <pc:spChg chg="add del mod">
          <ac:chgData name="Nataliia Chornii (UA)" userId="4e4b8b3d-5f31-49bb-9f80-8a25c04abfff" providerId="ADAL" clId="{EE97D3FE-9ACA-4467-98E5-532EC45D9D1C}" dt="2024-03-01T12:54:26.599" v="11864" actId="478"/>
          <ac:spMkLst>
            <pc:docMk/>
            <pc:sldMk cId="756169269" sldId="932"/>
            <ac:spMk id="17" creationId="{6AB4F623-051E-A6B3-F4CB-6F6056E3015F}"/>
          </ac:spMkLst>
        </pc:spChg>
        <pc:spChg chg="add del mod ord">
          <ac:chgData name="Nataliia Chornii (UA)" userId="4e4b8b3d-5f31-49bb-9f80-8a25c04abfff" providerId="ADAL" clId="{EE97D3FE-9ACA-4467-98E5-532EC45D9D1C}" dt="2024-03-01T12:53:48.968" v="11852" actId="478"/>
          <ac:spMkLst>
            <pc:docMk/>
            <pc:sldMk cId="756169269" sldId="932"/>
            <ac:spMk id="18" creationId="{2852DDF1-0BDD-7DC5-15A3-5F5BF48E2C01}"/>
          </ac:spMkLst>
        </pc:spChg>
        <pc:spChg chg="add mod ord topLvl">
          <ac:chgData name="Nataliia Chornii (UA)" userId="4e4b8b3d-5f31-49bb-9f80-8a25c04abfff" providerId="ADAL" clId="{EE97D3FE-9ACA-4467-98E5-532EC45D9D1C}" dt="2024-03-01T12:57:28.945" v="12158" actId="164"/>
          <ac:spMkLst>
            <pc:docMk/>
            <pc:sldMk cId="756169269" sldId="932"/>
            <ac:spMk id="19" creationId="{9FD71E02-DFBB-C67F-AF26-527D6AB34C46}"/>
          </ac:spMkLst>
        </pc:spChg>
        <pc:spChg chg="add mod ord topLvl">
          <ac:chgData name="Nataliia Chornii (UA)" userId="4e4b8b3d-5f31-49bb-9f80-8a25c04abfff" providerId="ADAL" clId="{EE97D3FE-9ACA-4467-98E5-532EC45D9D1C}" dt="2024-03-01T12:57:28.945" v="12158" actId="164"/>
          <ac:spMkLst>
            <pc:docMk/>
            <pc:sldMk cId="756169269" sldId="932"/>
            <ac:spMk id="20" creationId="{24349C0E-7CEF-17BF-4030-5A0677AF1694}"/>
          </ac:spMkLst>
        </pc:spChg>
        <pc:spChg chg="mod ord">
          <ac:chgData name="Nataliia Chornii (UA)" userId="4e4b8b3d-5f31-49bb-9f80-8a25c04abfff" providerId="ADAL" clId="{EE97D3FE-9ACA-4467-98E5-532EC45D9D1C}" dt="2024-03-01T12:57:35.481" v="12162" actId="12789"/>
          <ac:spMkLst>
            <pc:docMk/>
            <pc:sldMk cId="756169269" sldId="932"/>
            <ac:spMk id="21" creationId="{78DC1799-6B68-492D-BBE0-D7BECB3D58E6}"/>
          </ac:spMkLst>
        </pc:spChg>
        <pc:spChg chg="mod ord">
          <ac:chgData name="Nataliia Chornii (UA)" userId="4e4b8b3d-5f31-49bb-9f80-8a25c04abfff" providerId="ADAL" clId="{EE97D3FE-9ACA-4467-98E5-532EC45D9D1C}" dt="2024-03-01T12:55:11.641" v="12019"/>
          <ac:spMkLst>
            <pc:docMk/>
            <pc:sldMk cId="756169269" sldId="932"/>
            <ac:spMk id="22" creationId="{8A383B1B-1F96-C467-6BC7-1ACF6506A40E}"/>
          </ac:spMkLst>
        </pc:spChg>
        <pc:spChg chg="del mod ord">
          <ac:chgData name="Nataliia Chornii (UA)" userId="4e4b8b3d-5f31-49bb-9f80-8a25c04abfff" providerId="ADAL" clId="{EE97D3FE-9ACA-4467-98E5-532EC45D9D1C}" dt="2024-03-01T12:55:27.163" v="12113" actId="478"/>
          <ac:spMkLst>
            <pc:docMk/>
            <pc:sldMk cId="756169269" sldId="932"/>
            <ac:spMk id="23" creationId="{C8661E4A-380D-1530-2DEB-20ECF775B25F}"/>
          </ac:spMkLst>
        </pc:spChg>
        <pc:spChg chg="del mod ord">
          <ac:chgData name="Nataliia Chornii (UA)" userId="4e4b8b3d-5f31-49bb-9f80-8a25c04abfff" providerId="ADAL" clId="{EE97D3FE-9ACA-4467-98E5-532EC45D9D1C}" dt="2024-03-01T12:55:27.163" v="12113" actId="478"/>
          <ac:spMkLst>
            <pc:docMk/>
            <pc:sldMk cId="756169269" sldId="932"/>
            <ac:spMk id="24" creationId="{7CB9FBD5-D7EF-ACAB-0CA3-234365A7FAAC}"/>
          </ac:spMkLst>
        </pc:spChg>
        <pc:spChg chg="mod ord">
          <ac:chgData name="Nataliia Chornii (UA)" userId="4e4b8b3d-5f31-49bb-9f80-8a25c04abfff" providerId="ADAL" clId="{EE97D3FE-9ACA-4467-98E5-532EC45D9D1C}" dt="2024-03-01T12:55:11.626" v="12011"/>
          <ac:spMkLst>
            <pc:docMk/>
            <pc:sldMk cId="756169269" sldId="932"/>
            <ac:spMk id="25" creationId="{2B261BF4-92C6-462D-AA95-793AE54DD688}"/>
          </ac:spMkLst>
        </pc:spChg>
        <pc:spChg chg="mod ord">
          <ac:chgData name="Nataliia Chornii (UA)" userId="4e4b8b3d-5f31-49bb-9f80-8a25c04abfff" providerId="ADAL" clId="{EE97D3FE-9ACA-4467-98E5-532EC45D9D1C}" dt="2024-03-01T12:55:11.641" v="12021"/>
          <ac:spMkLst>
            <pc:docMk/>
            <pc:sldMk cId="756169269" sldId="932"/>
            <ac:spMk id="26" creationId="{5EC1F9AE-82A4-85FE-592B-EF659F76F7EC}"/>
          </ac:spMkLst>
        </pc:spChg>
        <pc:spChg chg="mod ord">
          <ac:chgData name="Nataliia Chornii (UA)" userId="4e4b8b3d-5f31-49bb-9f80-8a25c04abfff" providerId="ADAL" clId="{EE97D3FE-9ACA-4467-98E5-532EC45D9D1C}" dt="2024-03-01T12:55:11.641" v="12023"/>
          <ac:spMkLst>
            <pc:docMk/>
            <pc:sldMk cId="756169269" sldId="932"/>
            <ac:spMk id="27" creationId="{72D802D4-B169-1594-D931-40179675E33A}"/>
          </ac:spMkLst>
        </pc:spChg>
        <pc:spChg chg="del mod ord">
          <ac:chgData name="Nataliia Chornii (UA)" userId="4e4b8b3d-5f31-49bb-9f80-8a25c04abfff" providerId="ADAL" clId="{EE97D3FE-9ACA-4467-98E5-532EC45D9D1C}" dt="2024-03-01T12:55:27.163" v="12113" actId="478"/>
          <ac:spMkLst>
            <pc:docMk/>
            <pc:sldMk cId="756169269" sldId="932"/>
            <ac:spMk id="28" creationId="{B73C6DD6-259D-72A7-73A8-61A654B3BC0D}"/>
          </ac:spMkLst>
        </pc:spChg>
        <pc:spChg chg="mod ord">
          <ac:chgData name="Nataliia Chornii (UA)" userId="4e4b8b3d-5f31-49bb-9f80-8a25c04abfff" providerId="ADAL" clId="{EE97D3FE-9ACA-4467-98E5-532EC45D9D1C}" dt="2024-03-01T12:55:11.641" v="12025"/>
          <ac:spMkLst>
            <pc:docMk/>
            <pc:sldMk cId="756169269" sldId="932"/>
            <ac:spMk id="29" creationId="{3915AD89-6428-4A75-0915-328643F1703C}"/>
          </ac:spMkLst>
        </pc:spChg>
        <pc:spChg chg="mod ord">
          <ac:chgData name="Nataliia Chornii (UA)" userId="4e4b8b3d-5f31-49bb-9f80-8a25c04abfff" providerId="ADAL" clId="{EE97D3FE-9ACA-4467-98E5-532EC45D9D1C}" dt="2024-03-01T12:55:11.641" v="12027"/>
          <ac:spMkLst>
            <pc:docMk/>
            <pc:sldMk cId="756169269" sldId="932"/>
            <ac:spMk id="30" creationId="{373AB206-F1F0-CC72-8C15-85605D9AF2AC}"/>
          </ac:spMkLst>
        </pc:spChg>
        <pc:spChg chg="del mod ord">
          <ac:chgData name="Nataliia Chornii (UA)" userId="4e4b8b3d-5f31-49bb-9f80-8a25c04abfff" providerId="ADAL" clId="{EE97D3FE-9ACA-4467-98E5-532EC45D9D1C}" dt="2024-03-01T12:55:27.163" v="12113" actId="478"/>
          <ac:spMkLst>
            <pc:docMk/>
            <pc:sldMk cId="756169269" sldId="932"/>
            <ac:spMk id="31" creationId="{BC6E9824-A4F1-7DE4-34FC-F109678A272D}"/>
          </ac:spMkLst>
        </pc:spChg>
        <pc:spChg chg="add mod topLvl">
          <ac:chgData name="Nataliia Chornii (UA)" userId="4e4b8b3d-5f31-49bb-9f80-8a25c04abfff" providerId="ADAL" clId="{EE97D3FE-9ACA-4467-98E5-532EC45D9D1C}" dt="2024-03-01T12:57:28.945" v="12158" actId="164"/>
          <ac:spMkLst>
            <pc:docMk/>
            <pc:sldMk cId="756169269" sldId="932"/>
            <ac:spMk id="32" creationId="{50C1E185-7778-70A9-7FB3-9251C0D6518D}"/>
          </ac:spMkLst>
        </pc:spChg>
        <pc:spChg chg="add del mod">
          <ac:chgData name="Nataliia Chornii (UA)" userId="4e4b8b3d-5f31-49bb-9f80-8a25c04abfff" providerId="ADAL" clId="{EE97D3FE-9ACA-4467-98E5-532EC45D9D1C}" dt="2024-03-01T12:56:39.544" v="12135" actId="478"/>
          <ac:spMkLst>
            <pc:docMk/>
            <pc:sldMk cId="756169269" sldId="932"/>
            <ac:spMk id="33" creationId="{1D7AD329-92F7-10CC-D7CF-D1DACDA18352}"/>
          </ac:spMkLst>
        </pc:spChg>
        <pc:spChg chg="del mod topLvl">
          <ac:chgData name="Nataliia Chornii (UA)" userId="4e4b8b3d-5f31-49bb-9f80-8a25c04abfff" providerId="ADAL" clId="{EE97D3FE-9ACA-4467-98E5-532EC45D9D1C}" dt="2024-03-01T12:57:09.714" v="12153" actId="478"/>
          <ac:spMkLst>
            <pc:docMk/>
            <pc:sldMk cId="756169269" sldId="932"/>
            <ac:spMk id="36" creationId="{65E690A3-479C-0C8E-225E-5A4E8E562120}"/>
          </ac:spMkLst>
        </pc:spChg>
        <pc:spChg chg="del mod topLvl">
          <ac:chgData name="Nataliia Chornii (UA)" userId="4e4b8b3d-5f31-49bb-9f80-8a25c04abfff" providerId="ADAL" clId="{EE97D3FE-9ACA-4467-98E5-532EC45D9D1C}" dt="2024-03-01T12:57:09.714" v="12153" actId="478"/>
          <ac:spMkLst>
            <pc:docMk/>
            <pc:sldMk cId="756169269" sldId="932"/>
            <ac:spMk id="37" creationId="{3D0CA9B7-60BA-315B-2C5C-C3082654641F}"/>
          </ac:spMkLst>
        </pc:spChg>
        <pc:spChg chg="mod ord">
          <ac:chgData name="Nataliia Chornii (UA)" userId="4e4b8b3d-5f31-49bb-9f80-8a25c04abfff" providerId="ADAL" clId="{EE97D3FE-9ACA-4467-98E5-532EC45D9D1C}" dt="2024-03-01T12:55:11.641" v="12031"/>
          <ac:spMkLst>
            <pc:docMk/>
            <pc:sldMk cId="756169269" sldId="932"/>
            <ac:spMk id="38" creationId="{272900AC-10C3-F441-FC58-31445D62009C}"/>
          </ac:spMkLst>
        </pc:spChg>
        <pc:spChg chg="del mod topLvl">
          <ac:chgData name="Nataliia Chornii (UA)" userId="4e4b8b3d-5f31-49bb-9f80-8a25c04abfff" providerId="ADAL" clId="{EE97D3FE-9ACA-4467-98E5-532EC45D9D1C}" dt="2024-03-01T12:57:09.714" v="12153" actId="478"/>
          <ac:spMkLst>
            <pc:docMk/>
            <pc:sldMk cId="756169269" sldId="932"/>
            <ac:spMk id="39" creationId="{3BF62311-09D8-A4B1-0D33-C87EF7ADDC87}"/>
          </ac:spMkLst>
        </pc:spChg>
        <pc:spChg chg="mod ord">
          <ac:chgData name="Nataliia Chornii (UA)" userId="4e4b8b3d-5f31-49bb-9f80-8a25c04abfff" providerId="ADAL" clId="{EE97D3FE-9ACA-4467-98E5-532EC45D9D1C}" dt="2024-03-01T12:55:11.626" v="12009"/>
          <ac:spMkLst>
            <pc:docMk/>
            <pc:sldMk cId="756169269" sldId="932"/>
            <ac:spMk id="42" creationId="{50830596-224D-A11D-D251-21B0CA3EB02E}"/>
          </ac:spMkLst>
        </pc:spChg>
        <pc:spChg chg="del mod ord">
          <ac:chgData name="Nataliia Chornii (UA)" userId="4e4b8b3d-5f31-49bb-9f80-8a25c04abfff" providerId="ADAL" clId="{EE97D3FE-9ACA-4467-98E5-532EC45D9D1C}" dt="2024-03-01T12:55:27.163" v="12113" actId="478"/>
          <ac:spMkLst>
            <pc:docMk/>
            <pc:sldMk cId="756169269" sldId="932"/>
            <ac:spMk id="43" creationId="{2C097BF4-4EBC-7A01-1054-189AF6B5E6CA}"/>
          </ac:spMkLst>
        </pc:spChg>
        <pc:spChg chg="mod ord">
          <ac:chgData name="Nataliia Chornii (UA)" userId="4e4b8b3d-5f31-49bb-9f80-8a25c04abfff" providerId="ADAL" clId="{EE97D3FE-9ACA-4467-98E5-532EC45D9D1C}" dt="2024-03-01T12:55:11.641" v="12033"/>
          <ac:spMkLst>
            <pc:docMk/>
            <pc:sldMk cId="756169269" sldId="932"/>
            <ac:spMk id="44" creationId="{37325A5C-F07F-2313-782A-18E3E98D15F0}"/>
          </ac:spMkLst>
        </pc:spChg>
        <pc:spChg chg="mod ord">
          <ac:chgData name="Nataliia Chornii (UA)" userId="4e4b8b3d-5f31-49bb-9f80-8a25c04abfff" providerId="ADAL" clId="{EE97D3FE-9ACA-4467-98E5-532EC45D9D1C}" dt="2024-03-01T12:55:11.641" v="12035"/>
          <ac:spMkLst>
            <pc:docMk/>
            <pc:sldMk cId="756169269" sldId="932"/>
            <ac:spMk id="45" creationId="{5A4A472A-422C-56F4-A0F5-AE422E82D144}"/>
          </ac:spMkLst>
        </pc:spChg>
        <pc:spChg chg="mod ord">
          <ac:chgData name="Nataliia Chornii (UA)" userId="4e4b8b3d-5f31-49bb-9f80-8a25c04abfff" providerId="ADAL" clId="{EE97D3FE-9ACA-4467-98E5-532EC45D9D1C}" dt="2024-03-01T12:55:11.658" v="12079"/>
          <ac:spMkLst>
            <pc:docMk/>
            <pc:sldMk cId="756169269" sldId="932"/>
            <ac:spMk id="46" creationId="{09BF84D6-F468-7005-FAB5-AA0B6AE5CFB4}"/>
          </ac:spMkLst>
        </pc:spChg>
        <pc:spChg chg="del mod ord">
          <ac:chgData name="Nataliia Chornii (UA)" userId="4e4b8b3d-5f31-49bb-9f80-8a25c04abfff" providerId="ADAL" clId="{EE97D3FE-9ACA-4467-98E5-532EC45D9D1C}" dt="2024-03-01T12:55:36.991" v="12116" actId="478"/>
          <ac:spMkLst>
            <pc:docMk/>
            <pc:sldMk cId="756169269" sldId="932"/>
            <ac:spMk id="47" creationId="{53CB8D3C-9648-B17B-BD59-60EED0CCD133}"/>
          </ac:spMkLst>
        </pc:spChg>
        <pc:spChg chg="del mod ord">
          <ac:chgData name="Nataliia Chornii (UA)" userId="4e4b8b3d-5f31-49bb-9f80-8a25c04abfff" providerId="ADAL" clId="{EE97D3FE-9ACA-4467-98E5-532EC45D9D1C}" dt="2024-03-01T12:55:27.163" v="12113" actId="478"/>
          <ac:spMkLst>
            <pc:docMk/>
            <pc:sldMk cId="756169269" sldId="932"/>
            <ac:spMk id="48" creationId="{9E9036DA-4B46-0D5A-1D92-8FCB1111AFF9}"/>
          </ac:spMkLst>
        </pc:spChg>
        <pc:spChg chg="mod ord">
          <ac:chgData name="Nataliia Chornii (UA)" userId="4e4b8b3d-5f31-49bb-9f80-8a25c04abfff" providerId="ADAL" clId="{EE97D3FE-9ACA-4467-98E5-532EC45D9D1C}" dt="2024-03-01T12:55:11.658" v="12081"/>
          <ac:spMkLst>
            <pc:docMk/>
            <pc:sldMk cId="756169269" sldId="932"/>
            <ac:spMk id="49" creationId="{DED3BED4-139F-CB4F-0A7B-7B90211550F4}"/>
          </ac:spMkLst>
        </pc:spChg>
        <pc:spChg chg="del mod ord">
          <ac:chgData name="Nataliia Chornii (UA)" userId="4e4b8b3d-5f31-49bb-9f80-8a25c04abfff" providerId="ADAL" clId="{EE97D3FE-9ACA-4467-98E5-532EC45D9D1C}" dt="2024-03-01T12:56:39.544" v="12135" actId="478"/>
          <ac:spMkLst>
            <pc:docMk/>
            <pc:sldMk cId="756169269" sldId="932"/>
            <ac:spMk id="50" creationId="{61121769-21A2-D009-3D52-F0E0C6592564}"/>
          </ac:spMkLst>
        </pc:spChg>
        <pc:spChg chg="del mod ord">
          <ac:chgData name="Nataliia Chornii (UA)" userId="4e4b8b3d-5f31-49bb-9f80-8a25c04abfff" providerId="ADAL" clId="{EE97D3FE-9ACA-4467-98E5-532EC45D9D1C}" dt="2024-03-01T12:56:39.544" v="12135" actId="478"/>
          <ac:spMkLst>
            <pc:docMk/>
            <pc:sldMk cId="756169269" sldId="932"/>
            <ac:spMk id="51" creationId="{3997DF34-76F2-6AE1-A0C4-827982A6B07F}"/>
          </ac:spMkLst>
        </pc:spChg>
        <pc:spChg chg="del mod ord">
          <ac:chgData name="Nataliia Chornii (UA)" userId="4e4b8b3d-5f31-49bb-9f80-8a25c04abfff" providerId="ADAL" clId="{EE97D3FE-9ACA-4467-98E5-532EC45D9D1C}" dt="2024-03-01T12:56:39.544" v="12135" actId="478"/>
          <ac:spMkLst>
            <pc:docMk/>
            <pc:sldMk cId="756169269" sldId="932"/>
            <ac:spMk id="52" creationId="{46DDC8D3-270D-6902-464D-024C2818DB76}"/>
          </ac:spMkLst>
        </pc:spChg>
        <pc:spChg chg="del mod ord">
          <ac:chgData name="Nataliia Chornii (UA)" userId="4e4b8b3d-5f31-49bb-9f80-8a25c04abfff" providerId="ADAL" clId="{EE97D3FE-9ACA-4467-98E5-532EC45D9D1C}" dt="2024-03-01T12:56:39.544" v="12135" actId="478"/>
          <ac:spMkLst>
            <pc:docMk/>
            <pc:sldMk cId="756169269" sldId="932"/>
            <ac:spMk id="53" creationId="{8C783681-E821-3CF5-13F3-E6CFD02BD8C7}"/>
          </ac:spMkLst>
        </pc:spChg>
        <pc:spChg chg="del mod ord">
          <ac:chgData name="Nataliia Chornii (UA)" userId="4e4b8b3d-5f31-49bb-9f80-8a25c04abfff" providerId="ADAL" clId="{EE97D3FE-9ACA-4467-98E5-532EC45D9D1C}" dt="2024-03-01T12:56:39.544" v="12135" actId="478"/>
          <ac:spMkLst>
            <pc:docMk/>
            <pc:sldMk cId="756169269" sldId="932"/>
            <ac:spMk id="54" creationId="{07D1BC64-6A12-CC92-BB16-BD158E162656}"/>
          </ac:spMkLst>
        </pc:spChg>
        <pc:spChg chg="del mod ord">
          <ac:chgData name="Nataliia Chornii (UA)" userId="4e4b8b3d-5f31-49bb-9f80-8a25c04abfff" providerId="ADAL" clId="{EE97D3FE-9ACA-4467-98E5-532EC45D9D1C}" dt="2024-03-01T12:56:39.544" v="12135" actId="478"/>
          <ac:spMkLst>
            <pc:docMk/>
            <pc:sldMk cId="756169269" sldId="932"/>
            <ac:spMk id="55" creationId="{8C097EE3-F6C4-6234-3083-E71D5EA8DD39}"/>
          </ac:spMkLst>
        </pc:spChg>
        <pc:spChg chg="del mod ord">
          <ac:chgData name="Nataliia Chornii (UA)" userId="4e4b8b3d-5f31-49bb-9f80-8a25c04abfff" providerId="ADAL" clId="{EE97D3FE-9ACA-4467-98E5-532EC45D9D1C}" dt="2024-03-01T12:56:39.544" v="12135" actId="478"/>
          <ac:spMkLst>
            <pc:docMk/>
            <pc:sldMk cId="756169269" sldId="932"/>
            <ac:spMk id="56" creationId="{ECBD8D0F-9B63-C8A0-20CA-AFF76EDDBA2A}"/>
          </ac:spMkLst>
        </pc:spChg>
        <pc:spChg chg="del mod topLvl">
          <ac:chgData name="Nataliia Chornii (UA)" userId="4e4b8b3d-5f31-49bb-9f80-8a25c04abfff" providerId="ADAL" clId="{EE97D3FE-9ACA-4467-98E5-532EC45D9D1C}" dt="2024-03-01T12:57:09.714" v="12153" actId="478"/>
          <ac:spMkLst>
            <pc:docMk/>
            <pc:sldMk cId="756169269" sldId="932"/>
            <ac:spMk id="57" creationId="{E7965F90-85F1-E3D9-B92C-479CA6BD7627}"/>
          </ac:spMkLst>
        </pc:spChg>
        <pc:spChg chg="del mod topLvl">
          <ac:chgData name="Nataliia Chornii (UA)" userId="4e4b8b3d-5f31-49bb-9f80-8a25c04abfff" providerId="ADAL" clId="{EE97D3FE-9ACA-4467-98E5-532EC45D9D1C}" dt="2024-03-01T12:57:09.714" v="12153" actId="478"/>
          <ac:spMkLst>
            <pc:docMk/>
            <pc:sldMk cId="756169269" sldId="932"/>
            <ac:spMk id="58" creationId="{B87183DA-BDE5-6F08-87BF-26633DEF8830}"/>
          </ac:spMkLst>
        </pc:spChg>
        <pc:spChg chg="del mod topLvl">
          <ac:chgData name="Nataliia Chornii (UA)" userId="4e4b8b3d-5f31-49bb-9f80-8a25c04abfff" providerId="ADAL" clId="{EE97D3FE-9ACA-4467-98E5-532EC45D9D1C}" dt="2024-03-01T12:57:09.714" v="12153" actId="478"/>
          <ac:spMkLst>
            <pc:docMk/>
            <pc:sldMk cId="756169269" sldId="932"/>
            <ac:spMk id="59" creationId="{90AA4F55-249A-0F90-4F8E-B4C4DB4BA2A8}"/>
          </ac:spMkLst>
        </pc:spChg>
        <pc:spChg chg="del mod ord">
          <ac:chgData name="Nataliia Chornii (UA)" userId="4e4b8b3d-5f31-49bb-9f80-8a25c04abfff" providerId="ADAL" clId="{EE97D3FE-9ACA-4467-98E5-532EC45D9D1C}" dt="2024-03-01T12:56:39.544" v="12135" actId="478"/>
          <ac:spMkLst>
            <pc:docMk/>
            <pc:sldMk cId="756169269" sldId="932"/>
            <ac:spMk id="61" creationId="{2A14CA01-2350-21C6-16E6-E9CEAF43B441}"/>
          </ac:spMkLst>
        </pc:spChg>
        <pc:spChg chg="del mod topLvl">
          <ac:chgData name="Nataliia Chornii (UA)" userId="4e4b8b3d-5f31-49bb-9f80-8a25c04abfff" providerId="ADAL" clId="{EE97D3FE-9ACA-4467-98E5-532EC45D9D1C}" dt="2024-03-01T12:57:09.714" v="12153" actId="478"/>
          <ac:spMkLst>
            <pc:docMk/>
            <pc:sldMk cId="756169269" sldId="932"/>
            <ac:spMk id="62" creationId="{ED1EF6AF-7E3F-30D2-5E54-D6F0B9D5B882}"/>
          </ac:spMkLst>
        </pc:spChg>
        <pc:spChg chg="del mod topLvl">
          <ac:chgData name="Nataliia Chornii (UA)" userId="4e4b8b3d-5f31-49bb-9f80-8a25c04abfff" providerId="ADAL" clId="{EE97D3FE-9ACA-4467-98E5-532EC45D9D1C}" dt="2024-03-01T12:57:09.714" v="12153" actId="478"/>
          <ac:spMkLst>
            <pc:docMk/>
            <pc:sldMk cId="756169269" sldId="932"/>
            <ac:spMk id="63" creationId="{085C475D-927F-A4C6-3D8B-DE2A5A5515D1}"/>
          </ac:spMkLst>
        </pc:spChg>
        <pc:spChg chg="del mod ord">
          <ac:chgData name="Nataliia Chornii (UA)" userId="4e4b8b3d-5f31-49bb-9f80-8a25c04abfff" providerId="ADAL" clId="{EE97D3FE-9ACA-4467-98E5-532EC45D9D1C}" dt="2024-03-01T12:56:39.544" v="12135" actId="478"/>
          <ac:spMkLst>
            <pc:docMk/>
            <pc:sldMk cId="756169269" sldId="932"/>
            <ac:spMk id="64" creationId="{19794A8F-A922-1A21-17E6-1B4B21C8F596}"/>
          </ac:spMkLst>
        </pc:spChg>
        <pc:spChg chg="del mod topLvl">
          <ac:chgData name="Nataliia Chornii (UA)" userId="4e4b8b3d-5f31-49bb-9f80-8a25c04abfff" providerId="ADAL" clId="{EE97D3FE-9ACA-4467-98E5-532EC45D9D1C}" dt="2024-03-01T12:57:09.714" v="12153" actId="478"/>
          <ac:spMkLst>
            <pc:docMk/>
            <pc:sldMk cId="756169269" sldId="932"/>
            <ac:spMk id="65" creationId="{3BE8B5D6-982C-2B79-B87E-A16FE5B6F13B}"/>
          </ac:spMkLst>
        </pc:spChg>
        <pc:spChg chg="del mod ord">
          <ac:chgData name="Nataliia Chornii (UA)" userId="4e4b8b3d-5f31-49bb-9f80-8a25c04abfff" providerId="ADAL" clId="{EE97D3FE-9ACA-4467-98E5-532EC45D9D1C}" dt="2024-03-01T12:56:39.544" v="12135" actId="478"/>
          <ac:spMkLst>
            <pc:docMk/>
            <pc:sldMk cId="756169269" sldId="932"/>
            <ac:spMk id="67" creationId="{173D6274-53F8-0DD4-4E9A-1018104D2DCB}"/>
          </ac:spMkLst>
        </pc:spChg>
        <pc:spChg chg="del mod topLvl">
          <ac:chgData name="Nataliia Chornii (UA)" userId="4e4b8b3d-5f31-49bb-9f80-8a25c04abfff" providerId="ADAL" clId="{EE97D3FE-9ACA-4467-98E5-532EC45D9D1C}" dt="2024-03-01T12:57:09.714" v="12153" actId="478"/>
          <ac:spMkLst>
            <pc:docMk/>
            <pc:sldMk cId="756169269" sldId="932"/>
            <ac:spMk id="68" creationId="{ECB4F442-32E0-5E78-41EF-AAC0CD11EC18}"/>
          </ac:spMkLst>
        </pc:spChg>
        <pc:spChg chg="del mod topLvl">
          <ac:chgData name="Nataliia Chornii (UA)" userId="4e4b8b3d-5f31-49bb-9f80-8a25c04abfff" providerId="ADAL" clId="{EE97D3FE-9ACA-4467-98E5-532EC45D9D1C}" dt="2024-03-01T12:57:09.714" v="12153" actId="478"/>
          <ac:spMkLst>
            <pc:docMk/>
            <pc:sldMk cId="756169269" sldId="932"/>
            <ac:spMk id="69" creationId="{C52CFA14-FBF0-E2F7-9D0B-FBFEA20A05D0}"/>
          </ac:spMkLst>
        </pc:spChg>
        <pc:spChg chg="del mod ord">
          <ac:chgData name="Nataliia Chornii (UA)" userId="4e4b8b3d-5f31-49bb-9f80-8a25c04abfff" providerId="ADAL" clId="{EE97D3FE-9ACA-4467-98E5-532EC45D9D1C}" dt="2024-03-01T12:56:39.544" v="12135" actId="478"/>
          <ac:spMkLst>
            <pc:docMk/>
            <pc:sldMk cId="756169269" sldId="932"/>
            <ac:spMk id="70" creationId="{8E071A3F-2B5A-7CD2-907D-0A46168AC360}"/>
          </ac:spMkLst>
        </pc:spChg>
        <pc:spChg chg="del mod topLvl">
          <ac:chgData name="Nataliia Chornii (UA)" userId="4e4b8b3d-5f31-49bb-9f80-8a25c04abfff" providerId="ADAL" clId="{EE97D3FE-9ACA-4467-98E5-532EC45D9D1C}" dt="2024-03-01T12:57:09.714" v="12153" actId="478"/>
          <ac:spMkLst>
            <pc:docMk/>
            <pc:sldMk cId="756169269" sldId="932"/>
            <ac:spMk id="71" creationId="{1A91AB2C-927F-228F-F767-8463F504EBF5}"/>
          </ac:spMkLst>
        </pc:spChg>
        <pc:spChg chg="del mod ord">
          <ac:chgData name="Nataliia Chornii (UA)" userId="4e4b8b3d-5f31-49bb-9f80-8a25c04abfff" providerId="ADAL" clId="{EE97D3FE-9ACA-4467-98E5-532EC45D9D1C}" dt="2024-03-01T12:56:39.544" v="12135" actId="478"/>
          <ac:spMkLst>
            <pc:docMk/>
            <pc:sldMk cId="756169269" sldId="932"/>
            <ac:spMk id="73" creationId="{F861E25B-F987-831A-A602-44A1BC3C9C06}"/>
          </ac:spMkLst>
        </pc:spChg>
        <pc:spChg chg="del mod topLvl">
          <ac:chgData name="Nataliia Chornii (UA)" userId="4e4b8b3d-5f31-49bb-9f80-8a25c04abfff" providerId="ADAL" clId="{EE97D3FE-9ACA-4467-98E5-532EC45D9D1C}" dt="2024-03-01T12:57:09.714" v="12153" actId="478"/>
          <ac:spMkLst>
            <pc:docMk/>
            <pc:sldMk cId="756169269" sldId="932"/>
            <ac:spMk id="74" creationId="{3FBDBFB9-F675-5E36-626B-FDCE64AA2D85}"/>
          </ac:spMkLst>
        </pc:spChg>
        <pc:spChg chg="del mod topLvl">
          <ac:chgData name="Nataliia Chornii (UA)" userId="4e4b8b3d-5f31-49bb-9f80-8a25c04abfff" providerId="ADAL" clId="{EE97D3FE-9ACA-4467-98E5-532EC45D9D1C}" dt="2024-03-01T12:57:09.714" v="12153" actId="478"/>
          <ac:spMkLst>
            <pc:docMk/>
            <pc:sldMk cId="756169269" sldId="932"/>
            <ac:spMk id="75" creationId="{B87F2F65-5BC3-A253-0B5A-38523BC3BD39}"/>
          </ac:spMkLst>
        </pc:spChg>
        <pc:spChg chg="del mod ord">
          <ac:chgData name="Nataliia Chornii (UA)" userId="4e4b8b3d-5f31-49bb-9f80-8a25c04abfff" providerId="ADAL" clId="{EE97D3FE-9ACA-4467-98E5-532EC45D9D1C}" dt="2024-03-01T12:56:39.544" v="12135" actId="478"/>
          <ac:spMkLst>
            <pc:docMk/>
            <pc:sldMk cId="756169269" sldId="932"/>
            <ac:spMk id="76" creationId="{48C1CD32-80B1-493D-9426-7B73B4755484}"/>
          </ac:spMkLst>
        </pc:spChg>
        <pc:spChg chg="del mod topLvl">
          <ac:chgData name="Nataliia Chornii (UA)" userId="4e4b8b3d-5f31-49bb-9f80-8a25c04abfff" providerId="ADAL" clId="{EE97D3FE-9ACA-4467-98E5-532EC45D9D1C}" dt="2024-03-01T12:57:09.714" v="12153" actId="478"/>
          <ac:spMkLst>
            <pc:docMk/>
            <pc:sldMk cId="756169269" sldId="932"/>
            <ac:spMk id="77" creationId="{FCEEF53F-CCF3-2512-67A5-79F8EA7C733D}"/>
          </ac:spMkLst>
        </pc:spChg>
        <pc:spChg chg="del mod ord">
          <ac:chgData name="Nataliia Chornii (UA)" userId="4e4b8b3d-5f31-49bb-9f80-8a25c04abfff" providerId="ADAL" clId="{EE97D3FE-9ACA-4467-98E5-532EC45D9D1C}" dt="2024-03-01T12:56:39.544" v="12135" actId="478"/>
          <ac:spMkLst>
            <pc:docMk/>
            <pc:sldMk cId="756169269" sldId="932"/>
            <ac:spMk id="79" creationId="{84ACD26B-9585-F3C8-8179-0329BA741C8A}"/>
          </ac:spMkLst>
        </pc:spChg>
        <pc:spChg chg="del mod topLvl">
          <ac:chgData name="Nataliia Chornii (UA)" userId="4e4b8b3d-5f31-49bb-9f80-8a25c04abfff" providerId="ADAL" clId="{EE97D3FE-9ACA-4467-98E5-532EC45D9D1C}" dt="2024-03-01T12:57:09.714" v="12153" actId="478"/>
          <ac:spMkLst>
            <pc:docMk/>
            <pc:sldMk cId="756169269" sldId="932"/>
            <ac:spMk id="80" creationId="{19E6235B-1E58-75BA-45CF-7A24F98C9E75}"/>
          </ac:spMkLst>
        </pc:spChg>
        <pc:spChg chg="del mod topLvl">
          <ac:chgData name="Nataliia Chornii (UA)" userId="4e4b8b3d-5f31-49bb-9f80-8a25c04abfff" providerId="ADAL" clId="{EE97D3FE-9ACA-4467-98E5-532EC45D9D1C}" dt="2024-03-01T12:57:09.714" v="12153" actId="478"/>
          <ac:spMkLst>
            <pc:docMk/>
            <pc:sldMk cId="756169269" sldId="932"/>
            <ac:spMk id="81" creationId="{BC8922F7-4384-29B6-DC05-974C093B997E}"/>
          </ac:spMkLst>
        </pc:spChg>
        <pc:spChg chg="del mod topLvl">
          <ac:chgData name="Nataliia Chornii (UA)" userId="4e4b8b3d-5f31-49bb-9f80-8a25c04abfff" providerId="ADAL" clId="{EE97D3FE-9ACA-4467-98E5-532EC45D9D1C}" dt="2024-03-01T12:57:09.714" v="12153" actId="478"/>
          <ac:spMkLst>
            <pc:docMk/>
            <pc:sldMk cId="756169269" sldId="932"/>
            <ac:spMk id="82" creationId="{3612B78D-CAAE-0AE2-B6D8-8D346E82AE99}"/>
          </ac:spMkLst>
        </pc:spChg>
        <pc:spChg chg="mod">
          <ac:chgData name="Nataliia Chornii (UA)" userId="4e4b8b3d-5f31-49bb-9f80-8a25c04abfff" providerId="ADAL" clId="{EE97D3FE-9ACA-4467-98E5-532EC45D9D1C}" dt="2024-03-01T12:57:30.170" v="12159" actId="571"/>
          <ac:spMkLst>
            <pc:docMk/>
            <pc:sldMk cId="756169269" sldId="932"/>
            <ac:spMk id="85" creationId="{717D78AD-F55E-B7B7-2746-E12BB929B4CC}"/>
          </ac:spMkLst>
        </pc:spChg>
        <pc:spChg chg="mod">
          <ac:chgData name="Nataliia Chornii (UA)" userId="4e4b8b3d-5f31-49bb-9f80-8a25c04abfff" providerId="ADAL" clId="{EE97D3FE-9ACA-4467-98E5-532EC45D9D1C}" dt="2024-03-01T12:57:49.583" v="12169" actId="20577"/>
          <ac:spMkLst>
            <pc:docMk/>
            <pc:sldMk cId="756169269" sldId="932"/>
            <ac:spMk id="86" creationId="{4F213C7A-6FFE-D70B-571D-8E4B9871D8FB}"/>
          </ac:spMkLst>
        </pc:spChg>
        <pc:spChg chg="mod">
          <ac:chgData name="Nataliia Chornii (UA)" userId="4e4b8b3d-5f31-49bb-9f80-8a25c04abfff" providerId="ADAL" clId="{EE97D3FE-9ACA-4467-98E5-532EC45D9D1C}" dt="2024-03-01T12:57:30.170" v="12159" actId="571"/>
          <ac:spMkLst>
            <pc:docMk/>
            <pc:sldMk cId="756169269" sldId="932"/>
            <ac:spMk id="87" creationId="{8251AEAD-1AF7-4B7A-6895-CEB9840640F8}"/>
          </ac:spMkLst>
        </pc:spChg>
        <pc:spChg chg="mod">
          <ac:chgData name="Nataliia Chornii (UA)" userId="4e4b8b3d-5f31-49bb-9f80-8a25c04abfff" providerId="ADAL" clId="{EE97D3FE-9ACA-4467-98E5-532EC45D9D1C}" dt="2024-03-01T12:57:38.572" v="12163" actId="571"/>
          <ac:spMkLst>
            <pc:docMk/>
            <pc:sldMk cId="756169269" sldId="932"/>
            <ac:spMk id="89" creationId="{76528934-6900-9099-0187-9C7AD33D45FC}"/>
          </ac:spMkLst>
        </pc:spChg>
        <pc:spChg chg="mod">
          <ac:chgData name="Nataliia Chornii (UA)" userId="4e4b8b3d-5f31-49bb-9f80-8a25c04abfff" providerId="ADAL" clId="{EE97D3FE-9ACA-4467-98E5-532EC45D9D1C}" dt="2024-03-01T12:57:51.113" v="12170" actId="20577"/>
          <ac:spMkLst>
            <pc:docMk/>
            <pc:sldMk cId="756169269" sldId="932"/>
            <ac:spMk id="90" creationId="{0FD67CAE-FD24-51D1-1246-195CD43185D3}"/>
          </ac:spMkLst>
        </pc:spChg>
        <pc:spChg chg="mod">
          <ac:chgData name="Nataliia Chornii (UA)" userId="4e4b8b3d-5f31-49bb-9f80-8a25c04abfff" providerId="ADAL" clId="{EE97D3FE-9ACA-4467-98E5-532EC45D9D1C}" dt="2024-03-01T12:57:38.572" v="12163" actId="571"/>
          <ac:spMkLst>
            <pc:docMk/>
            <pc:sldMk cId="756169269" sldId="932"/>
            <ac:spMk id="91" creationId="{67203097-35C4-2253-DB9F-994F95A999AA}"/>
          </ac:spMkLst>
        </pc:spChg>
        <pc:spChg chg="mod">
          <ac:chgData name="Nataliia Chornii (UA)" userId="4e4b8b3d-5f31-49bb-9f80-8a25c04abfff" providerId="ADAL" clId="{EE97D3FE-9ACA-4467-98E5-532EC45D9D1C}" dt="2024-03-01T12:57:38.572" v="12163" actId="571"/>
          <ac:spMkLst>
            <pc:docMk/>
            <pc:sldMk cId="756169269" sldId="932"/>
            <ac:spMk id="93" creationId="{21142F6F-D4C1-3D4E-76E6-6369F2ADCD5B}"/>
          </ac:spMkLst>
        </pc:spChg>
        <pc:spChg chg="mod">
          <ac:chgData name="Nataliia Chornii (UA)" userId="4e4b8b3d-5f31-49bb-9f80-8a25c04abfff" providerId="ADAL" clId="{EE97D3FE-9ACA-4467-98E5-532EC45D9D1C}" dt="2024-03-01T12:57:52.532" v="12171" actId="20577"/>
          <ac:spMkLst>
            <pc:docMk/>
            <pc:sldMk cId="756169269" sldId="932"/>
            <ac:spMk id="94" creationId="{4151BA7F-8399-7393-09F8-60964A423D2D}"/>
          </ac:spMkLst>
        </pc:spChg>
        <pc:spChg chg="mod">
          <ac:chgData name="Nataliia Chornii (UA)" userId="4e4b8b3d-5f31-49bb-9f80-8a25c04abfff" providerId="ADAL" clId="{EE97D3FE-9ACA-4467-98E5-532EC45D9D1C}" dt="2024-03-01T12:57:38.572" v="12163" actId="571"/>
          <ac:spMkLst>
            <pc:docMk/>
            <pc:sldMk cId="756169269" sldId="932"/>
            <ac:spMk id="95" creationId="{FE272AEB-599E-7EE1-98BD-09072DC46D71}"/>
          </ac:spMkLst>
        </pc:spChg>
        <pc:spChg chg="mod">
          <ac:chgData name="Nataliia Chornii (UA)" userId="4e4b8b3d-5f31-49bb-9f80-8a25c04abfff" providerId="ADAL" clId="{EE97D3FE-9ACA-4467-98E5-532EC45D9D1C}" dt="2024-03-01T12:57:40.812" v="12164" actId="571"/>
          <ac:spMkLst>
            <pc:docMk/>
            <pc:sldMk cId="756169269" sldId="932"/>
            <ac:spMk id="97" creationId="{B99D50FB-93D2-0ADD-0881-C60078D02F0F}"/>
          </ac:spMkLst>
        </pc:spChg>
        <pc:spChg chg="mod">
          <ac:chgData name="Nataliia Chornii (UA)" userId="4e4b8b3d-5f31-49bb-9f80-8a25c04abfff" providerId="ADAL" clId="{EE97D3FE-9ACA-4467-98E5-532EC45D9D1C}" dt="2024-03-01T12:57:57.939" v="12174" actId="20577"/>
          <ac:spMkLst>
            <pc:docMk/>
            <pc:sldMk cId="756169269" sldId="932"/>
            <ac:spMk id="98" creationId="{82E106BA-F93B-625E-6515-B9795815FE20}"/>
          </ac:spMkLst>
        </pc:spChg>
        <pc:spChg chg="mod">
          <ac:chgData name="Nataliia Chornii (UA)" userId="4e4b8b3d-5f31-49bb-9f80-8a25c04abfff" providerId="ADAL" clId="{EE97D3FE-9ACA-4467-98E5-532EC45D9D1C}" dt="2024-03-01T12:57:40.812" v="12164" actId="571"/>
          <ac:spMkLst>
            <pc:docMk/>
            <pc:sldMk cId="756169269" sldId="932"/>
            <ac:spMk id="99" creationId="{FC1CAE7C-CB13-EA44-E72F-087ED846AE0C}"/>
          </ac:spMkLst>
        </pc:spChg>
        <pc:spChg chg="mod ord">
          <ac:chgData name="Nataliia Chornii (UA)" userId="4e4b8b3d-5f31-49bb-9f80-8a25c04abfff" providerId="ADAL" clId="{EE97D3FE-9ACA-4467-98E5-532EC45D9D1C}" dt="2024-03-01T12:55:11.658" v="12051"/>
          <ac:spMkLst>
            <pc:docMk/>
            <pc:sldMk cId="756169269" sldId="932"/>
            <ac:spMk id="100" creationId="{6196419E-02BA-D21D-1546-F1EC7C2A2D38}"/>
          </ac:spMkLst>
        </pc:spChg>
        <pc:spChg chg="mod ord">
          <ac:chgData name="Nataliia Chornii (UA)" userId="4e4b8b3d-5f31-49bb-9f80-8a25c04abfff" providerId="ADAL" clId="{EE97D3FE-9ACA-4467-98E5-532EC45D9D1C}" dt="2024-03-01T12:55:11.658" v="12053"/>
          <ac:spMkLst>
            <pc:docMk/>
            <pc:sldMk cId="756169269" sldId="932"/>
            <ac:spMk id="101" creationId="{9ECA4B5E-E4A7-485E-4742-A7A24FB938CD}"/>
          </ac:spMkLst>
        </pc:spChg>
        <pc:spChg chg="mod ord">
          <ac:chgData name="Nataliia Chornii (UA)" userId="4e4b8b3d-5f31-49bb-9f80-8a25c04abfff" providerId="ADAL" clId="{EE97D3FE-9ACA-4467-98E5-532EC45D9D1C}" dt="2024-03-01T12:55:11.658" v="12055"/>
          <ac:spMkLst>
            <pc:docMk/>
            <pc:sldMk cId="756169269" sldId="932"/>
            <ac:spMk id="102" creationId="{6C2839D0-72C0-7347-1A1F-A4C976165D3B}"/>
          </ac:spMkLst>
        </pc:spChg>
        <pc:spChg chg="mod ord">
          <ac:chgData name="Nataliia Chornii (UA)" userId="4e4b8b3d-5f31-49bb-9f80-8a25c04abfff" providerId="ADAL" clId="{EE97D3FE-9ACA-4467-98E5-532EC45D9D1C}" dt="2024-03-01T12:55:11.658" v="12057"/>
          <ac:spMkLst>
            <pc:docMk/>
            <pc:sldMk cId="756169269" sldId="932"/>
            <ac:spMk id="103" creationId="{20162A1E-1272-A65F-9743-08A1C56CDD8F}"/>
          </ac:spMkLst>
        </pc:spChg>
        <pc:spChg chg="mod ord">
          <ac:chgData name="Nataliia Chornii (UA)" userId="4e4b8b3d-5f31-49bb-9f80-8a25c04abfff" providerId="ADAL" clId="{EE97D3FE-9ACA-4467-98E5-532EC45D9D1C}" dt="2024-03-01T12:57:45.329" v="12167" actId="12789"/>
          <ac:spMkLst>
            <pc:docMk/>
            <pc:sldMk cId="756169269" sldId="932"/>
            <ac:spMk id="104" creationId="{C489AEBB-7FB2-EC1A-2DC3-18B08D331418}"/>
          </ac:spMkLst>
        </pc:spChg>
        <pc:spChg chg="mod">
          <ac:chgData name="Nataliia Chornii (UA)" userId="4e4b8b3d-5f31-49bb-9f80-8a25c04abfff" providerId="ADAL" clId="{EE97D3FE-9ACA-4467-98E5-532EC45D9D1C}" dt="2024-03-01T12:57:40.812" v="12164" actId="571"/>
          <ac:spMkLst>
            <pc:docMk/>
            <pc:sldMk cId="756169269" sldId="932"/>
            <ac:spMk id="106" creationId="{F6743ABD-AF1D-D89C-E4F7-C9242059E53F}"/>
          </ac:spMkLst>
        </pc:spChg>
        <pc:spChg chg="mod ord">
          <ac:chgData name="Nataliia Chornii (UA)" userId="4e4b8b3d-5f31-49bb-9f80-8a25c04abfff" providerId="ADAL" clId="{EE97D3FE-9ACA-4467-98E5-532EC45D9D1C}" dt="2024-03-01T12:55:11.658" v="12061"/>
          <ac:spMkLst>
            <pc:docMk/>
            <pc:sldMk cId="756169269" sldId="932"/>
            <ac:spMk id="107" creationId="{5E4C4BD5-129E-6AAF-672B-2CE5A9EA1809}"/>
          </ac:spMkLst>
        </pc:spChg>
        <pc:spChg chg="mod ord">
          <ac:chgData name="Nataliia Chornii (UA)" userId="4e4b8b3d-5f31-49bb-9f80-8a25c04abfff" providerId="ADAL" clId="{EE97D3FE-9ACA-4467-98E5-532EC45D9D1C}" dt="2024-03-01T12:55:11.658" v="12063"/>
          <ac:spMkLst>
            <pc:docMk/>
            <pc:sldMk cId="756169269" sldId="932"/>
            <ac:spMk id="108" creationId="{374ED229-16EB-16FE-4EEB-6C75D32758A7}"/>
          </ac:spMkLst>
        </pc:spChg>
        <pc:spChg chg="mod">
          <ac:chgData name="Nataliia Chornii (UA)" userId="4e4b8b3d-5f31-49bb-9f80-8a25c04abfff" providerId="ADAL" clId="{EE97D3FE-9ACA-4467-98E5-532EC45D9D1C}" dt="2024-03-01T12:57:59.317" v="12175" actId="20577"/>
          <ac:spMkLst>
            <pc:docMk/>
            <pc:sldMk cId="756169269" sldId="932"/>
            <ac:spMk id="109" creationId="{8618507D-B370-92B0-DFA5-11C7BB5A3E00}"/>
          </ac:spMkLst>
        </pc:spChg>
        <pc:spChg chg="mod">
          <ac:chgData name="Nataliia Chornii (UA)" userId="4e4b8b3d-5f31-49bb-9f80-8a25c04abfff" providerId="ADAL" clId="{EE97D3FE-9ACA-4467-98E5-532EC45D9D1C}" dt="2024-03-01T12:57:40.812" v="12164" actId="571"/>
          <ac:spMkLst>
            <pc:docMk/>
            <pc:sldMk cId="756169269" sldId="932"/>
            <ac:spMk id="110" creationId="{2323B017-98F9-6540-15C0-79EF52B01007}"/>
          </ac:spMkLst>
        </pc:spChg>
        <pc:spChg chg="mod">
          <ac:chgData name="Nataliia Chornii (UA)" userId="4e4b8b3d-5f31-49bb-9f80-8a25c04abfff" providerId="ADAL" clId="{EE97D3FE-9ACA-4467-98E5-532EC45D9D1C}" dt="2024-03-01T12:57:42.564" v="12165" actId="571"/>
          <ac:spMkLst>
            <pc:docMk/>
            <pc:sldMk cId="756169269" sldId="932"/>
            <ac:spMk id="112" creationId="{3538F43A-DD72-9919-3950-1552631A16D0}"/>
          </ac:spMkLst>
        </pc:spChg>
        <pc:spChg chg="mod">
          <ac:chgData name="Nataliia Chornii (UA)" userId="4e4b8b3d-5f31-49bb-9f80-8a25c04abfff" providerId="ADAL" clId="{EE97D3FE-9ACA-4467-98E5-532EC45D9D1C}" dt="2024-03-01T12:58:00.752" v="12176" actId="20577"/>
          <ac:spMkLst>
            <pc:docMk/>
            <pc:sldMk cId="756169269" sldId="932"/>
            <ac:spMk id="113" creationId="{04389565-5935-1B99-DBAC-91B21A88DB9A}"/>
          </ac:spMkLst>
        </pc:spChg>
        <pc:spChg chg="mod">
          <ac:chgData name="Nataliia Chornii (UA)" userId="4e4b8b3d-5f31-49bb-9f80-8a25c04abfff" providerId="ADAL" clId="{EE97D3FE-9ACA-4467-98E5-532EC45D9D1C}" dt="2024-03-01T12:57:42.564" v="12165" actId="571"/>
          <ac:spMkLst>
            <pc:docMk/>
            <pc:sldMk cId="756169269" sldId="932"/>
            <ac:spMk id="114" creationId="{CE5114AA-EA4D-40C1-5402-507ADF060FEE}"/>
          </ac:spMkLst>
        </pc:spChg>
        <pc:spChg chg="mod">
          <ac:chgData name="Nataliia Chornii (UA)" userId="4e4b8b3d-5f31-49bb-9f80-8a25c04abfff" providerId="ADAL" clId="{EE97D3FE-9ACA-4467-98E5-532EC45D9D1C}" dt="2024-03-01T12:57:42.564" v="12165" actId="571"/>
          <ac:spMkLst>
            <pc:docMk/>
            <pc:sldMk cId="756169269" sldId="932"/>
            <ac:spMk id="116" creationId="{490900A0-B247-CC20-89D7-DC80DCD50EBD}"/>
          </ac:spMkLst>
        </pc:spChg>
        <pc:spChg chg="mod">
          <ac:chgData name="Nataliia Chornii (UA)" userId="4e4b8b3d-5f31-49bb-9f80-8a25c04abfff" providerId="ADAL" clId="{EE97D3FE-9ACA-4467-98E5-532EC45D9D1C}" dt="2024-03-01T12:58:02.233" v="12177" actId="20577"/>
          <ac:spMkLst>
            <pc:docMk/>
            <pc:sldMk cId="756169269" sldId="932"/>
            <ac:spMk id="117" creationId="{95A6B124-43D5-7C76-A69A-538693353293}"/>
          </ac:spMkLst>
        </pc:spChg>
        <pc:spChg chg="mod">
          <ac:chgData name="Nataliia Chornii (UA)" userId="4e4b8b3d-5f31-49bb-9f80-8a25c04abfff" providerId="ADAL" clId="{EE97D3FE-9ACA-4467-98E5-532EC45D9D1C}" dt="2024-03-01T12:57:42.564" v="12165" actId="571"/>
          <ac:spMkLst>
            <pc:docMk/>
            <pc:sldMk cId="756169269" sldId="932"/>
            <ac:spMk id="118" creationId="{888BE5E4-4954-A663-CFEC-7ADF2660DE7B}"/>
          </ac:spMkLst>
        </pc:spChg>
        <pc:grpChg chg="add del mod">
          <ac:chgData name="Nataliia Chornii (UA)" userId="4e4b8b3d-5f31-49bb-9f80-8a25c04abfff" providerId="ADAL" clId="{EE97D3FE-9ACA-4467-98E5-532EC45D9D1C}" dt="2024-03-01T12:56:55.516" v="12146" actId="165"/>
          <ac:grpSpMkLst>
            <pc:docMk/>
            <pc:sldMk cId="756169269" sldId="932"/>
            <ac:grpSpMk id="34" creationId="{77D446E3-0A83-6A01-622B-772369E5B195}"/>
          </ac:grpSpMkLst>
        </pc:grpChg>
        <pc:grpChg chg="add del mod">
          <ac:chgData name="Nataliia Chornii (UA)" userId="4e4b8b3d-5f31-49bb-9f80-8a25c04abfff" providerId="ADAL" clId="{EE97D3FE-9ACA-4467-98E5-532EC45D9D1C}" dt="2024-03-01T12:56:55.516" v="12146" actId="165"/>
          <ac:grpSpMkLst>
            <pc:docMk/>
            <pc:sldMk cId="756169269" sldId="932"/>
            <ac:grpSpMk id="35" creationId="{C8B7E22E-776B-9332-922D-B99A664465BA}"/>
          </ac:grpSpMkLst>
        </pc:grpChg>
        <pc:grpChg chg="add del mod">
          <ac:chgData name="Nataliia Chornii (UA)" userId="4e4b8b3d-5f31-49bb-9f80-8a25c04abfff" providerId="ADAL" clId="{EE97D3FE-9ACA-4467-98E5-532EC45D9D1C}" dt="2024-03-01T12:56:55.516" v="12146" actId="165"/>
          <ac:grpSpMkLst>
            <pc:docMk/>
            <pc:sldMk cId="756169269" sldId="932"/>
            <ac:grpSpMk id="40" creationId="{B1F120C8-F9A7-6FDE-7845-2AC6BDBDC370}"/>
          </ac:grpSpMkLst>
        </pc:grpChg>
        <pc:grpChg chg="add del mod">
          <ac:chgData name="Nataliia Chornii (UA)" userId="4e4b8b3d-5f31-49bb-9f80-8a25c04abfff" providerId="ADAL" clId="{EE97D3FE-9ACA-4467-98E5-532EC45D9D1C}" dt="2024-03-01T12:56:55.516" v="12146" actId="165"/>
          <ac:grpSpMkLst>
            <pc:docMk/>
            <pc:sldMk cId="756169269" sldId="932"/>
            <ac:grpSpMk id="60" creationId="{579A7468-C58C-E3C2-9B11-84987DD7C902}"/>
          </ac:grpSpMkLst>
        </pc:grpChg>
        <pc:grpChg chg="add del mod">
          <ac:chgData name="Nataliia Chornii (UA)" userId="4e4b8b3d-5f31-49bb-9f80-8a25c04abfff" providerId="ADAL" clId="{EE97D3FE-9ACA-4467-98E5-532EC45D9D1C}" dt="2024-03-01T12:56:55.516" v="12146" actId="165"/>
          <ac:grpSpMkLst>
            <pc:docMk/>
            <pc:sldMk cId="756169269" sldId="932"/>
            <ac:grpSpMk id="66" creationId="{F2C88076-42B3-DE49-4150-2BEA6833E1B9}"/>
          </ac:grpSpMkLst>
        </pc:grpChg>
        <pc:grpChg chg="add del mod">
          <ac:chgData name="Nataliia Chornii (UA)" userId="4e4b8b3d-5f31-49bb-9f80-8a25c04abfff" providerId="ADAL" clId="{EE97D3FE-9ACA-4467-98E5-532EC45D9D1C}" dt="2024-03-01T12:56:55.516" v="12146" actId="165"/>
          <ac:grpSpMkLst>
            <pc:docMk/>
            <pc:sldMk cId="756169269" sldId="932"/>
            <ac:grpSpMk id="72" creationId="{1B1BF55E-9B79-FBD8-2C90-290E8E48CEAA}"/>
          </ac:grpSpMkLst>
        </pc:grpChg>
        <pc:grpChg chg="add del mod">
          <ac:chgData name="Nataliia Chornii (UA)" userId="4e4b8b3d-5f31-49bb-9f80-8a25c04abfff" providerId="ADAL" clId="{EE97D3FE-9ACA-4467-98E5-532EC45D9D1C}" dt="2024-03-01T12:56:55.516" v="12146" actId="165"/>
          <ac:grpSpMkLst>
            <pc:docMk/>
            <pc:sldMk cId="756169269" sldId="932"/>
            <ac:grpSpMk id="78" creationId="{C9BDF12A-7D11-EED2-715B-4879395798CE}"/>
          </ac:grpSpMkLst>
        </pc:grpChg>
        <pc:grpChg chg="add mod">
          <ac:chgData name="Nataliia Chornii (UA)" userId="4e4b8b3d-5f31-49bb-9f80-8a25c04abfff" providerId="ADAL" clId="{EE97D3FE-9ACA-4467-98E5-532EC45D9D1C}" dt="2024-03-01T12:57:35.481" v="12162" actId="12789"/>
          <ac:grpSpMkLst>
            <pc:docMk/>
            <pc:sldMk cId="756169269" sldId="932"/>
            <ac:grpSpMk id="83" creationId="{74C3784D-BFEC-E5B2-A3C8-18ED5E1CA647}"/>
          </ac:grpSpMkLst>
        </pc:grpChg>
        <pc:grpChg chg="add mod">
          <ac:chgData name="Nataliia Chornii (UA)" userId="4e4b8b3d-5f31-49bb-9f80-8a25c04abfff" providerId="ADAL" clId="{EE97D3FE-9ACA-4467-98E5-532EC45D9D1C}" dt="2024-03-01T12:57:47.792" v="12168" actId="465"/>
          <ac:grpSpMkLst>
            <pc:docMk/>
            <pc:sldMk cId="756169269" sldId="932"/>
            <ac:grpSpMk id="84" creationId="{8B0EC434-86CE-0635-F7CD-CADC1A5A9B8A}"/>
          </ac:grpSpMkLst>
        </pc:grpChg>
        <pc:grpChg chg="add mod">
          <ac:chgData name="Nataliia Chornii (UA)" userId="4e4b8b3d-5f31-49bb-9f80-8a25c04abfff" providerId="ADAL" clId="{EE97D3FE-9ACA-4467-98E5-532EC45D9D1C}" dt="2024-03-01T12:57:47.792" v="12168" actId="465"/>
          <ac:grpSpMkLst>
            <pc:docMk/>
            <pc:sldMk cId="756169269" sldId="932"/>
            <ac:grpSpMk id="88" creationId="{24C12F3D-5D6B-AE2F-28C8-97FBFEBF0062}"/>
          </ac:grpSpMkLst>
        </pc:grpChg>
        <pc:grpChg chg="add mod">
          <ac:chgData name="Nataliia Chornii (UA)" userId="4e4b8b3d-5f31-49bb-9f80-8a25c04abfff" providerId="ADAL" clId="{EE97D3FE-9ACA-4467-98E5-532EC45D9D1C}" dt="2024-03-01T12:57:47.792" v="12168" actId="465"/>
          <ac:grpSpMkLst>
            <pc:docMk/>
            <pc:sldMk cId="756169269" sldId="932"/>
            <ac:grpSpMk id="92" creationId="{915C3F04-31C6-0CA5-39FB-D0069230D754}"/>
          </ac:grpSpMkLst>
        </pc:grpChg>
        <pc:grpChg chg="add mod">
          <ac:chgData name="Nataliia Chornii (UA)" userId="4e4b8b3d-5f31-49bb-9f80-8a25c04abfff" providerId="ADAL" clId="{EE97D3FE-9ACA-4467-98E5-532EC45D9D1C}" dt="2024-03-01T12:57:47.792" v="12168" actId="465"/>
          <ac:grpSpMkLst>
            <pc:docMk/>
            <pc:sldMk cId="756169269" sldId="932"/>
            <ac:grpSpMk id="96" creationId="{02E27594-1F9B-3682-A208-BECD5242CAA8}"/>
          </ac:grpSpMkLst>
        </pc:grpChg>
        <pc:grpChg chg="add mod">
          <ac:chgData name="Nataliia Chornii (UA)" userId="4e4b8b3d-5f31-49bb-9f80-8a25c04abfff" providerId="ADAL" clId="{EE97D3FE-9ACA-4467-98E5-532EC45D9D1C}" dt="2024-03-01T12:57:47.792" v="12168" actId="465"/>
          <ac:grpSpMkLst>
            <pc:docMk/>
            <pc:sldMk cId="756169269" sldId="932"/>
            <ac:grpSpMk id="105" creationId="{2D858799-1750-4589-C0C9-D965267AC2F5}"/>
          </ac:grpSpMkLst>
        </pc:grpChg>
        <pc:grpChg chg="add mod">
          <ac:chgData name="Nataliia Chornii (UA)" userId="4e4b8b3d-5f31-49bb-9f80-8a25c04abfff" providerId="ADAL" clId="{EE97D3FE-9ACA-4467-98E5-532EC45D9D1C}" dt="2024-03-01T12:57:47.792" v="12168" actId="465"/>
          <ac:grpSpMkLst>
            <pc:docMk/>
            <pc:sldMk cId="756169269" sldId="932"/>
            <ac:grpSpMk id="111" creationId="{101A94D4-F6F5-D05B-F3A4-834A5341FDA0}"/>
          </ac:grpSpMkLst>
        </pc:grpChg>
        <pc:grpChg chg="add mod">
          <ac:chgData name="Nataliia Chornii (UA)" userId="4e4b8b3d-5f31-49bb-9f80-8a25c04abfff" providerId="ADAL" clId="{EE97D3FE-9ACA-4467-98E5-532EC45D9D1C}" dt="2024-03-01T12:57:45.329" v="12167" actId="12789"/>
          <ac:grpSpMkLst>
            <pc:docMk/>
            <pc:sldMk cId="756169269" sldId="932"/>
            <ac:grpSpMk id="115" creationId="{5F5879ED-944D-5463-B38D-C67CDC5204EF}"/>
          </ac:grpSpMkLst>
        </pc:grpChg>
        <pc:graphicFrameChg chg="mod">
          <ac:chgData name="Nataliia Chornii (UA)" userId="4e4b8b3d-5f31-49bb-9f80-8a25c04abfff" providerId="ADAL" clId="{EE97D3FE-9ACA-4467-98E5-532EC45D9D1C}" dt="2024-03-01T12:55:11.673" v="12111"/>
          <ac:graphicFrameMkLst>
            <pc:docMk/>
            <pc:sldMk cId="756169269" sldId="932"/>
            <ac:graphicFrameMk id="12" creationId="{F6E6AF23-7B86-113A-F559-513B41FEC1FE}"/>
          </ac:graphicFrameMkLst>
        </pc:graphicFrameChg>
        <pc:picChg chg="mod ord">
          <ac:chgData name="Nataliia Chornii (UA)" userId="4e4b8b3d-5f31-49bb-9f80-8a25c04abfff" providerId="ADAL" clId="{EE97D3FE-9ACA-4467-98E5-532EC45D9D1C}" dt="2024-03-01T12:55:11.626" v="12007"/>
          <ac:picMkLst>
            <pc:docMk/>
            <pc:sldMk cId="756169269" sldId="932"/>
            <ac:picMk id="41" creationId="{7CAE88F2-0719-E8A4-5A3E-39E39CF155A6}"/>
          </ac:picMkLst>
        </pc:picChg>
        <pc:cxnChg chg="mod ord">
          <ac:chgData name="Nataliia Chornii (UA)" userId="4e4b8b3d-5f31-49bb-9f80-8a25c04abfff" providerId="ADAL" clId="{EE97D3FE-9ACA-4467-98E5-532EC45D9D1C}" dt="2024-03-01T12:55:11.658" v="12065"/>
          <ac:cxnSpMkLst>
            <pc:docMk/>
            <pc:sldMk cId="756169269" sldId="932"/>
            <ac:cxnSpMk id="6" creationId="{B3733624-6466-BD41-3C49-71F64E87C523}"/>
          </ac:cxnSpMkLst>
        </pc:cxnChg>
        <pc:cxnChg chg="mod ord">
          <ac:chgData name="Nataliia Chornii (UA)" userId="4e4b8b3d-5f31-49bb-9f80-8a25c04abfff" providerId="ADAL" clId="{EE97D3FE-9ACA-4467-98E5-532EC45D9D1C}" dt="2024-03-01T12:55:11.658" v="12067"/>
          <ac:cxnSpMkLst>
            <pc:docMk/>
            <pc:sldMk cId="756169269" sldId="932"/>
            <ac:cxnSpMk id="7" creationId="{5A2159BA-60F1-B7B5-DA22-2E5D2C4A8574}"/>
          </ac:cxnSpMkLst>
        </pc:cxnChg>
        <pc:cxnChg chg="mod ord">
          <ac:chgData name="Nataliia Chornii (UA)" userId="4e4b8b3d-5f31-49bb-9f80-8a25c04abfff" providerId="ADAL" clId="{EE97D3FE-9ACA-4467-98E5-532EC45D9D1C}" dt="2024-03-01T12:55:11.658" v="12069"/>
          <ac:cxnSpMkLst>
            <pc:docMk/>
            <pc:sldMk cId="756169269" sldId="932"/>
            <ac:cxnSpMk id="9" creationId="{CBCFB46D-F848-5D86-81ED-08C2DDBD6018}"/>
          </ac:cxnSpMkLst>
        </pc:cxnChg>
        <pc:cxnChg chg="mod ord">
          <ac:chgData name="Nataliia Chornii (UA)" userId="4e4b8b3d-5f31-49bb-9f80-8a25c04abfff" providerId="ADAL" clId="{EE97D3FE-9ACA-4467-98E5-532EC45D9D1C}" dt="2024-03-01T12:55:11.658" v="12071"/>
          <ac:cxnSpMkLst>
            <pc:docMk/>
            <pc:sldMk cId="756169269" sldId="932"/>
            <ac:cxnSpMk id="11" creationId="{A04A74A1-0026-74F8-2A50-1E9075544CF3}"/>
          </ac:cxnSpMkLst>
        </pc:cxnChg>
        <pc:cxnChg chg="mod ord">
          <ac:chgData name="Nataliia Chornii (UA)" userId="4e4b8b3d-5f31-49bb-9f80-8a25c04abfff" providerId="ADAL" clId="{EE97D3FE-9ACA-4467-98E5-532EC45D9D1C}" dt="2024-03-01T12:55:11.658" v="12073"/>
          <ac:cxnSpMkLst>
            <pc:docMk/>
            <pc:sldMk cId="756169269" sldId="932"/>
            <ac:cxnSpMk id="13" creationId="{CB152EF5-0E28-D564-BA70-371799026C17}"/>
          </ac:cxnSpMkLst>
        </pc:cxnChg>
        <pc:cxnChg chg="mod ord">
          <ac:chgData name="Nataliia Chornii (UA)" userId="4e4b8b3d-5f31-49bb-9f80-8a25c04abfff" providerId="ADAL" clId="{EE97D3FE-9ACA-4467-98E5-532EC45D9D1C}" dt="2024-03-01T12:55:11.658" v="12075"/>
          <ac:cxnSpMkLst>
            <pc:docMk/>
            <pc:sldMk cId="756169269" sldId="932"/>
            <ac:cxnSpMk id="14" creationId="{FEF121C9-BA2C-579A-87E4-3935103FF4BC}"/>
          </ac:cxnSpMkLst>
        </pc:cxnChg>
        <pc:cxnChg chg="mod ord">
          <ac:chgData name="Nataliia Chornii (UA)" userId="4e4b8b3d-5f31-49bb-9f80-8a25c04abfff" providerId="ADAL" clId="{EE97D3FE-9ACA-4467-98E5-532EC45D9D1C}" dt="2024-03-01T12:55:11.658" v="12077"/>
          <ac:cxnSpMkLst>
            <pc:docMk/>
            <pc:sldMk cId="756169269" sldId="932"/>
            <ac:cxnSpMk id="15" creationId="{3DE31210-26C3-2A63-15ED-FE32524A997D}"/>
          </ac:cxnSpMkLst>
        </pc:cxnChg>
      </pc:sldChg>
      <pc:sldChg chg="addSp delSp modSp mod">
        <pc:chgData name="Nataliia Chornii (UA)" userId="4e4b8b3d-5f31-49bb-9f80-8a25c04abfff" providerId="ADAL" clId="{EE97D3FE-9ACA-4467-98E5-532EC45D9D1C}" dt="2024-03-11T14:30:30.467" v="24261" actId="478"/>
        <pc:sldMkLst>
          <pc:docMk/>
          <pc:sldMk cId="2630099657" sldId="933"/>
        </pc:sldMkLst>
        <pc:spChg chg="add mod">
          <ac:chgData name="Nataliia Chornii (UA)" userId="4e4b8b3d-5f31-49bb-9f80-8a25c04abfff" providerId="ADAL" clId="{EE97D3FE-9ACA-4467-98E5-532EC45D9D1C}" dt="2024-03-11T14:26:15.800" v="24092"/>
          <ac:spMkLst>
            <pc:docMk/>
            <pc:sldMk cId="2630099657" sldId="933"/>
            <ac:spMk id="2" creationId="{68CC9B95-24B4-F548-79EA-0FC37F46459D}"/>
          </ac:spMkLst>
        </pc:spChg>
        <pc:spChg chg="add del mod ord">
          <ac:chgData name="Nataliia Chornii (UA)" userId="4e4b8b3d-5f31-49bb-9f80-8a25c04abfff" providerId="ADAL" clId="{EE97D3FE-9ACA-4467-98E5-532EC45D9D1C}" dt="2024-03-04T08:50:13.335" v="17842" actId="478"/>
          <ac:spMkLst>
            <pc:docMk/>
            <pc:sldMk cId="2630099657" sldId="933"/>
            <ac:spMk id="2" creationId="{F6B088C4-896F-0BB6-190E-567264B27E74}"/>
          </ac:spMkLst>
        </pc:spChg>
        <pc:spChg chg="mod ord">
          <ac:chgData name="Nataliia Chornii (UA)" userId="4e4b8b3d-5f31-49bb-9f80-8a25c04abfff" providerId="ADAL" clId="{EE97D3FE-9ACA-4467-98E5-532EC45D9D1C}" dt="2024-03-04T09:22:22.026" v="18757" actId="948"/>
          <ac:spMkLst>
            <pc:docMk/>
            <pc:sldMk cId="2630099657" sldId="933"/>
            <ac:spMk id="3" creationId="{F4CCF02E-F3C4-C376-8F56-61BD85A2E74B}"/>
          </ac:spMkLst>
        </pc:spChg>
        <pc:spChg chg="mod ord">
          <ac:chgData name="Nataliia Chornii (UA)" userId="4e4b8b3d-5f31-49bb-9f80-8a25c04abfff" providerId="ADAL" clId="{EE97D3FE-9ACA-4467-98E5-532EC45D9D1C}" dt="2024-03-04T08:49:09.967" v="17763"/>
          <ac:spMkLst>
            <pc:docMk/>
            <pc:sldMk cId="2630099657" sldId="933"/>
            <ac:spMk id="4" creationId="{872966CD-924A-B939-E655-A6BAF817DCBF}"/>
          </ac:spMkLst>
        </pc:spChg>
        <pc:spChg chg="add mod ord">
          <ac:chgData name="Nataliia Chornii (UA)" userId="4e4b8b3d-5f31-49bb-9f80-8a25c04abfff" providerId="ADAL" clId="{EE97D3FE-9ACA-4467-98E5-532EC45D9D1C}" dt="2024-03-04T08:49:09.967" v="17749"/>
          <ac:spMkLst>
            <pc:docMk/>
            <pc:sldMk cId="2630099657" sldId="933"/>
            <ac:spMk id="5" creationId="{A6348025-BDE2-3284-C987-59428C8223D8}"/>
          </ac:spMkLst>
        </pc:spChg>
        <pc:spChg chg="add mod ord">
          <ac:chgData name="Nataliia Chornii (UA)" userId="4e4b8b3d-5f31-49bb-9f80-8a25c04abfff" providerId="ADAL" clId="{EE97D3FE-9ACA-4467-98E5-532EC45D9D1C}" dt="2024-03-04T08:49:09.967" v="17751"/>
          <ac:spMkLst>
            <pc:docMk/>
            <pc:sldMk cId="2630099657" sldId="933"/>
            <ac:spMk id="6" creationId="{5627C378-61D8-9614-828E-3783B2D838FA}"/>
          </ac:spMkLst>
        </pc:spChg>
        <pc:spChg chg="add mod ord">
          <ac:chgData name="Nataliia Chornii (UA)" userId="4e4b8b3d-5f31-49bb-9f80-8a25c04abfff" providerId="ADAL" clId="{EE97D3FE-9ACA-4467-98E5-532EC45D9D1C}" dt="2024-03-04T08:49:23.663" v="17839" actId="552"/>
          <ac:spMkLst>
            <pc:docMk/>
            <pc:sldMk cId="2630099657" sldId="933"/>
            <ac:spMk id="7" creationId="{86696790-9AF2-90F5-9181-2D41BE60EB49}"/>
          </ac:spMkLst>
        </pc:spChg>
        <pc:spChg chg="add mod ord">
          <ac:chgData name="Nataliia Chornii (UA)" userId="4e4b8b3d-5f31-49bb-9f80-8a25c04abfff" providerId="ADAL" clId="{EE97D3FE-9ACA-4467-98E5-532EC45D9D1C}" dt="2024-03-04T08:49:09.974" v="17779"/>
          <ac:spMkLst>
            <pc:docMk/>
            <pc:sldMk cId="2630099657" sldId="933"/>
            <ac:spMk id="8" creationId="{6D829F90-6705-E69A-21A5-90476098A43C}"/>
          </ac:spMkLst>
        </pc:spChg>
        <pc:spChg chg="add mod ord">
          <ac:chgData name="Nataliia Chornii (UA)" userId="4e4b8b3d-5f31-49bb-9f80-8a25c04abfff" providerId="ADAL" clId="{EE97D3FE-9ACA-4467-98E5-532EC45D9D1C}" dt="2024-03-04T08:49:09.974" v="17781"/>
          <ac:spMkLst>
            <pc:docMk/>
            <pc:sldMk cId="2630099657" sldId="933"/>
            <ac:spMk id="10" creationId="{286A557C-8709-63A2-4121-A57CE2733DB1}"/>
          </ac:spMkLst>
        </pc:spChg>
        <pc:spChg chg="add mod ord">
          <ac:chgData name="Nataliia Chornii (UA)" userId="4e4b8b3d-5f31-49bb-9f80-8a25c04abfff" providerId="ADAL" clId="{EE97D3FE-9ACA-4467-98E5-532EC45D9D1C}" dt="2024-03-04T08:49:09.974" v="17783"/>
          <ac:spMkLst>
            <pc:docMk/>
            <pc:sldMk cId="2630099657" sldId="933"/>
            <ac:spMk id="11" creationId="{D2A8BC78-A9E1-D6DD-60C1-C2973B2EAC78}"/>
          </ac:spMkLst>
        </pc:spChg>
        <pc:spChg chg="add mod ord">
          <ac:chgData name="Nataliia Chornii (UA)" userId="4e4b8b3d-5f31-49bb-9f80-8a25c04abfff" providerId="ADAL" clId="{EE97D3FE-9ACA-4467-98E5-532EC45D9D1C}" dt="2024-03-04T08:49:21.103" v="17838" actId="552"/>
          <ac:spMkLst>
            <pc:docMk/>
            <pc:sldMk cId="2630099657" sldId="933"/>
            <ac:spMk id="12" creationId="{2FDDF60C-37C1-6CF7-C1D0-493FE821D2A6}"/>
          </ac:spMkLst>
        </pc:spChg>
        <pc:spChg chg="add mod ord">
          <ac:chgData name="Nataliia Chornii (UA)" userId="4e4b8b3d-5f31-49bb-9f80-8a25c04abfff" providerId="ADAL" clId="{EE97D3FE-9ACA-4467-98E5-532EC45D9D1C}" dt="2024-03-04T08:49:09.974" v="17787"/>
          <ac:spMkLst>
            <pc:docMk/>
            <pc:sldMk cId="2630099657" sldId="933"/>
            <ac:spMk id="13" creationId="{E8384D8D-0F30-F782-8C4C-3A886A9E470F}"/>
          </ac:spMkLst>
        </pc:spChg>
        <pc:spChg chg="add mod ord">
          <ac:chgData name="Nataliia Chornii (UA)" userId="4e4b8b3d-5f31-49bb-9f80-8a25c04abfff" providerId="ADAL" clId="{EE97D3FE-9ACA-4467-98E5-532EC45D9D1C}" dt="2024-03-04T08:49:09.974" v="17789"/>
          <ac:spMkLst>
            <pc:docMk/>
            <pc:sldMk cId="2630099657" sldId="933"/>
            <ac:spMk id="14" creationId="{F608F83C-ACC0-64A4-5EB7-0ED67D40858A}"/>
          </ac:spMkLst>
        </pc:spChg>
        <pc:spChg chg="add mod ord">
          <ac:chgData name="Nataliia Chornii (UA)" userId="4e4b8b3d-5f31-49bb-9f80-8a25c04abfff" providerId="ADAL" clId="{EE97D3FE-9ACA-4467-98E5-532EC45D9D1C}" dt="2024-03-04T08:49:09.974" v="17791"/>
          <ac:spMkLst>
            <pc:docMk/>
            <pc:sldMk cId="2630099657" sldId="933"/>
            <ac:spMk id="15" creationId="{41752F61-58C1-707D-9CA8-6885DB40EDE2}"/>
          </ac:spMkLst>
        </pc:spChg>
        <pc:spChg chg="mod ord">
          <ac:chgData name="Nataliia Chornii (UA)" userId="4e4b8b3d-5f31-49bb-9f80-8a25c04abfff" providerId="ADAL" clId="{EE97D3FE-9ACA-4467-98E5-532EC45D9D1C}" dt="2024-03-04T08:49:26.286" v="17840" actId="554"/>
          <ac:spMkLst>
            <pc:docMk/>
            <pc:sldMk cId="2630099657" sldId="933"/>
            <ac:spMk id="16" creationId="{30819613-CE74-49B6-0807-44FDBB81D466}"/>
          </ac:spMkLst>
        </pc:spChg>
        <pc:spChg chg="add mod ord">
          <ac:chgData name="Nataliia Chornii (UA)" userId="4e4b8b3d-5f31-49bb-9f80-8a25c04abfff" providerId="ADAL" clId="{EE97D3FE-9ACA-4467-98E5-532EC45D9D1C}" dt="2024-03-04T08:49:09.961" v="17745"/>
          <ac:spMkLst>
            <pc:docMk/>
            <pc:sldMk cId="2630099657" sldId="933"/>
            <ac:spMk id="17" creationId="{C358ECA5-580C-4D30-BF72-626041BBD184}"/>
          </ac:spMkLst>
        </pc:spChg>
        <pc:spChg chg="mod ord">
          <ac:chgData name="Nataliia Chornii (UA)" userId="4e4b8b3d-5f31-49bb-9f80-8a25c04abfff" providerId="ADAL" clId="{EE97D3FE-9ACA-4467-98E5-532EC45D9D1C}" dt="2024-03-04T08:49:26.286" v="17840" actId="554"/>
          <ac:spMkLst>
            <pc:docMk/>
            <pc:sldMk cId="2630099657" sldId="933"/>
            <ac:spMk id="18" creationId="{E1D4AC8F-0322-E8A8-E509-5AF71473A8F4}"/>
          </ac:spMkLst>
        </pc:spChg>
        <pc:spChg chg="add mod ord">
          <ac:chgData name="Nataliia Chornii (UA)" userId="4e4b8b3d-5f31-49bb-9f80-8a25c04abfff" providerId="ADAL" clId="{EE97D3FE-9ACA-4467-98E5-532EC45D9D1C}" dt="2024-03-04T08:49:09.961" v="17747"/>
          <ac:spMkLst>
            <pc:docMk/>
            <pc:sldMk cId="2630099657" sldId="933"/>
            <ac:spMk id="19" creationId="{C2CAF418-662D-647B-4968-27F9C89FEFAA}"/>
          </ac:spMkLst>
        </pc:spChg>
        <pc:spChg chg="mod ord">
          <ac:chgData name="Nataliia Chornii (UA)" userId="4e4b8b3d-5f31-49bb-9f80-8a25c04abfff" providerId="ADAL" clId="{EE97D3FE-9ACA-4467-98E5-532EC45D9D1C}" dt="2024-03-04T08:49:29.013" v="17841" actId="554"/>
          <ac:spMkLst>
            <pc:docMk/>
            <pc:sldMk cId="2630099657" sldId="933"/>
            <ac:spMk id="20" creationId="{BCB0856A-D775-E9B2-A22B-A661D9F8D43C}"/>
          </ac:spMkLst>
        </pc:spChg>
        <pc:spChg chg="add del mod modVis">
          <ac:chgData name="Nataliia Chornii (UA)" userId="4e4b8b3d-5f31-49bb-9f80-8a25c04abfff" providerId="ADAL" clId="{EE97D3FE-9ACA-4467-98E5-532EC45D9D1C}" dt="2024-03-04T08:48:40.748" v="17632"/>
          <ac:spMkLst>
            <pc:docMk/>
            <pc:sldMk cId="2630099657" sldId="933"/>
            <ac:spMk id="21" creationId="{17DA93DA-9023-01E2-7D74-DA732ECBC324}"/>
          </ac:spMkLst>
        </pc:spChg>
        <pc:spChg chg="mod ord">
          <ac:chgData name="Nataliia Chornii (UA)" userId="4e4b8b3d-5f31-49bb-9f80-8a25c04abfff" providerId="ADAL" clId="{EE97D3FE-9ACA-4467-98E5-532EC45D9D1C}" dt="2024-03-04T08:49:29.013" v="17841" actId="554"/>
          <ac:spMkLst>
            <pc:docMk/>
            <pc:sldMk cId="2630099657" sldId="933"/>
            <ac:spMk id="22" creationId="{044C1CE5-09D8-63ED-7E23-4A59A70CC41B}"/>
          </ac:spMkLst>
        </pc:spChg>
        <pc:spChg chg="del mod ord">
          <ac:chgData name="Nataliia Chornii (UA)" userId="4e4b8b3d-5f31-49bb-9f80-8a25c04abfff" providerId="ADAL" clId="{EE97D3FE-9ACA-4467-98E5-532EC45D9D1C}" dt="2024-03-11T14:30:30.467" v="24261" actId="478"/>
          <ac:spMkLst>
            <pc:docMk/>
            <pc:sldMk cId="2630099657" sldId="933"/>
            <ac:spMk id="23" creationId="{F0F92295-EBAE-39D7-7494-D9035179A285}"/>
          </ac:spMkLst>
        </pc:spChg>
        <pc:spChg chg="mod">
          <ac:chgData name="Nataliia Chornii (UA)" userId="4e4b8b3d-5f31-49bb-9f80-8a25c04abfff" providerId="ADAL" clId="{EE97D3FE-9ACA-4467-98E5-532EC45D9D1C}" dt="2024-03-11T14:26:15.800" v="24092"/>
          <ac:spMkLst>
            <pc:docMk/>
            <pc:sldMk cId="2630099657" sldId="933"/>
            <ac:spMk id="24" creationId="{2E147D5C-5563-E0DE-ACAD-A251161F384C}"/>
          </ac:spMkLst>
        </pc:spChg>
        <pc:spChg chg="del">
          <ac:chgData name="Nataliia Chornii (UA)" userId="4e4b8b3d-5f31-49bb-9f80-8a25c04abfff" providerId="ADAL" clId="{EE97D3FE-9ACA-4467-98E5-532EC45D9D1C}" dt="2024-03-04T08:48:26.843" v="17589" actId="478"/>
          <ac:spMkLst>
            <pc:docMk/>
            <pc:sldMk cId="2630099657" sldId="933"/>
            <ac:spMk id="24" creationId="{6291F660-4399-3100-7AA6-1A96F2BE2FA0}"/>
          </ac:spMkLst>
        </pc:spChg>
        <pc:spChg chg="mod">
          <ac:chgData name="Nataliia Chornii (UA)" userId="4e4b8b3d-5f31-49bb-9f80-8a25c04abfff" providerId="ADAL" clId="{EE97D3FE-9ACA-4467-98E5-532EC45D9D1C}" dt="2024-03-11T14:26:15.800" v="24092"/>
          <ac:spMkLst>
            <pc:docMk/>
            <pc:sldMk cId="2630099657" sldId="933"/>
            <ac:spMk id="25" creationId="{29409842-3A2A-C66E-FE63-0C320582C38C}"/>
          </ac:spMkLst>
        </pc:spChg>
        <pc:spChg chg="del">
          <ac:chgData name="Nataliia Chornii (UA)" userId="4e4b8b3d-5f31-49bb-9f80-8a25c04abfff" providerId="ADAL" clId="{EE97D3FE-9ACA-4467-98E5-532EC45D9D1C}" dt="2024-03-04T08:48:26.843" v="17589" actId="478"/>
          <ac:spMkLst>
            <pc:docMk/>
            <pc:sldMk cId="2630099657" sldId="933"/>
            <ac:spMk id="25" creationId="{5EF755D9-3B19-3121-7148-7B4F37248EA8}"/>
          </ac:spMkLst>
        </pc:spChg>
        <pc:spChg chg="del">
          <ac:chgData name="Nataliia Chornii (UA)" userId="4e4b8b3d-5f31-49bb-9f80-8a25c04abfff" providerId="ADAL" clId="{EE97D3FE-9ACA-4467-98E5-532EC45D9D1C}" dt="2024-03-04T08:48:24.122" v="17588" actId="478"/>
          <ac:spMkLst>
            <pc:docMk/>
            <pc:sldMk cId="2630099657" sldId="933"/>
            <ac:spMk id="26" creationId="{D3B06146-D695-C0D1-DE10-612BD2266EB5}"/>
          </ac:spMkLst>
        </pc:spChg>
        <pc:spChg chg="mod">
          <ac:chgData name="Nataliia Chornii (UA)" userId="4e4b8b3d-5f31-49bb-9f80-8a25c04abfff" providerId="ADAL" clId="{EE97D3FE-9ACA-4467-98E5-532EC45D9D1C}" dt="2024-03-11T14:26:15.800" v="24092"/>
          <ac:spMkLst>
            <pc:docMk/>
            <pc:sldMk cId="2630099657" sldId="933"/>
            <ac:spMk id="26" creationId="{F28C1CE8-6BF8-7AB3-5BB3-518039563BC2}"/>
          </ac:spMkLst>
        </pc:spChg>
        <pc:spChg chg="mod">
          <ac:chgData name="Nataliia Chornii (UA)" userId="4e4b8b3d-5f31-49bb-9f80-8a25c04abfff" providerId="ADAL" clId="{EE97D3FE-9ACA-4467-98E5-532EC45D9D1C}" dt="2024-03-11T14:26:15.800" v="24092"/>
          <ac:spMkLst>
            <pc:docMk/>
            <pc:sldMk cId="2630099657" sldId="933"/>
            <ac:spMk id="27" creationId="{022C7A03-0046-AE6A-2060-632AF896658A}"/>
          </ac:spMkLst>
        </pc:spChg>
        <pc:spChg chg="del">
          <ac:chgData name="Nataliia Chornii (UA)" userId="4e4b8b3d-5f31-49bb-9f80-8a25c04abfff" providerId="ADAL" clId="{EE97D3FE-9ACA-4467-98E5-532EC45D9D1C}" dt="2024-03-04T08:48:24.122" v="17588" actId="478"/>
          <ac:spMkLst>
            <pc:docMk/>
            <pc:sldMk cId="2630099657" sldId="933"/>
            <ac:spMk id="27" creationId="{C67C067A-BA44-E473-03E2-74C4CDD50A4F}"/>
          </ac:spMkLst>
        </pc:spChg>
        <pc:spChg chg="mod">
          <ac:chgData name="Nataliia Chornii (UA)" userId="4e4b8b3d-5f31-49bb-9f80-8a25c04abfff" providerId="ADAL" clId="{EE97D3FE-9ACA-4467-98E5-532EC45D9D1C}" dt="2024-03-11T14:26:15.800" v="24092"/>
          <ac:spMkLst>
            <pc:docMk/>
            <pc:sldMk cId="2630099657" sldId="933"/>
            <ac:spMk id="28" creationId="{A4EF203A-3BEE-47D7-9631-C5048C9FE709}"/>
          </ac:spMkLst>
        </pc:spChg>
        <pc:spChg chg="del">
          <ac:chgData name="Nataliia Chornii (UA)" userId="4e4b8b3d-5f31-49bb-9f80-8a25c04abfff" providerId="ADAL" clId="{EE97D3FE-9ACA-4467-98E5-532EC45D9D1C}" dt="2024-03-04T08:48:24.122" v="17588" actId="478"/>
          <ac:spMkLst>
            <pc:docMk/>
            <pc:sldMk cId="2630099657" sldId="933"/>
            <ac:spMk id="28" creationId="{E6632A91-C990-C64C-6F5B-FCB2451BD5A7}"/>
          </ac:spMkLst>
        </pc:spChg>
        <pc:spChg chg="del">
          <ac:chgData name="Nataliia Chornii (UA)" userId="4e4b8b3d-5f31-49bb-9f80-8a25c04abfff" providerId="ADAL" clId="{EE97D3FE-9ACA-4467-98E5-532EC45D9D1C}" dt="2024-03-04T08:48:24.122" v="17588" actId="478"/>
          <ac:spMkLst>
            <pc:docMk/>
            <pc:sldMk cId="2630099657" sldId="933"/>
            <ac:spMk id="29" creationId="{69C14E03-FCEC-D42E-5785-FE3FD67A2269}"/>
          </ac:spMkLst>
        </pc:spChg>
        <pc:spChg chg="mod">
          <ac:chgData name="Nataliia Chornii (UA)" userId="4e4b8b3d-5f31-49bb-9f80-8a25c04abfff" providerId="ADAL" clId="{EE97D3FE-9ACA-4467-98E5-532EC45D9D1C}" dt="2024-03-11T14:26:15.800" v="24092"/>
          <ac:spMkLst>
            <pc:docMk/>
            <pc:sldMk cId="2630099657" sldId="933"/>
            <ac:spMk id="29" creationId="{D723157E-4468-F334-6A05-0304A8C07125}"/>
          </ac:spMkLst>
        </pc:spChg>
        <pc:spChg chg="add mod">
          <ac:chgData name="Nataliia Chornii (UA)" userId="4e4b8b3d-5f31-49bb-9f80-8a25c04abfff" providerId="ADAL" clId="{EE97D3FE-9ACA-4467-98E5-532EC45D9D1C}" dt="2024-03-11T14:30:29.108" v="24260"/>
          <ac:spMkLst>
            <pc:docMk/>
            <pc:sldMk cId="2630099657" sldId="933"/>
            <ac:spMk id="30" creationId="{963E5610-254E-8B7B-EFFF-28FB0B3D34A3}"/>
          </ac:spMkLst>
        </pc:spChg>
        <pc:spChg chg="del">
          <ac:chgData name="Nataliia Chornii (UA)" userId="4e4b8b3d-5f31-49bb-9f80-8a25c04abfff" providerId="ADAL" clId="{EE97D3FE-9ACA-4467-98E5-532EC45D9D1C}" dt="2024-03-04T08:48:24.122" v="17588" actId="478"/>
          <ac:spMkLst>
            <pc:docMk/>
            <pc:sldMk cId="2630099657" sldId="933"/>
            <ac:spMk id="30" creationId="{AD97BBB0-7D2A-0CBE-6249-FB26EF157720}"/>
          </ac:spMkLst>
        </pc:spChg>
        <pc:spChg chg="del">
          <ac:chgData name="Nataliia Chornii (UA)" userId="4e4b8b3d-5f31-49bb-9f80-8a25c04abfff" providerId="ADAL" clId="{EE97D3FE-9ACA-4467-98E5-532EC45D9D1C}" dt="2024-03-04T08:48:24.122" v="17588" actId="478"/>
          <ac:spMkLst>
            <pc:docMk/>
            <pc:sldMk cId="2630099657" sldId="933"/>
            <ac:spMk id="31" creationId="{AE1F2CF7-12B2-2C61-02F4-8E90DCAB95C7}"/>
          </ac:spMkLst>
        </pc:spChg>
        <pc:spChg chg="del">
          <ac:chgData name="Nataliia Chornii (UA)" userId="4e4b8b3d-5f31-49bb-9f80-8a25c04abfff" providerId="ADAL" clId="{EE97D3FE-9ACA-4467-98E5-532EC45D9D1C}" dt="2024-03-04T08:48:24.122" v="17588" actId="478"/>
          <ac:spMkLst>
            <pc:docMk/>
            <pc:sldMk cId="2630099657" sldId="933"/>
            <ac:spMk id="32" creationId="{AA14433E-3F38-54C2-3C19-F70FDD5BB4F8}"/>
          </ac:spMkLst>
        </pc:spChg>
        <pc:spChg chg="del">
          <ac:chgData name="Nataliia Chornii (UA)" userId="4e4b8b3d-5f31-49bb-9f80-8a25c04abfff" providerId="ADAL" clId="{EE97D3FE-9ACA-4467-98E5-532EC45D9D1C}" dt="2024-03-04T08:48:24.122" v="17588" actId="478"/>
          <ac:spMkLst>
            <pc:docMk/>
            <pc:sldMk cId="2630099657" sldId="933"/>
            <ac:spMk id="33" creationId="{F92B9C6C-8C5B-AC82-5DDC-E8DB5ABA08D5}"/>
          </ac:spMkLst>
        </pc:spChg>
        <pc:spChg chg="del">
          <ac:chgData name="Nataliia Chornii (UA)" userId="4e4b8b3d-5f31-49bb-9f80-8a25c04abfff" providerId="ADAL" clId="{EE97D3FE-9ACA-4467-98E5-532EC45D9D1C}" dt="2024-03-04T08:48:36.578" v="17591" actId="478"/>
          <ac:spMkLst>
            <pc:docMk/>
            <pc:sldMk cId="2630099657" sldId="933"/>
            <ac:spMk id="34" creationId="{F1D573D1-C07D-A943-A741-380994F48A4F}"/>
          </ac:spMkLst>
        </pc:spChg>
        <pc:spChg chg="del">
          <ac:chgData name="Nataliia Chornii (UA)" userId="4e4b8b3d-5f31-49bb-9f80-8a25c04abfff" providerId="ADAL" clId="{EE97D3FE-9ACA-4467-98E5-532EC45D9D1C}" dt="2024-03-04T08:48:36.578" v="17591" actId="478"/>
          <ac:spMkLst>
            <pc:docMk/>
            <pc:sldMk cId="2630099657" sldId="933"/>
            <ac:spMk id="35" creationId="{4F177113-0781-5137-1CD7-3B2F5D62C022}"/>
          </ac:spMkLst>
        </pc:spChg>
        <pc:spChg chg="mod ord">
          <ac:chgData name="Nataliia Chornii (UA)" userId="4e4b8b3d-5f31-49bb-9f80-8a25c04abfff" providerId="ADAL" clId="{EE97D3FE-9ACA-4467-98E5-532EC45D9D1C}" dt="2024-03-04T09:21:29.893" v="18717" actId="404"/>
          <ac:spMkLst>
            <pc:docMk/>
            <pc:sldMk cId="2630099657" sldId="933"/>
            <ac:spMk id="36" creationId="{A8F39C25-781C-A7DA-387A-D92FCABEE1F5}"/>
          </ac:spMkLst>
        </pc:spChg>
        <pc:spChg chg="mod ord">
          <ac:chgData name="Nataliia Chornii (UA)" userId="4e4b8b3d-5f31-49bb-9f80-8a25c04abfff" providerId="ADAL" clId="{EE97D3FE-9ACA-4467-98E5-532EC45D9D1C}" dt="2024-03-04T09:21:33.150" v="18718" actId="404"/>
          <ac:spMkLst>
            <pc:docMk/>
            <pc:sldMk cId="2630099657" sldId="933"/>
            <ac:spMk id="37" creationId="{BD11DB78-D65B-9D3C-EED7-1721F1C9BCF6}"/>
          </ac:spMkLst>
        </pc:spChg>
        <pc:spChg chg="mod ord">
          <ac:chgData name="Nataliia Chornii (UA)" userId="4e4b8b3d-5f31-49bb-9f80-8a25c04abfff" providerId="ADAL" clId="{EE97D3FE-9ACA-4467-98E5-532EC45D9D1C}" dt="2024-03-04T08:49:09.967" v="17759"/>
          <ac:spMkLst>
            <pc:docMk/>
            <pc:sldMk cId="2630099657" sldId="933"/>
            <ac:spMk id="38" creationId="{7B1F3CCD-2DE1-C2A8-D340-EAF5B3993679}"/>
          </ac:spMkLst>
        </pc:spChg>
        <pc:spChg chg="mod ord">
          <ac:chgData name="Nataliia Chornii (UA)" userId="4e4b8b3d-5f31-49bb-9f80-8a25c04abfff" providerId="ADAL" clId="{EE97D3FE-9ACA-4467-98E5-532EC45D9D1C}" dt="2024-03-04T08:49:09.967" v="17755"/>
          <ac:spMkLst>
            <pc:docMk/>
            <pc:sldMk cId="2630099657" sldId="933"/>
            <ac:spMk id="39" creationId="{DCB78F50-A328-CF00-9A1A-F2F677D9CB38}"/>
          </ac:spMkLst>
        </pc:spChg>
        <pc:spChg chg="add del mod">
          <ac:chgData name="Nataliia Chornii (UA)" userId="4e4b8b3d-5f31-49bb-9f80-8a25c04abfff" providerId="ADAL" clId="{EE97D3FE-9ACA-4467-98E5-532EC45D9D1C}" dt="2024-03-04T09:22:38.139" v="18776" actId="478"/>
          <ac:spMkLst>
            <pc:docMk/>
            <pc:sldMk cId="2630099657" sldId="933"/>
            <ac:spMk id="40" creationId="{AF126E43-CD71-D92F-946E-F968DA861B07}"/>
          </ac:spMkLst>
        </pc:spChg>
        <pc:spChg chg="add del mod">
          <ac:chgData name="Nataliia Chornii (UA)" userId="4e4b8b3d-5f31-49bb-9f80-8a25c04abfff" providerId="ADAL" clId="{EE97D3FE-9ACA-4467-98E5-532EC45D9D1C}" dt="2024-03-04T09:22:28.726" v="18772" actId="478"/>
          <ac:spMkLst>
            <pc:docMk/>
            <pc:sldMk cId="2630099657" sldId="933"/>
            <ac:spMk id="41" creationId="{F01AE362-E6EA-A35D-6ADD-152B56AF5F6D}"/>
          </ac:spMkLst>
        </pc:spChg>
        <pc:spChg chg="mod">
          <ac:chgData name="Nataliia Chornii (UA)" userId="4e4b8b3d-5f31-49bb-9f80-8a25c04abfff" providerId="ADAL" clId="{EE97D3FE-9ACA-4467-98E5-532EC45D9D1C}" dt="2024-03-04T09:22:34.649" v="18775" actId="207"/>
          <ac:spMkLst>
            <pc:docMk/>
            <pc:sldMk cId="2630099657" sldId="933"/>
            <ac:spMk id="43" creationId="{DDCF7E12-93FA-263B-9031-ADE10BE80E06}"/>
          </ac:spMkLst>
        </pc:spChg>
        <pc:spChg chg="mod">
          <ac:chgData name="Nataliia Chornii (UA)" userId="4e4b8b3d-5f31-49bb-9f80-8a25c04abfff" providerId="ADAL" clId="{EE97D3FE-9ACA-4467-98E5-532EC45D9D1C}" dt="2024-03-04T09:22:34.649" v="18775" actId="207"/>
          <ac:spMkLst>
            <pc:docMk/>
            <pc:sldMk cId="2630099657" sldId="933"/>
            <ac:spMk id="44" creationId="{DC7C1083-EC91-872C-7493-DADB72E816DE}"/>
          </ac:spMkLst>
        </pc:spChg>
        <pc:spChg chg="mod">
          <ac:chgData name="Nataliia Chornii (UA)" userId="4e4b8b3d-5f31-49bb-9f80-8a25c04abfff" providerId="ADAL" clId="{EE97D3FE-9ACA-4467-98E5-532EC45D9D1C}" dt="2024-03-04T09:22:34.649" v="18775" actId="207"/>
          <ac:spMkLst>
            <pc:docMk/>
            <pc:sldMk cId="2630099657" sldId="933"/>
            <ac:spMk id="46" creationId="{CD2B455F-A780-2503-AC7D-743CC8FD7AD0}"/>
          </ac:spMkLst>
        </pc:spChg>
        <pc:spChg chg="mod">
          <ac:chgData name="Nataliia Chornii (UA)" userId="4e4b8b3d-5f31-49bb-9f80-8a25c04abfff" providerId="ADAL" clId="{EE97D3FE-9ACA-4467-98E5-532EC45D9D1C}" dt="2024-03-04T09:22:34.649" v="18775" actId="207"/>
          <ac:spMkLst>
            <pc:docMk/>
            <pc:sldMk cId="2630099657" sldId="933"/>
            <ac:spMk id="47" creationId="{3D790F82-3547-EF9A-7C8B-74D7CF2F700B}"/>
          </ac:spMkLst>
        </pc:spChg>
        <pc:spChg chg="mod">
          <ac:chgData name="Nataliia Chornii (UA)" userId="4e4b8b3d-5f31-49bb-9f80-8a25c04abfff" providerId="ADAL" clId="{EE97D3FE-9ACA-4467-98E5-532EC45D9D1C}" dt="2024-03-04T09:22:34.649" v="18775" actId="207"/>
          <ac:spMkLst>
            <pc:docMk/>
            <pc:sldMk cId="2630099657" sldId="933"/>
            <ac:spMk id="48" creationId="{D5B76281-7D96-4E19-A4FF-B4C20BF4729A}"/>
          </ac:spMkLst>
        </pc:spChg>
        <pc:spChg chg="mod">
          <ac:chgData name="Nataliia Chornii (UA)" userId="4e4b8b3d-5f31-49bb-9f80-8a25c04abfff" providerId="ADAL" clId="{EE97D3FE-9ACA-4467-98E5-532EC45D9D1C}" dt="2024-03-04T09:22:34.649" v="18775" actId="207"/>
          <ac:spMkLst>
            <pc:docMk/>
            <pc:sldMk cId="2630099657" sldId="933"/>
            <ac:spMk id="49" creationId="{24362322-A3F3-FF69-8DDF-1FEE575B8E04}"/>
          </ac:spMkLst>
        </pc:spChg>
        <pc:spChg chg="mod">
          <ac:chgData name="Nataliia Chornii (UA)" userId="4e4b8b3d-5f31-49bb-9f80-8a25c04abfff" providerId="ADAL" clId="{EE97D3FE-9ACA-4467-98E5-532EC45D9D1C}" dt="2024-03-04T09:22:34.649" v="18775" actId="207"/>
          <ac:spMkLst>
            <pc:docMk/>
            <pc:sldMk cId="2630099657" sldId="933"/>
            <ac:spMk id="50" creationId="{1BE8142D-74E9-D6AF-D449-1F0C63E9D113}"/>
          </ac:spMkLst>
        </pc:spChg>
        <pc:spChg chg="add del mod modVis">
          <ac:chgData name="Nataliia Chornii (UA)" userId="4e4b8b3d-5f31-49bb-9f80-8a25c04abfff" providerId="ADAL" clId="{EE97D3FE-9ACA-4467-98E5-532EC45D9D1C}" dt="2024-03-04T09:22:21.851" v="18754"/>
          <ac:spMkLst>
            <pc:docMk/>
            <pc:sldMk cId="2630099657" sldId="933"/>
            <ac:spMk id="51" creationId="{5B4A884B-9C73-BD7C-7154-08C7917C672D}"/>
          </ac:spMkLst>
        </pc:spChg>
        <pc:grpChg chg="add mod">
          <ac:chgData name="Nataliia Chornii (UA)" userId="4e4b8b3d-5f31-49bb-9f80-8a25c04abfff" providerId="ADAL" clId="{EE97D3FE-9ACA-4467-98E5-532EC45D9D1C}" dt="2024-03-11T14:26:15.800" v="24092"/>
          <ac:grpSpMkLst>
            <pc:docMk/>
            <pc:sldMk cId="2630099657" sldId="933"/>
            <ac:grpSpMk id="21" creationId="{E645861B-A73D-39F5-6B88-95506436C0F5}"/>
          </ac:grpSpMkLst>
        </pc:grpChg>
        <pc:grpChg chg="add mod">
          <ac:chgData name="Nataliia Chornii (UA)" userId="4e4b8b3d-5f31-49bb-9f80-8a25c04abfff" providerId="ADAL" clId="{EE97D3FE-9ACA-4467-98E5-532EC45D9D1C}" dt="2024-03-04T09:22:34.649" v="18775" actId="207"/>
          <ac:grpSpMkLst>
            <pc:docMk/>
            <pc:sldMk cId="2630099657" sldId="933"/>
            <ac:grpSpMk id="42" creationId="{9983B4C6-2A5E-EDE9-F2A8-E4730B664094}"/>
          </ac:grpSpMkLst>
        </pc:grpChg>
        <pc:grpChg chg="add mod">
          <ac:chgData name="Nataliia Chornii (UA)" userId="4e4b8b3d-5f31-49bb-9f80-8a25c04abfff" providerId="ADAL" clId="{EE97D3FE-9ACA-4467-98E5-532EC45D9D1C}" dt="2024-03-04T09:22:34.649" v="18775" actId="207"/>
          <ac:grpSpMkLst>
            <pc:docMk/>
            <pc:sldMk cId="2630099657" sldId="933"/>
            <ac:grpSpMk id="45" creationId="{46B9523D-B1A2-DFB9-CE6B-DBB65D7141F1}"/>
          </ac:grpSpMkLst>
        </pc:grpChg>
        <pc:graphicFrameChg chg="mod">
          <ac:chgData name="Nataliia Chornii (UA)" userId="4e4b8b3d-5f31-49bb-9f80-8a25c04abfff" providerId="ADAL" clId="{EE97D3FE-9ACA-4467-98E5-532EC45D9D1C}" dt="2024-03-04T09:22:22.041" v="18769"/>
          <ac:graphicFrameMkLst>
            <pc:docMk/>
            <pc:sldMk cId="2630099657" sldId="933"/>
            <ac:graphicFrameMk id="9" creationId="{D9E6BB6A-4571-FBF8-9A7D-06ADE4374D4D}"/>
          </ac:graphicFrameMkLst>
        </pc:graphicFrameChg>
      </pc:sldChg>
      <pc:sldChg chg="addSp delSp modSp mod">
        <pc:chgData name="Nataliia Chornii (UA)" userId="4e4b8b3d-5f31-49bb-9f80-8a25c04abfff" providerId="ADAL" clId="{EE97D3FE-9ACA-4467-98E5-532EC45D9D1C}" dt="2024-03-11T14:30:34.260" v="24263"/>
        <pc:sldMkLst>
          <pc:docMk/>
          <pc:sldMk cId="156182905" sldId="934"/>
        </pc:sldMkLst>
        <pc:spChg chg="add mod">
          <ac:chgData name="Nataliia Chornii (UA)" userId="4e4b8b3d-5f31-49bb-9f80-8a25c04abfff" providerId="ADAL" clId="{EE97D3FE-9ACA-4467-98E5-532EC45D9D1C}" dt="2024-03-11T14:26:17.708" v="24093"/>
          <ac:spMkLst>
            <pc:docMk/>
            <pc:sldMk cId="156182905" sldId="934"/>
            <ac:spMk id="2" creationId="{D1D6AC03-28D5-6F25-B774-213412140BFB}"/>
          </ac:spMkLst>
        </pc:spChg>
        <pc:spChg chg="add del mod ord">
          <ac:chgData name="Nataliia Chornii (UA)" userId="4e4b8b3d-5f31-49bb-9f80-8a25c04abfff" providerId="ADAL" clId="{EE97D3FE-9ACA-4467-98E5-532EC45D9D1C}" dt="2024-03-04T08:51:06.370" v="17971" actId="478"/>
          <ac:spMkLst>
            <pc:docMk/>
            <pc:sldMk cId="156182905" sldId="934"/>
            <ac:spMk id="2" creationId="{F6B088C4-896F-0BB6-190E-567264B27E74}"/>
          </ac:spMkLst>
        </pc:spChg>
        <pc:spChg chg="mod ord">
          <ac:chgData name="Nataliia Chornii (UA)" userId="4e4b8b3d-5f31-49bb-9f80-8a25c04abfff" providerId="ADAL" clId="{EE97D3FE-9ACA-4467-98E5-532EC45D9D1C}" dt="2024-03-04T09:24:00.254" v="18860" actId="948"/>
          <ac:spMkLst>
            <pc:docMk/>
            <pc:sldMk cId="156182905" sldId="934"/>
            <ac:spMk id="3" creationId="{F4CCF02E-F3C4-C376-8F56-61BD85A2E74B}"/>
          </ac:spMkLst>
        </pc:spChg>
        <pc:spChg chg="mod ord">
          <ac:chgData name="Nataliia Chornii (UA)" userId="4e4b8b3d-5f31-49bb-9f80-8a25c04abfff" providerId="ADAL" clId="{EE97D3FE-9ACA-4467-98E5-532EC45D9D1C}" dt="2024-03-04T08:50:31.022" v="17904"/>
          <ac:spMkLst>
            <pc:docMk/>
            <pc:sldMk cId="156182905" sldId="934"/>
            <ac:spMk id="4" creationId="{872966CD-924A-B939-E655-A6BAF817DCBF}"/>
          </ac:spMkLst>
        </pc:spChg>
        <pc:spChg chg="add mod ord">
          <ac:chgData name="Nataliia Chornii (UA)" userId="4e4b8b3d-5f31-49bb-9f80-8a25c04abfff" providerId="ADAL" clId="{EE97D3FE-9ACA-4467-98E5-532EC45D9D1C}" dt="2024-03-04T08:50:55.010" v="17967" actId="554"/>
          <ac:spMkLst>
            <pc:docMk/>
            <pc:sldMk cId="156182905" sldId="934"/>
            <ac:spMk id="5" creationId="{C5CAEA48-B979-EC6F-981E-261068A25315}"/>
          </ac:spMkLst>
        </pc:spChg>
        <pc:spChg chg="add mod ord">
          <ac:chgData name="Nataliia Chornii (UA)" userId="4e4b8b3d-5f31-49bb-9f80-8a25c04abfff" providerId="ADAL" clId="{EE97D3FE-9ACA-4467-98E5-532EC45D9D1C}" dt="2024-03-04T08:50:43.416" v="17944" actId="554"/>
          <ac:spMkLst>
            <pc:docMk/>
            <pc:sldMk cId="156182905" sldId="934"/>
            <ac:spMk id="6" creationId="{184C075A-DD9A-7A1D-015C-2F785FEDF36B}"/>
          </ac:spMkLst>
        </pc:spChg>
        <pc:spChg chg="add mod ord">
          <ac:chgData name="Nataliia Chornii (UA)" userId="4e4b8b3d-5f31-49bb-9f80-8a25c04abfff" providerId="ADAL" clId="{EE97D3FE-9ACA-4467-98E5-532EC45D9D1C}" dt="2024-03-04T08:50:31.006" v="17874"/>
          <ac:spMkLst>
            <pc:docMk/>
            <pc:sldMk cId="156182905" sldId="934"/>
            <ac:spMk id="7" creationId="{B480EC34-640F-A759-BC1B-46090E9E4985}"/>
          </ac:spMkLst>
        </pc:spChg>
        <pc:spChg chg="add mod ord">
          <ac:chgData name="Nataliia Chornii (UA)" userId="4e4b8b3d-5f31-49bb-9f80-8a25c04abfff" providerId="ADAL" clId="{EE97D3FE-9ACA-4467-98E5-532EC45D9D1C}" dt="2024-03-04T08:50:31.006" v="17876"/>
          <ac:spMkLst>
            <pc:docMk/>
            <pc:sldMk cId="156182905" sldId="934"/>
            <ac:spMk id="8" creationId="{AFB34B36-403F-ED4C-6EF1-55C1DBB36EA3}"/>
          </ac:spMkLst>
        </pc:spChg>
        <pc:spChg chg="add mod ord">
          <ac:chgData name="Nataliia Chornii (UA)" userId="4e4b8b3d-5f31-49bb-9f80-8a25c04abfff" providerId="ADAL" clId="{EE97D3FE-9ACA-4467-98E5-532EC45D9D1C}" dt="2024-03-04T08:51:03.661" v="17970" actId="552"/>
          <ac:spMkLst>
            <pc:docMk/>
            <pc:sldMk cId="156182905" sldId="934"/>
            <ac:spMk id="10" creationId="{05DE4226-7C1B-B38B-5004-5E77F23CE44D}"/>
          </ac:spMkLst>
        </pc:spChg>
        <pc:spChg chg="add mod ord">
          <ac:chgData name="Nataliia Chornii (UA)" userId="4e4b8b3d-5f31-49bb-9f80-8a25c04abfff" providerId="ADAL" clId="{EE97D3FE-9ACA-4467-98E5-532EC45D9D1C}" dt="2024-03-04T08:50:31.006" v="17880"/>
          <ac:spMkLst>
            <pc:docMk/>
            <pc:sldMk cId="156182905" sldId="934"/>
            <ac:spMk id="11" creationId="{47EBD6B7-CBD3-6D96-E822-C13AFE2A15AD}"/>
          </ac:spMkLst>
        </pc:spChg>
        <pc:spChg chg="add mod ord">
          <ac:chgData name="Nataliia Chornii (UA)" userId="4e4b8b3d-5f31-49bb-9f80-8a25c04abfff" providerId="ADAL" clId="{EE97D3FE-9ACA-4467-98E5-532EC45D9D1C}" dt="2024-03-04T08:50:31.006" v="17882"/>
          <ac:spMkLst>
            <pc:docMk/>
            <pc:sldMk cId="156182905" sldId="934"/>
            <ac:spMk id="12" creationId="{3ABDDA66-98A9-A8E6-63B6-B02C77AC084E}"/>
          </ac:spMkLst>
        </pc:spChg>
        <pc:spChg chg="add mod ord">
          <ac:chgData name="Nataliia Chornii (UA)" userId="4e4b8b3d-5f31-49bb-9f80-8a25c04abfff" providerId="ADAL" clId="{EE97D3FE-9ACA-4467-98E5-532EC45D9D1C}" dt="2024-03-04T08:50:31.022" v="17884"/>
          <ac:spMkLst>
            <pc:docMk/>
            <pc:sldMk cId="156182905" sldId="934"/>
            <ac:spMk id="13" creationId="{EE63BB20-3EF9-9EF1-9D68-A5E2FD06303C}"/>
          </ac:spMkLst>
        </pc:spChg>
        <pc:spChg chg="add mod ord">
          <ac:chgData name="Nataliia Chornii (UA)" userId="4e4b8b3d-5f31-49bb-9f80-8a25c04abfff" providerId="ADAL" clId="{EE97D3FE-9ACA-4467-98E5-532EC45D9D1C}" dt="2024-03-04T08:51:00.694" v="17969" actId="552"/>
          <ac:spMkLst>
            <pc:docMk/>
            <pc:sldMk cId="156182905" sldId="934"/>
            <ac:spMk id="14" creationId="{CD9216D1-EF98-9672-ACDE-4EEE135E44BB}"/>
          </ac:spMkLst>
        </pc:spChg>
        <pc:spChg chg="add mod ord">
          <ac:chgData name="Nataliia Chornii (UA)" userId="4e4b8b3d-5f31-49bb-9f80-8a25c04abfff" providerId="ADAL" clId="{EE97D3FE-9ACA-4467-98E5-532EC45D9D1C}" dt="2024-03-04T08:50:31.022" v="17888"/>
          <ac:spMkLst>
            <pc:docMk/>
            <pc:sldMk cId="156182905" sldId="934"/>
            <ac:spMk id="15" creationId="{A59FD308-3084-7A9B-3D8B-6B2666B11ED4}"/>
          </ac:spMkLst>
        </pc:spChg>
        <pc:spChg chg="mod ord">
          <ac:chgData name="Nataliia Chornii (UA)" userId="4e4b8b3d-5f31-49bb-9f80-8a25c04abfff" providerId="ADAL" clId="{EE97D3FE-9ACA-4467-98E5-532EC45D9D1C}" dt="2024-03-04T08:51:00.694" v="17969" actId="552"/>
          <ac:spMkLst>
            <pc:docMk/>
            <pc:sldMk cId="156182905" sldId="934"/>
            <ac:spMk id="16" creationId="{30819613-CE74-49B6-0807-44FDBB81D466}"/>
          </ac:spMkLst>
        </pc:spChg>
        <pc:spChg chg="add mod ord">
          <ac:chgData name="Nataliia Chornii (UA)" userId="4e4b8b3d-5f31-49bb-9f80-8a25c04abfff" providerId="ADAL" clId="{EE97D3FE-9ACA-4467-98E5-532EC45D9D1C}" dt="2024-03-04T08:50:31.022" v="17890"/>
          <ac:spMkLst>
            <pc:docMk/>
            <pc:sldMk cId="156182905" sldId="934"/>
            <ac:spMk id="17" creationId="{ED43572E-9BCA-81C8-D35A-43B7B450EB3B}"/>
          </ac:spMkLst>
        </pc:spChg>
        <pc:spChg chg="mod ord">
          <ac:chgData name="Nataliia Chornii (UA)" userId="4e4b8b3d-5f31-49bb-9f80-8a25c04abfff" providerId="ADAL" clId="{EE97D3FE-9ACA-4467-98E5-532EC45D9D1C}" dt="2024-03-04T08:51:03.661" v="17970" actId="552"/>
          <ac:spMkLst>
            <pc:docMk/>
            <pc:sldMk cId="156182905" sldId="934"/>
            <ac:spMk id="18" creationId="{E1D4AC8F-0322-E8A8-E509-5AF71473A8F4}"/>
          </ac:spMkLst>
        </pc:spChg>
        <pc:spChg chg="add mod ord">
          <ac:chgData name="Nataliia Chornii (UA)" userId="4e4b8b3d-5f31-49bb-9f80-8a25c04abfff" providerId="ADAL" clId="{EE97D3FE-9ACA-4467-98E5-532EC45D9D1C}" dt="2024-03-04T08:50:31.022" v="17892"/>
          <ac:spMkLst>
            <pc:docMk/>
            <pc:sldMk cId="156182905" sldId="934"/>
            <ac:spMk id="19" creationId="{0A93DE12-D9B5-3489-10B2-18CCAC67A954}"/>
          </ac:spMkLst>
        </pc:spChg>
        <pc:spChg chg="mod ord">
          <ac:chgData name="Nataliia Chornii (UA)" userId="4e4b8b3d-5f31-49bb-9f80-8a25c04abfff" providerId="ADAL" clId="{EE97D3FE-9ACA-4467-98E5-532EC45D9D1C}" dt="2024-03-04T08:51:00.694" v="17969" actId="552"/>
          <ac:spMkLst>
            <pc:docMk/>
            <pc:sldMk cId="156182905" sldId="934"/>
            <ac:spMk id="20" creationId="{BCB0856A-D775-E9B2-A22B-A661D9F8D43C}"/>
          </ac:spMkLst>
        </pc:spChg>
        <pc:spChg chg="add del mod modVis">
          <ac:chgData name="Nataliia Chornii (UA)" userId="4e4b8b3d-5f31-49bb-9f80-8a25c04abfff" providerId="ADAL" clId="{EE97D3FE-9ACA-4467-98E5-532EC45D9D1C}" dt="2024-03-04T08:50:31.038" v="17920"/>
          <ac:spMkLst>
            <pc:docMk/>
            <pc:sldMk cId="156182905" sldId="934"/>
            <ac:spMk id="21" creationId="{CA62F229-DFEB-C2D2-120D-EB91FE4D3CE3}"/>
          </ac:spMkLst>
        </pc:spChg>
        <pc:spChg chg="mod ord">
          <ac:chgData name="Nataliia Chornii (UA)" userId="4e4b8b3d-5f31-49bb-9f80-8a25c04abfff" providerId="ADAL" clId="{EE97D3FE-9ACA-4467-98E5-532EC45D9D1C}" dt="2024-03-04T08:51:03.661" v="17970" actId="552"/>
          <ac:spMkLst>
            <pc:docMk/>
            <pc:sldMk cId="156182905" sldId="934"/>
            <ac:spMk id="22" creationId="{044C1CE5-09D8-63ED-7E23-4A59A70CC41B}"/>
          </ac:spMkLst>
        </pc:spChg>
        <pc:spChg chg="del mod ord">
          <ac:chgData name="Nataliia Chornii (UA)" userId="4e4b8b3d-5f31-49bb-9f80-8a25c04abfff" providerId="ADAL" clId="{EE97D3FE-9ACA-4467-98E5-532EC45D9D1C}" dt="2024-03-11T14:30:34.018" v="24262" actId="478"/>
          <ac:spMkLst>
            <pc:docMk/>
            <pc:sldMk cId="156182905" sldId="934"/>
            <ac:spMk id="23" creationId="{F0F92295-EBAE-39D7-7494-D9035179A285}"/>
          </ac:spMkLst>
        </pc:spChg>
        <pc:spChg chg="mod">
          <ac:chgData name="Nataliia Chornii (UA)" userId="4e4b8b3d-5f31-49bb-9f80-8a25c04abfff" providerId="ADAL" clId="{EE97D3FE-9ACA-4467-98E5-532EC45D9D1C}" dt="2024-03-11T14:26:17.708" v="24093"/>
          <ac:spMkLst>
            <pc:docMk/>
            <pc:sldMk cId="156182905" sldId="934"/>
            <ac:spMk id="24" creationId="{4604E135-DEA6-EC5C-6304-3C18AA45E751}"/>
          </ac:spMkLst>
        </pc:spChg>
        <pc:spChg chg="del">
          <ac:chgData name="Nataliia Chornii (UA)" userId="4e4b8b3d-5f31-49bb-9f80-8a25c04abfff" providerId="ADAL" clId="{EE97D3FE-9ACA-4467-98E5-532EC45D9D1C}" dt="2024-03-04T08:50:27.463" v="17845" actId="478"/>
          <ac:spMkLst>
            <pc:docMk/>
            <pc:sldMk cId="156182905" sldId="934"/>
            <ac:spMk id="24" creationId="{6291F660-4399-3100-7AA6-1A96F2BE2FA0}"/>
          </ac:spMkLst>
        </pc:spChg>
        <pc:spChg chg="del">
          <ac:chgData name="Nataliia Chornii (UA)" userId="4e4b8b3d-5f31-49bb-9f80-8a25c04abfff" providerId="ADAL" clId="{EE97D3FE-9ACA-4467-98E5-532EC45D9D1C}" dt="2024-03-04T08:50:26.667" v="17844" actId="478"/>
          <ac:spMkLst>
            <pc:docMk/>
            <pc:sldMk cId="156182905" sldId="934"/>
            <ac:spMk id="25" creationId="{5EF755D9-3B19-3121-7148-7B4F37248EA8}"/>
          </ac:spMkLst>
        </pc:spChg>
        <pc:spChg chg="mod">
          <ac:chgData name="Nataliia Chornii (UA)" userId="4e4b8b3d-5f31-49bb-9f80-8a25c04abfff" providerId="ADAL" clId="{EE97D3FE-9ACA-4467-98E5-532EC45D9D1C}" dt="2024-03-11T14:26:17.708" v="24093"/>
          <ac:spMkLst>
            <pc:docMk/>
            <pc:sldMk cId="156182905" sldId="934"/>
            <ac:spMk id="25" creationId="{CC657AD1-FCFE-E588-0569-B199491DA3E3}"/>
          </ac:spMkLst>
        </pc:spChg>
        <pc:spChg chg="mod">
          <ac:chgData name="Nataliia Chornii (UA)" userId="4e4b8b3d-5f31-49bb-9f80-8a25c04abfff" providerId="ADAL" clId="{EE97D3FE-9ACA-4467-98E5-532EC45D9D1C}" dt="2024-03-11T14:26:17.708" v="24093"/>
          <ac:spMkLst>
            <pc:docMk/>
            <pc:sldMk cId="156182905" sldId="934"/>
            <ac:spMk id="26" creationId="{4247E762-6AB0-489D-EBA1-B56AAB78F1A3}"/>
          </ac:spMkLst>
        </pc:spChg>
        <pc:spChg chg="del">
          <ac:chgData name="Nataliia Chornii (UA)" userId="4e4b8b3d-5f31-49bb-9f80-8a25c04abfff" providerId="ADAL" clId="{EE97D3FE-9ACA-4467-98E5-532EC45D9D1C}" dt="2024-03-04T08:50:26.156" v="17843" actId="478"/>
          <ac:spMkLst>
            <pc:docMk/>
            <pc:sldMk cId="156182905" sldId="934"/>
            <ac:spMk id="26" creationId="{D3B06146-D695-C0D1-DE10-612BD2266EB5}"/>
          </ac:spMkLst>
        </pc:spChg>
        <pc:spChg chg="del">
          <ac:chgData name="Nataliia Chornii (UA)" userId="4e4b8b3d-5f31-49bb-9f80-8a25c04abfff" providerId="ADAL" clId="{EE97D3FE-9ACA-4467-98E5-532EC45D9D1C}" dt="2024-03-04T08:50:26.156" v="17843" actId="478"/>
          <ac:spMkLst>
            <pc:docMk/>
            <pc:sldMk cId="156182905" sldId="934"/>
            <ac:spMk id="27" creationId="{C67C067A-BA44-E473-03E2-74C4CDD50A4F}"/>
          </ac:spMkLst>
        </pc:spChg>
        <pc:spChg chg="mod">
          <ac:chgData name="Nataliia Chornii (UA)" userId="4e4b8b3d-5f31-49bb-9f80-8a25c04abfff" providerId="ADAL" clId="{EE97D3FE-9ACA-4467-98E5-532EC45D9D1C}" dt="2024-03-11T14:26:17.708" v="24093"/>
          <ac:spMkLst>
            <pc:docMk/>
            <pc:sldMk cId="156182905" sldId="934"/>
            <ac:spMk id="27" creationId="{CAA8727A-E523-D5C1-24AE-55641D4DA4B7}"/>
          </ac:spMkLst>
        </pc:spChg>
        <pc:spChg chg="mod">
          <ac:chgData name="Nataliia Chornii (UA)" userId="4e4b8b3d-5f31-49bb-9f80-8a25c04abfff" providerId="ADAL" clId="{EE97D3FE-9ACA-4467-98E5-532EC45D9D1C}" dt="2024-03-11T14:26:17.708" v="24093"/>
          <ac:spMkLst>
            <pc:docMk/>
            <pc:sldMk cId="156182905" sldId="934"/>
            <ac:spMk id="28" creationId="{36094FC4-E43E-3F81-9122-A9F6E872B38D}"/>
          </ac:spMkLst>
        </pc:spChg>
        <pc:spChg chg="del">
          <ac:chgData name="Nataliia Chornii (UA)" userId="4e4b8b3d-5f31-49bb-9f80-8a25c04abfff" providerId="ADAL" clId="{EE97D3FE-9ACA-4467-98E5-532EC45D9D1C}" dt="2024-03-04T08:50:26.156" v="17843" actId="478"/>
          <ac:spMkLst>
            <pc:docMk/>
            <pc:sldMk cId="156182905" sldId="934"/>
            <ac:spMk id="28" creationId="{E6632A91-C990-C64C-6F5B-FCB2451BD5A7}"/>
          </ac:spMkLst>
        </pc:spChg>
        <pc:spChg chg="del">
          <ac:chgData name="Nataliia Chornii (UA)" userId="4e4b8b3d-5f31-49bb-9f80-8a25c04abfff" providerId="ADAL" clId="{EE97D3FE-9ACA-4467-98E5-532EC45D9D1C}" dt="2024-03-04T08:50:26.156" v="17843" actId="478"/>
          <ac:spMkLst>
            <pc:docMk/>
            <pc:sldMk cId="156182905" sldId="934"/>
            <ac:spMk id="29" creationId="{69C14E03-FCEC-D42E-5785-FE3FD67A2269}"/>
          </ac:spMkLst>
        </pc:spChg>
        <pc:spChg chg="mod">
          <ac:chgData name="Nataliia Chornii (UA)" userId="4e4b8b3d-5f31-49bb-9f80-8a25c04abfff" providerId="ADAL" clId="{EE97D3FE-9ACA-4467-98E5-532EC45D9D1C}" dt="2024-03-11T14:26:17.708" v="24093"/>
          <ac:spMkLst>
            <pc:docMk/>
            <pc:sldMk cId="156182905" sldId="934"/>
            <ac:spMk id="29" creationId="{B4B9AF5C-4DD8-EA3B-9F7C-31C72FFC0601}"/>
          </ac:spMkLst>
        </pc:spChg>
        <pc:spChg chg="add mod">
          <ac:chgData name="Nataliia Chornii (UA)" userId="4e4b8b3d-5f31-49bb-9f80-8a25c04abfff" providerId="ADAL" clId="{EE97D3FE-9ACA-4467-98E5-532EC45D9D1C}" dt="2024-03-11T14:30:34.260" v="24263"/>
          <ac:spMkLst>
            <pc:docMk/>
            <pc:sldMk cId="156182905" sldId="934"/>
            <ac:spMk id="30" creationId="{8BB93EB4-5376-2754-BE65-B10509DCC21C}"/>
          </ac:spMkLst>
        </pc:spChg>
        <pc:spChg chg="del">
          <ac:chgData name="Nataliia Chornii (UA)" userId="4e4b8b3d-5f31-49bb-9f80-8a25c04abfff" providerId="ADAL" clId="{EE97D3FE-9ACA-4467-98E5-532EC45D9D1C}" dt="2024-03-04T08:50:26.156" v="17843" actId="478"/>
          <ac:spMkLst>
            <pc:docMk/>
            <pc:sldMk cId="156182905" sldId="934"/>
            <ac:spMk id="30" creationId="{AD97BBB0-7D2A-0CBE-6249-FB26EF157720}"/>
          </ac:spMkLst>
        </pc:spChg>
        <pc:spChg chg="del">
          <ac:chgData name="Nataliia Chornii (UA)" userId="4e4b8b3d-5f31-49bb-9f80-8a25c04abfff" providerId="ADAL" clId="{EE97D3FE-9ACA-4467-98E5-532EC45D9D1C}" dt="2024-03-04T08:50:26.156" v="17843" actId="478"/>
          <ac:spMkLst>
            <pc:docMk/>
            <pc:sldMk cId="156182905" sldId="934"/>
            <ac:spMk id="31" creationId="{AE1F2CF7-12B2-2C61-02F4-8E90DCAB95C7}"/>
          </ac:spMkLst>
        </pc:spChg>
        <pc:spChg chg="del">
          <ac:chgData name="Nataliia Chornii (UA)" userId="4e4b8b3d-5f31-49bb-9f80-8a25c04abfff" providerId="ADAL" clId="{EE97D3FE-9ACA-4467-98E5-532EC45D9D1C}" dt="2024-03-04T08:50:26.156" v="17843" actId="478"/>
          <ac:spMkLst>
            <pc:docMk/>
            <pc:sldMk cId="156182905" sldId="934"/>
            <ac:spMk id="32" creationId="{AA14433E-3F38-54C2-3C19-F70FDD5BB4F8}"/>
          </ac:spMkLst>
        </pc:spChg>
        <pc:spChg chg="del">
          <ac:chgData name="Nataliia Chornii (UA)" userId="4e4b8b3d-5f31-49bb-9f80-8a25c04abfff" providerId="ADAL" clId="{EE97D3FE-9ACA-4467-98E5-532EC45D9D1C}" dt="2024-03-04T08:50:26.156" v="17843" actId="478"/>
          <ac:spMkLst>
            <pc:docMk/>
            <pc:sldMk cId="156182905" sldId="934"/>
            <ac:spMk id="33" creationId="{F92B9C6C-8C5B-AC82-5DDC-E8DB5ABA08D5}"/>
          </ac:spMkLst>
        </pc:spChg>
        <pc:spChg chg="del">
          <ac:chgData name="Nataliia Chornii (UA)" userId="4e4b8b3d-5f31-49bb-9f80-8a25c04abfff" providerId="ADAL" clId="{EE97D3FE-9ACA-4467-98E5-532EC45D9D1C}" dt="2024-03-04T08:50:29.106" v="17847" actId="478"/>
          <ac:spMkLst>
            <pc:docMk/>
            <pc:sldMk cId="156182905" sldId="934"/>
            <ac:spMk id="34" creationId="{F1D573D1-C07D-A943-A741-380994F48A4F}"/>
          </ac:spMkLst>
        </pc:spChg>
        <pc:spChg chg="del">
          <ac:chgData name="Nataliia Chornii (UA)" userId="4e4b8b3d-5f31-49bb-9f80-8a25c04abfff" providerId="ADAL" clId="{EE97D3FE-9ACA-4467-98E5-532EC45D9D1C}" dt="2024-03-04T08:50:28.554" v="17846" actId="478"/>
          <ac:spMkLst>
            <pc:docMk/>
            <pc:sldMk cId="156182905" sldId="934"/>
            <ac:spMk id="35" creationId="{4F177113-0781-5137-1CD7-3B2F5D62C022}"/>
          </ac:spMkLst>
        </pc:spChg>
        <pc:spChg chg="mod ord">
          <ac:chgData name="Nataliia Chornii (UA)" userId="4e4b8b3d-5f31-49bb-9f80-8a25c04abfff" providerId="ADAL" clId="{EE97D3FE-9ACA-4467-98E5-532EC45D9D1C}" dt="2024-03-04T08:50:58.084" v="17968" actId="554"/>
          <ac:spMkLst>
            <pc:docMk/>
            <pc:sldMk cId="156182905" sldId="934"/>
            <ac:spMk id="36" creationId="{A8F39C25-781C-A7DA-387A-D92FCABEE1F5}"/>
          </ac:spMkLst>
        </pc:spChg>
        <pc:spChg chg="mod ord">
          <ac:chgData name="Nataliia Chornii (UA)" userId="4e4b8b3d-5f31-49bb-9f80-8a25c04abfff" providerId="ADAL" clId="{EE97D3FE-9ACA-4467-98E5-532EC45D9D1C}" dt="2024-03-04T08:50:55.010" v="17967" actId="554"/>
          <ac:spMkLst>
            <pc:docMk/>
            <pc:sldMk cId="156182905" sldId="934"/>
            <ac:spMk id="37" creationId="{BD11DB78-D65B-9D3C-EED7-1721F1C9BCF6}"/>
          </ac:spMkLst>
        </pc:spChg>
        <pc:spChg chg="mod ord">
          <ac:chgData name="Nataliia Chornii (UA)" userId="4e4b8b3d-5f31-49bb-9f80-8a25c04abfff" providerId="ADAL" clId="{EE97D3FE-9ACA-4467-98E5-532EC45D9D1C}" dt="2024-03-04T08:50:43.416" v="17944" actId="554"/>
          <ac:spMkLst>
            <pc:docMk/>
            <pc:sldMk cId="156182905" sldId="934"/>
            <ac:spMk id="38" creationId="{7B1F3CCD-2DE1-C2A8-D340-EAF5B3993679}"/>
          </ac:spMkLst>
        </pc:spChg>
        <pc:spChg chg="mod ord">
          <ac:chgData name="Nataliia Chornii (UA)" userId="4e4b8b3d-5f31-49bb-9f80-8a25c04abfff" providerId="ADAL" clId="{EE97D3FE-9ACA-4467-98E5-532EC45D9D1C}" dt="2024-03-04T08:50:55.010" v="17967" actId="554"/>
          <ac:spMkLst>
            <pc:docMk/>
            <pc:sldMk cId="156182905" sldId="934"/>
            <ac:spMk id="39" creationId="{DCB78F50-A328-CF00-9A1A-F2F677D9CB38}"/>
          </ac:spMkLst>
        </pc:spChg>
        <pc:spChg chg="mod">
          <ac:chgData name="Nataliia Chornii (UA)" userId="4e4b8b3d-5f31-49bb-9f80-8a25c04abfff" providerId="ADAL" clId="{EE97D3FE-9ACA-4467-98E5-532EC45D9D1C}" dt="2024-03-04T09:23:03.409" v="18821"/>
          <ac:spMkLst>
            <pc:docMk/>
            <pc:sldMk cId="156182905" sldId="934"/>
            <ac:spMk id="41" creationId="{DABD7A9D-D820-C081-A9D5-AC52DD5B6B51}"/>
          </ac:spMkLst>
        </pc:spChg>
        <pc:spChg chg="mod">
          <ac:chgData name="Nataliia Chornii (UA)" userId="4e4b8b3d-5f31-49bb-9f80-8a25c04abfff" providerId="ADAL" clId="{EE97D3FE-9ACA-4467-98E5-532EC45D9D1C}" dt="2024-03-04T09:23:03.409" v="18821"/>
          <ac:spMkLst>
            <pc:docMk/>
            <pc:sldMk cId="156182905" sldId="934"/>
            <ac:spMk id="42" creationId="{E7578FB7-1660-D103-11C4-5F70CD023C74}"/>
          </ac:spMkLst>
        </pc:spChg>
        <pc:spChg chg="mod">
          <ac:chgData name="Nataliia Chornii (UA)" userId="4e4b8b3d-5f31-49bb-9f80-8a25c04abfff" providerId="ADAL" clId="{EE97D3FE-9ACA-4467-98E5-532EC45D9D1C}" dt="2024-03-04T09:24:22.678" v="18880" actId="207"/>
          <ac:spMkLst>
            <pc:docMk/>
            <pc:sldMk cId="156182905" sldId="934"/>
            <ac:spMk id="44" creationId="{19F21680-195A-FFC7-6C8F-9E56D7524CFE}"/>
          </ac:spMkLst>
        </pc:spChg>
        <pc:spChg chg="mod">
          <ac:chgData name="Nataliia Chornii (UA)" userId="4e4b8b3d-5f31-49bb-9f80-8a25c04abfff" providerId="ADAL" clId="{EE97D3FE-9ACA-4467-98E5-532EC45D9D1C}" dt="2024-03-04T09:24:22.678" v="18880" actId="207"/>
          <ac:spMkLst>
            <pc:docMk/>
            <pc:sldMk cId="156182905" sldId="934"/>
            <ac:spMk id="45" creationId="{21B7A4F4-93B2-50EC-F8D6-818E05DDAFA9}"/>
          </ac:spMkLst>
        </pc:spChg>
        <pc:spChg chg="mod">
          <ac:chgData name="Nataliia Chornii (UA)" userId="4e4b8b3d-5f31-49bb-9f80-8a25c04abfff" providerId="ADAL" clId="{EE97D3FE-9ACA-4467-98E5-532EC45D9D1C}" dt="2024-03-04T09:24:22.678" v="18880" actId="207"/>
          <ac:spMkLst>
            <pc:docMk/>
            <pc:sldMk cId="156182905" sldId="934"/>
            <ac:spMk id="46" creationId="{95B1505D-D295-4AF2-75EF-6C6A982FF3F2}"/>
          </ac:spMkLst>
        </pc:spChg>
        <pc:spChg chg="mod">
          <ac:chgData name="Nataliia Chornii (UA)" userId="4e4b8b3d-5f31-49bb-9f80-8a25c04abfff" providerId="ADAL" clId="{EE97D3FE-9ACA-4467-98E5-532EC45D9D1C}" dt="2024-03-04T09:24:22.678" v="18880" actId="207"/>
          <ac:spMkLst>
            <pc:docMk/>
            <pc:sldMk cId="156182905" sldId="934"/>
            <ac:spMk id="47" creationId="{E1F62531-D1EC-DAA8-4234-6FBF5EDACC73}"/>
          </ac:spMkLst>
        </pc:spChg>
        <pc:spChg chg="mod">
          <ac:chgData name="Nataliia Chornii (UA)" userId="4e4b8b3d-5f31-49bb-9f80-8a25c04abfff" providerId="ADAL" clId="{EE97D3FE-9ACA-4467-98E5-532EC45D9D1C}" dt="2024-03-04T09:24:22.678" v="18880" actId="207"/>
          <ac:spMkLst>
            <pc:docMk/>
            <pc:sldMk cId="156182905" sldId="934"/>
            <ac:spMk id="48" creationId="{689DF171-8843-18F6-B7AB-9109D8CC55D7}"/>
          </ac:spMkLst>
        </pc:spChg>
        <pc:spChg chg="mod">
          <ac:chgData name="Nataliia Chornii (UA)" userId="4e4b8b3d-5f31-49bb-9f80-8a25c04abfff" providerId="ADAL" clId="{EE97D3FE-9ACA-4467-98E5-532EC45D9D1C}" dt="2024-03-04T09:24:22.678" v="18880" actId="207"/>
          <ac:spMkLst>
            <pc:docMk/>
            <pc:sldMk cId="156182905" sldId="934"/>
            <ac:spMk id="50" creationId="{882403BF-7120-276B-2F13-F5707C75AC33}"/>
          </ac:spMkLst>
        </pc:spChg>
        <pc:spChg chg="mod">
          <ac:chgData name="Nataliia Chornii (UA)" userId="4e4b8b3d-5f31-49bb-9f80-8a25c04abfff" providerId="ADAL" clId="{EE97D3FE-9ACA-4467-98E5-532EC45D9D1C}" dt="2024-03-04T09:24:22.678" v="18880" actId="207"/>
          <ac:spMkLst>
            <pc:docMk/>
            <pc:sldMk cId="156182905" sldId="934"/>
            <ac:spMk id="51" creationId="{DB9474BC-A3DA-259F-37B3-620DAC058BCF}"/>
          </ac:spMkLst>
        </pc:spChg>
        <pc:spChg chg="mod">
          <ac:chgData name="Nataliia Chornii (UA)" userId="4e4b8b3d-5f31-49bb-9f80-8a25c04abfff" providerId="ADAL" clId="{EE97D3FE-9ACA-4467-98E5-532EC45D9D1C}" dt="2024-03-04T09:24:22.678" v="18880" actId="207"/>
          <ac:spMkLst>
            <pc:docMk/>
            <pc:sldMk cId="156182905" sldId="934"/>
            <ac:spMk id="53" creationId="{A4947BD2-EC32-C8A0-6FA6-08FF86A2D127}"/>
          </ac:spMkLst>
        </pc:spChg>
        <pc:spChg chg="mod">
          <ac:chgData name="Nataliia Chornii (UA)" userId="4e4b8b3d-5f31-49bb-9f80-8a25c04abfff" providerId="ADAL" clId="{EE97D3FE-9ACA-4467-98E5-532EC45D9D1C}" dt="2024-03-04T09:24:22.678" v="18880" actId="207"/>
          <ac:spMkLst>
            <pc:docMk/>
            <pc:sldMk cId="156182905" sldId="934"/>
            <ac:spMk id="54" creationId="{7FC17974-286E-6EF3-A2F5-F2252864A004}"/>
          </ac:spMkLst>
        </pc:spChg>
        <pc:spChg chg="mod">
          <ac:chgData name="Nataliia Chornii (UA)" userId="4e4b8b3d-5f31-49bb-9f80-8a25c04abfff" providerId="ADAL" clId="{EE97D3FE-9ACA-4467-98E5-532EC45D9D1C}" dt="2024-03-04T09:24:22.678" v="18880" actId="207"/>
          <ac:spMkLst>
            <pc:docMk/>
            <pc:sldMk cId="156182905" sldId="934"/>
            <ac:spMk id="55" creationId="{6CC5BE16-A0F7-904D-47E4-53C9647CC8FD}"/>
          </ac:spMkLst>
        </pc:spChg>
        <pc:spChg chg="add del mod modVis">
          <ac:chgData name="Nataliia Chornii (UA)" userId="4e4b8b3d-5f31-49bb-9f80-8a25c04abfff" providerId="ADAL" clId="{EE97D3FE-9ACA-4467-98E5-532EC45D9D1C}" dt="2024-03-04T09:24:00.081" v="18857"/>
          <ac:spMkLst>
            <pc:docMk/>
            <pc:sldMk cId="156182905" sldId="934"/>
            <ac:spMk id="56" creationId="{FBF6F6BB-3A0C-3806-D351-36A6061277BA}"/>
          </ac:spMkLst>
        </pc:spChg>
        <pc:grpChg chg="add mod">
          <ac:chgData name="Nataliia Chornii (UA)" userId="4e4b8b3d-5f31-49bb-9f80-8a25c04abfff" providerId="ADAL" clId="{EE97D3FE-9ACA-4467-98E5-532EC45D9D1C}" dt="2024-03-11T14:26:17.708" v="24093"/>
          <ac:grpSpMkLst>
            <pc:docMk/>
            <pc:sldMk cId="156182905" sldId="934"/>
            <ac:grpSpMk id="21" creationId="{339DCDBE-C394-66D0-0228-6B91B0EE7864}"/>
          </ac:grpSpMkLst>
        </pc:grpChg>
        <pc:grpChg chg="add del mod">
          <ac:chgData name="Nataliia Chornii (UA)" userId="4e4b8b3d-5f31-49bb-9f80-8a25c04abfff" providerId="ADAL" clId="{EE97D3FE-9ACA-4467-98E5-532EC45D9D1C}" dt="2024-03-04T09:24:12.369" v="18877" actId="478"/>
          <ac:grpSpMkLst>
            <pc:docMk/>
            <pc:sldMk cId="156182905" sldId="934"/>
            <ac:grpSpMk id="40" creationId="{143EDD2A-3160-1DEE-5476-17AE8C9596CA}"/>
          </ac:grpSpMkLst>
        </pc:grpChg>
        <pc:grpChg chg="add del mod">
          <ac:chgData name="Nataliia Chornii (UA)" userId="4e4b8b3d-5f31-49bb-9f80-8a25c04abfff" providerId="ADAL" clId="{EE97D3FE-9ACA-4467-98E5-532EC45D9D1C}" dt="2024-03-04T09:24:25.114" v="18881" actId="478"/>
          <ac:grpSpMkLst>
            <pc:docMk/>
            <pc:sldMk cId="156182905" sldId="934"/>
            <ac:grpSpMk id="43" creationId="{B86A999D-1831-9C76-2072-580448F67F52}"/>
          </ac:grpSpMkLst>
        </pc:grpChg>
        <pc:grpChg chg="add mod">
          <ac:chgData name="Nataliia Chornii (UA)" userId="4e4b8b3d-5f31-49bb-9f80-8a25c04abfff" providerId="ADAL" clId="{EE97D3FE-9ACA-4467-98E5-532EC45D9D1C}" dt="2024-03-04T09:24:22.678" v="18880" actId="207"/>
          <ac:grpSpMkLst>
            <pc:docMk/>
            <pc:sldMk cId="156182905" sldId="934"/>
            <ac:grpSpMk id="49" creationId="{9D9605C7-C39E-9047-42DC-7227ED31A182}"/>
          </ac:grpSpMkLst>
        </pc:grpChg>
        <pc:grpChg chg="add mod">
          <ac:chgData name="Nataliia Chornii (UA)" userId="4e4b8b3d-5f31-49bb-9f80-8a25c04abfff" providerId="ADAL" clId="{EE97D3FE-9ACA-4467-98E5-532EC45D9D1C}" dt="2024-03-04T09:24:22.678" v="18880" actId="207"/>
          <ac:grpSpMkLst>
            <pc:docMk/>
            <pc:sldMk cId="156182905" sldId="934"/>
            <ac:grpSpMk id="52" creationId="{1E565628-D9DC-F695-17A2-02933C2B5EB6}"/>
          </ac:grpSpMkLst>
        </pc:grpChg>
        <pc:graphicFrameChg chg="mod">
          <ac:chgData name="Nataliia Chornii (UA)" userId="4e4b8b3d-5f31-49bb-9f80-8a25c04abfff" providerId="ADAL" clId="{EE97D3FE-9ACA-4467-98E5-532EC45D9D1C}" dt="2024-03-04T09:24:00.264" v="18872"/>
          <ac:graphicFrameMkLst>
            <pc:docMk/>
            <pc:sldMk cId="156182905" sldId="934"/>
            <ac:graphicFrameMk id="9" creationId="{D9E6BB6A-4571-FBF8-9A7D-06ADE4374D4D}"/>
          </ac:graphicFrameMkLst>
        </pc:graphicFrameChg>
      </pc:sldChg>
      <pc:sldChg chg="addSp delSp modSp mod modCm">
        <pc:chgData name="Nataliia Chornii (UA)" userId="4e4b8b3d-5f31-49bb-9f80-8a25c04abfff" providerId="ADAL" clId="{EE97D3FE-9ACA-4467-98E5-532EC45D9D1C}" dt="2024-03-11T14:30:37.379" v="24265"/>
        <pc:sldMkLst>
          <pc:docMk/>
          <pc:sldMk cId="2803239078" sldId="935"/>
        </pc:sldMkLst>
        <pc:spChg chg="add mod">
          <ac:chgData name="Nataliia Chornii (UA)" userId="4e4b8b3d-5f31-49bb-9f80-8a25c04abfff" providerId="ADAL" clId="{EE97D3FE-9ACA-4467-98E5-532EC45D9D1C}" dt="2024-03-11T14:26:20.669" v="24094"/>
          <ac:spMkLst>
            <pc:docMk/>
            <pc:sldMk cId="2803239078" sldId="935"/>
            <ac:spMk id="2" creationId="{CFDF6535-C156-7ADE-BFD5-5D34028DCE11}"/>
          </ac:spMkLst>
        </pc:spChg>
        <pc:spChg chg="del mod ord">
          <ac:chgData name="Nataliia Chornii (UA)" userId="4e4b8b3d-5f31-49bb-9f80-8a25c04abfff" providerId="ADAL" clId="{EE97D3FE-9ACA-4467-98E5-532EC45D9D1C}" dt="2024-03-04T08:51:52.263" v="18084" actId="478"/>
          <ac:spMkLst>
            <pc:docMk/>
            <pc:sldMk cId="2803239078" sldId="935"/>
            <ac:spMk id="2" creationId="{F6B088C4-896F-0BB6-190E-567264B27E74}"/>
          </ac:spMkLst>
        </pc:spChg>
        <pc:spChg chg="mod ord">
          <ac:chgData name="Nataliia Chornii (UA)" userId="4e4b8b3d-5f31-49bb-9f80-8a25c04abfff" providerId="ADAL" clId="{EE97D3FE-9ACA-4467-98E5-532EC45D9D1C}" dt="2024-03-04T10:47:32.007" v="20728" actId="948"/>
          <ac:spMkLst>
            <pc:docMk/>
            <pc:sldMk cId="2803239078" sldId="935"/>
            <ac:spMk id="3" creationId="{F4CCF02E-F3C4-C376-8F56-61BD85A2E74B}"/>
          </ac:spMkLst>
        </pc:spChg>
        <pc:spChg chg="mod ord">
          <ac:chgData name="Nataliia Chornii (UA)" userId="4e4b8b3d-5f31-49bb-9f80-8a25c04abfff" providerId="ADAL" clId="{EE97D3FE-9ACA-4467-98E5-532EC45D9D1C}" dt="2024-03-04T10:47:14.034" v="20691"/>
          <ac:spMkLst>
            <pc:docMk/>
            <pc:sldMk cId="2803239078" sldId="935"/>
            <ac:spMk id="4" creationId="{872966CD-924A-B939-E655-A6BAF817DCBF}"/>
          </ac:spMkLst>
        </pc:spChg>
        <pc:spChg chg="add mod ord">
          <ac:chgData name="Nataliia Chornii (UA)" userId="4e4b8b3d-5f31-49bb-9f80-8a25c04abfff" providerId="ADAL" clId="{EE97D3FE-9ACA-4467-98E5-532EC45D9D1C}" dt="2024-03-04T10:47:14.034" v="20699"/>
          <ac:spMkLst>
            <pc:docMk/>
            <pc:sldMk cId="2803239078" sldId="935"/>
            <ac:spMk id="5" creationId="{83943DC5-755B-83CF-2267-D47114310827}"/>
          </ac:spMkLst>
        </pc:spChg>
        <pc:spChg chg="add mod ord">
          <ac:chgData name="Nataliia Chornii (UA)" userId="4e4b8b3d-5f31-49bb-9f80-8a25c04abfff" providerId="ADAL" clId="{EE97D3FE-9ACA-4467-98E5-532EC45D9D1C}" dt="2024-03-04T10:47:14.034" v="20701"/>
          <ac:spMkLst>
            <pc:docMk/>
            <pc:sldMk cId="2803239078" sldId="935"/>
            <ac:spMk id="6" creationId="{055319BD-345C-14A4-0FFD-495D53480B46}"/>
          </ac:spMkLst>
        </pc:spChg>
        <pc:spChg chg="add mod ord">
          <ac:chgData name="Nataliia Chornii (UA)" userId="4e4b8b3d-5f31-49bb-9f80-8a25c04abfff" providerId="ADAL" clId="{EE97D3FE-9ACA-4467-98E5-532EC45D9D1C}" dt="2024-03-04T10:47:14.034" v="20703"/>
          <ac:spMkLst>
            <pc:docMk/>
            <pc:sldMk cId="2803239078" sldId="935"/>
            <ac:spMk id="7" creationId="{E4253512-3E4F-6500-EFE9-96171B9047A0}"/>
          </ac:spMkLst>
        </pc:spChg>
        <pc:spChg chg="add mod ord">
          <ac:chgData name="Nataliia Chornii (UA)" userId="4e4b8b3d-5f31-49bb-9f80-8a25c04abfff" providerId="ADAL" clId="{EE97D3FE-9ACA-4467-98E5-532EC45D9D1C}" dt="2024-03-04T10:47:14.034" v="20705"/>
          <ac:spMkLst>
            <pc:docMk/>
            <pc:sldMk cId="2803239078" sldId="935"/>
            <ac:spMk id="8" creationId="{2561F30E-3361-A8CE-EEA2-061CBACD6E9E}"/>
          </ac:spMkLst>
        </pc:spChg>
        <pc:spChg chg="add mod ord">
          <ac:chgData name="Nataliia Chornii (UA)" userId="4e4b8b3d-5f31-49bb-9f80-8a25c04abfff" providerId="ADAL" clId="{EE97D3FE-9ACA-4467-98E5-532EC45D9D1C}" dt="2024-03-04T10:47:14.049" v="20707"/>
          <ac:spMkLst>
            <pc:docMk/>
            <pc:sldMk cId="2803239078" sldId="935"/>
            <ac:spMk id="10" creationId="{1CC3353C-42FA-10BE-ABF0-005A75FDF7CA}"/>
          </ac:spMkLst>
        </pc:spChg>
        <pc:spChg chg="add mod ord">
          <ac:chgData name="Nataliia Chornii (UA)" userId="4e4b8b3d-5f31-49bb-9f80-8a25c04abfff" providerId="ADAL" clId="{EE97D3FE-9ACA-4467-98E5-532EC45D9D1C}" dt="2024-03-04T10:47:14.050" v="20709"/>
          <ac:spMkLst>
            <pc:docMk/>
            <pc:sldMk cId="2803239078" sldId="935"/>
            <ac:spMk id="11" creationId="{4892A7B9-5704-F3C9-DB3D-C181CB3B4019}"/>
          </ac:spMkLst>
        </pc:spChg>
        <pc:spChg chg="add mod ord">
          <ac:chgData name="Nataliia Chornii (UA)" userId="4e4b8b3d-5f31-49bb-9f80-8a25c04abfff" providerId="ADAL" clId="{EE97D3FE-9ACA-4467-98E5-532EC45D9D1C}" dt="2024-03-04T10:47:14.050" v="20711"/>
          <ac:spMkLst>
            <pc:docMk/>
            <pc:sldMk cId="2803239078" sldId="935"/>
            <ac:spMk id="12" creationId="{22D1CF2B-C5CF-CFF2-97D0-1610F7F5D9A7}"/>
          </ac:spMkLst>
        </pc:spChg>
        <pc:spChg chg="add mod ord">
          <ac:chgData name="Nataliia Chornii (UA)" userId="4e4b8b3d-5f31-49bb-9f80-8a25c04abfff" providerId="ADAL" clId="{EE97D3FE-9ACA-4467-98E5-532EC45D9D1C}" dt="2024-03-04T10:47:14.050" v="20713"/>
          <ac:spMkLst>
            <pc:docMk/>
            <pc:sldMk cId="2803239078" sldId="935"/>
            <ac:spMk id="13" creationId="{EE9C66FF-977E-2D46-F3DD-32321D3722EF}"/>
          </ac:spMkLst>
        </pc:spChg>
        <pc:spChg chg="add mod ord">
          <ac:chgData name="Nataliia Chornii (UA)" userId="4e4b8b3d-5f31-49bb-9f80-8a25c04abfff" providerId="ADAL" clId="{EE97D3FE-9ACA-4467-98E5-532EC45D9D1C}" dt="2024-03-04T10:47:14.034" v="20679"/>
          <ac:spMkLst>
            <pc:docMk/>
            <pc:sldMk cId="2803239078" sldId="935"/>
            <ac:spMk id="14" creationId="{3C13FF64-7107-E400-47C3-F95CE48F674D}"/>
          </ac:spMkLst>
        </pc:spChg>
        <pc:spChg chg="add mod ord">
          <ac:chgData name="Nataliia Chornii (UA)" userId="4e4b8b3d-5f31-49bb-9f80-8a25c04abfff" providerId="ADAL" clId="{EE97D3FE-9ACA-4467-98E5-532EC45D9D1C}" dt="2024-03-04T10:47:14.034" v="20681"/>
          <ac:spMkLst>
            <pc:docMk/>
            <pc:sldMk cId="2803239078" sldId="935"/>
            <ac:spMk id="15" creationId="{6FF324E6-AF46-409C-599B-E1C9ECC94CF9}"/>
          </ac:spMkLst>
        </pc:spChg>
        <pc:spChg chg="mod ord">
          <ac:chgData name="Nataliia Chornii (UA)" userId="4e4b8b3d-5f31-49bb-9f80-8a25c04abfff" providerId="ADAL" clId="{EE97D3FE-9ACA-4467-98E5-532EC45D9D1C}" dt="2024-03-04T10:47:14.034" v="20693"/>
          <ac:spMkLst>
            <pc:docMk/>
            <pc:sldMk cId="2803239078" sldId="935"/>
            <ac:spMk id="16" creationId="{30819613-CE74-49B6-0807-44FDBB81D466}"/>
          </ac:spMkLst>
        </pc:spChg>
        <pc:spChg chg="add mod ord">
          <ac:chgData name="Nataliia Chornii (UA)" userId="4e4b8b3d-5f31-49bb-9f80-8a25c04abfff" providerId="ADAL" clId="{EE97D3FE-9ACA-4467-98E5-532EC45D9D1C}" dt="2024-03-04T10:47:14.034" v="20683"/>
          <ac:spMkLst>
            <pc:docMk/>
            <pc:sldMk cId="2803239078" sldId="935"/>
            <ac:spMk id="17" creationId="{2D5601AF-A39D-8CD4-7B2A-0E35C1C67F64}"/>
          </ac:spMkLst>
        </pc:spChg>
        <pc:spChg chg="mod ord">
          <ac:chgData name="Nataliia Chornii (UA)" userId="4e4b8b3d-5f31-49bb-9f80-8a25c04abfff" providerId="ADAL" clId="{EE97D3FE-9ACA-4467-98E5-532EC45D9D1C}" dt="2024-03-04T10:47:14.034" v="20695"/>
          <ac:spMkLst>
            <pc:docMk/>
            <pc:sldMk cId="2803239078" sldId="935"/>
            <ac:spMk id="18" creationId="{E1D4AC8F-0322-E8A8-E509-5AF71473A8F4}"/>
          </ac:spMkLst>
        </pc:spChg>
        <pc:spChg chg="add del mod modVis">
          <ac:chgData name="Nataliia Chornii (UA)" userId="4e4b8b3d-5f31-49bb-9f80-8a25c04abfff" providerId="ADAL" clId="{EE97D3FE-9ACA-4467-98E5-532EC45D9D1C}" dt="2024-03-04T08:51:25.568" v="18037"/>
          <ac:spMkLst>
            <pc:docMk/>
            <pc:sldMk cId="2803239078" sldId="935"/>
            <ac:spMk id="19" creationId="{0B9AF777-15A1-E696-8672-CA2008D6AB44}"/>
          </ac:spMkLst>
        </pc:spChg>
        <pc:spChg chg="mod">
          <ac:chgData name="Nataliia Chornii (UA)" userId="4e4b8b3d-5f31-49bb-9f80-8a25c04abfff" providerId="ADAL" clId="{EE97D3FE-9ACA-4467-98E5-532EC45D9D1C}" dt="2024-03-04T09:22:59.788" v="18820" actId="207"/>
          <ac:spMkLst>
            <pc:docMk/>
            <pc:sldMk cId="2803239078" sldId="935"/>
            <ac:spMk id="21" creationId="{4E92F591-2159-3A2F-55D2-E780D989C687}"/>
          </ac:spMkLst>
        </pc:spChg>
        <pc:spChg chg="mod">
          <ac:chgData name="Nataliia Chornii (UA)" userId="4e4b8b3d-5f31-49bb-9f80-8a25c04abfff" providerId="ADAL" clId="{EE97D3FE-9ACA-4467-98E5-532EC45D9D1C}" dt="2024-03-04T09:22:59.788" v="18820" actId="207"/>
          <ac:spMkLst>
            <pc:docMk/>
            <pc:sldMk cId="2803239078" sldId="935"/>
            <ac:spMk id="22" creationId="{1748EE48-7E9C-A35E-C455-9FA5460BFED0}"/>
          </ac:spMkLst>
        </pc:spChg>
        <pc:spChg chg="del mod ord">
          <ac:chgData name="Nataliia Chornii (UA)" userId="4e4b8b3d-5f31-49bb-9f80-8a25c04abfff" providerId="ADAL" clId="{EE97D3FE-9ACA-4467-98E5-532EC45D9D1C}" dt="2024-03-11T14:30:36.860" v="24264" actId="478"/>
          <ac:spMkLst>
            <pc:docMk/>
            <pc:sldMk cId="2803239078" sldId="935"/>
            <ac:spMk id="23" creationId="{F0F92295-EBAE-39D7-7494-D9035179A285}"/>
          </ac:spMkLst>
        </pc:spChg>
        <pc:spChg chg="del">
          <ac:chgData name="Nataliia Chornii (UA)" userId="4e4b8b3d-5f31-49bb-9f80-8a25c04abfff" providerId="ADAL" clId="{EE97D3FE-9ACA-4467-98E5-532EC45D9D1C}" dt="2024-03-04T08:51:18.445" v="17974" actId="478"/>
          <ac:spMkLst>
            <pc:docMk/>
            <pc:sldMk cId="2803239078" sldId="935"/>
            <ac:spMk id="24" creationId="{6291F660-4399-3100-7AA6-1A96F2BE2FA0}"/>
          </ac:spMkLst>
        </pc:spChg>
        <pc:spChg chg="mod">
          <ac:chgData name="Nataliia Chornii (UA)" userId="4e4b8b3d-5f31-49bb-9f80-8a25c04abfff" providerId="ADAL" clId="{EE97D3FE-9ACA-4467-98E5-532EC45D9D1C}" dt="2024-03-11T14:26:20.669" v="24094"/>
          <ac:spMkLst>
            <pc:docMk/>
            <pc:sldMk cId="2803239078" sldId="935"/>
            <ac:spMk id="24" creationId="{C837367E-809C-5E37-6EA7-2C6E2749CE71}"/>
          </ac:spMkLst>
        </pc:spChg>
        <pc:spChg chg="mod">
          <ac:chgData name="Nataliia Chornii (UA)" userId="4e4b8b3d-5f31-49bb-9f80-8a25c04abfff" providerId="ADAL" clId="{EE97D3FE-9ACA-4467-98E5-532EC45D9D1C}" dt="2024-03-11T14:26:20.669" v="24094"/>
          <ac:spMkLst>
            <pc:docMk/>
            <pc:sldMk cId="2803239078" sldId="935"/>
            <ac:spMk id="25" creationId="{29142F77-D4A9-2442-6F69-57695649E138}"/>
          </ac:spMkLst>
        </pc:spChg>
        <pc:spChg chg="del">
          <ac:chgData name="Nataliia Chornii (UA)" userId="4e4b8b3d-5f31-49bb-9f80-8a25c04abfff" providerId="ADAL" clId="{EE97D3FE-9ACA-4467-98E5-532EC45D9D1C}" dt="2024-03-04T08:51:18.445" v="17974" actId="478"/>
          <ac:spMkLst>
            <pc:docMk/>
            <pc:sldMk cId="2803239078" sldId="935"/>
            <ac:spMk id="25" creationId="{5EF755D9-3B19-3121-7148-7B4F37248EA8}"/>
          </ac:spMkLst>
        </pc:spChg>
        <pc:spChg chg="mod">
          <ac:chgData name="Nataliia Chornii (UA)" userId="4e4b8b3d-5f31-49bb-9f80-8a25c04abfff" providerId="ADAL" clId="{EE97D3FE-9ACA-4467-98E5-532EC45D9D1C}" dt="2024-03-11T14:26:20.669" v="24094"/>
          <ac:spMkLst>
            <pc:docMk/>
            <pc:sldMk cId="2803239078" sldId="935"/>
            <ac:spMk id="26" creationId="{66A1FDAA-E9CA-5AF7-B0E8-7D2266E468F1}"/>
          </ac:spMkLst>
        </pc:spChg>
        <pc:spChg chg="del">
          <ac:chgData name="Nataliia Chornii (UA)" userId="4e4b8b3d-5f31-49bb-9f80-8a25c04abfff" providerId="ADAL" clId="{EE97D3FE-9ACA-4467-98E5-532EC45D9D1C}" dt="2024-03-04T08:51:15.001" v="17972" actId="478"/>
          <ac:spMkLst>
            <pc:docMk/>
            <pc:sldMk cId="2803239078" sldId="935"/>
            <ac:spMk id="26" creationId="{D3B06146-D695-C0D1-DE10-612BD2266EB5}"/>
          </ac:spMkLst>
        </pc:spChg>
        <pc:spChg chg="mod">
          <ac:chgData name="Nataliia Chornii (UA)" userId="4e4b8b3d-5f31-49bb-9f80-8a25c04abfff" providerId="ADAL" clId="{EE97D3FE-9ACA-4467-98E5-532EC45D9D1C}" dt="2024-03-11T14:26:20.669" v="24094"/>
          <ac:spMkLst>
            <pc:docMk/>
            <pc:sldMk cId="2803239078" sldId="935"/>
            <ac:spMk id="27" creationId="{87E27681-B449-1198-572C-E3F21DAF572A}"/>
          </ac:spMkLst>
        </pc:spChg>
        <pc:spChg chg="del">
          <ac:chgData name="Nataliia Chornii (UA)" userId="4e4b8b3d-5f31-49bb-9f80-8a25c04abfff" providerId="ADAL" clId="{EE97D3FE-9ACA-4467-98E5-532EC45D9D1C}" dt="2024-03-04T08:51:15.001" v="17972" actId="478"/>
          <ac:spMkLst>
            <pc:docMk/>
            <pc:sldMk cId="2803239078" sldId="935"/>
            <ac:spMk id="27" creationId="{C67C067A-BA44-E473-03E2-74C4CDD50A4F}"/>
          </ac:spMkLst>
        </pc:spChg>
        <pc:spChg chg="mod">
          <ac:chgData name="Nataliia Chornii (UA)" userId="4e4b8b3d-5f31-49bb-9f80-8a25c04abfff" providerId="ADAL" clId="{EE97D3FE-9ACA-4467-98E5-532EC45D9D1C}" dt="2024-03-11T14:26:20.669" v="24094"/>
          <ac:spMkLst>
            <pc:docMk/>
            <pc:sldMk cId="2803239078" sldId="935"/>
            <ac:spMk id="28" creationId="{28B724DB-6680-CE51-5242-0EE0186B895F}"/>
          </ac:spMkLst>
        </pc:spChg>
        <pc:spChg chg="del">
          <ac:chgData name="Nataliia Chornii (UA)" userId="4e4b8b3d-5f31-49bb-9f80-8a25c04abfff" providerId="ADAL" clId="{EE97D3FE-9ACA-4467-98E5-532EC45D9D1C}" dt="2024-03-04T08:51:15.001" v="17972" actId="478"/>
          <ac:spMkLst>
            <pc:docMk/>
            <pc:sldMk cId="2803239078" sldId="935"/>
            <ac:spMk id="28" creationId="{E6632A91-C990-C64C-6F5B-FCB2451BD5A7}"/>
          </ac:spMkLst>
        </pc:spChg>
        <pc:spChg chg="mod">
          <ac:chgData name="Nataliia Chornii (UA)" userId="4e4b8b3d-5f31-49bb-9f80-8a25c04abfff" providerId="ADAL" clId="{EE97D3FE-9ACA-4467-98E5-532EC45D9D1C}" dt="2024-03-11T14:26:20.669" v="24094"/>
          <ac:spMkLst>
            <pc:docMk/>
            <pc:sldMk cId="2803239078" sldId="935"/>
            <ac:spMk id="29" creationId="{5B2AF15D-AE94-5DCB-461F-FDB6A168F411}"/>
          </ac:spMkLst>
        </pc:spChg>
        <pc:spChg chg="del">
          <ac:chgData name="Nataliia Chornii (UA)" userId="4e4b8b3d-5f31-49bb-9f80-8a25c04abfff" providerId="ADAL" clId="{EE97D3FE-9ACA-4467-98E5-532EC45D9D1C}" dt="2024-03-04T08:51:15.001" v="17972" actId="478"/>
          <ac:spMkLst>
            <pc:docMk/>
            <pc:sldMk cId="2803239078" sldId="935"/>
            <ac:spMk id="29" creationId="{69C14E03-FCEC-D42E-5785-FE3FD67A2269}"/>
          </ac:spMkLst>
        </pc:spChg>
        <pc:spChg chg="del">
          <ac:chgData name="Nataliia Chornii (UA)" userId="4e4b8b3d-5f31-49bb-9f80-8a25c04abfff" providerId="ADAL" clId="{EE97D3FE-9ACA-4467-98E5-532EC45D9D1C}" dt="2024-03-04T08:51:15.001" v="17972" actId="478"/>
          <ac:spMkLst>
            <pc:docMk/>
            <pc:sldMk cId="2803239078" sldId="935"/>
            <ac:spMk id="30" creationId="{AD97BBB0-7D2A-0CBE-6249-FB26EF157720}"/>
          </ac:spMkLst>
        </pc:spChg>
        <pc:spChg chg="add mod">
          <ac:chgData name="Nataliia Chornii (UA)" userId="4e4b8b3d-5f31-49bb-9f80-8a25c04abfff" providerId="ADAL" clId="{EE97D3FE-9ACA-4467-98E5-532EC45D9D1C}" dt="2024-03-11T14:30:37.379" v="24265"/>
          <ac:spMkLst>
            <pc:docMk/>
            <pc:sldMk cId="2803239078" sldId="935"/>
            <ac:spMk id="30" creationId="{E80D5E30-E7FF-0A93-7A54-BD57D8324802}"/>
          </ac:spMkLst>
        </pc:spChg>
        <pc:spChg chg="del">
          <ac:chgData name="Nataliia Chornii (UA)" userId="4e4b8b3d-5f31-49bb-9f80-8a25c04abfff" providerId="ADAL" clId="{EE97D3FE-9ACA-4467-98E5-532EC45D9D1C}" dt="2024-03-04T08:51:15.001" v="17972" actId="478"/>
          <ac:spMkLst>
            <pc:docMk/>
            <pc:sldMk cId="2803239078" sldId="935"/>
            <ac:spMk id="31" creationId="{AE1F2CF7-12B2-2C61-02F4-8E90DCAB95C7}"/>
          </ac:spMkLst>
        </pc:spChg>
        <pc:spChg chg="del">
          <ac:chgData name="Nataliia Chornii (UA)" userId="4e4b8b3d-5f31-49bb-9f80-8a25c04abfff" providerId="ADAL" clId="{EE97D3FE-9ACA-4467-98E5-532EC45D9D1C}" dt="2024-03-04T08:51:15.001" v="17972" actId="478"/>
          <ac:spMkLst>
            <pc:docMk/>
            <pc:sldMk cId="2803239078" sldId="935"/>
            <ac:spMk id="32" creationId="{AA14433E-3F38-54C2-3C19-F70FDD5BB4F8}"/>
          </ac:spMkLst>
        </pc:spChg>
        <pc:spChg chg="del">
          <ac:chgData name="Nataliia Chornii (UA)" userId="4e4b8b3d-5f31-49bb-9f80-8a25c04abfff" providerId="ADAL" clId="{EE97D3FE-9ACA-4467-98E5-532EC45D9D1C}" dt="2024-03-04T08:51:15.001" v="17972" actId="478"/>
          <ac:spMkLst>
            <pc:docMk/>
            <pc:sldMk cId="2803239078" sldId="935"/>
            <ac:spMk id="33" creationId="{F92B9C6C-8C5B-AC82-5DDC-E8DB5ABA08D5}"/>
          </ac:spMkLst>
        </pc:spChg>
        <pc:spChg chg="del mod">
          <ac:chgData name="Nataliia Chornii (UA)" userId="4e4b8b3d-5f31-49bb-9f80-8a25c04abfff" providerId="ADAL" clId="{EE97D3FE-9ACA-4467-98E5-532EC45D9D1C}" dt="2024-03-04T08:51:18.445" v="17974" actId="478"/>
          <ac:spMkLst>
            <pc:docMk/>
            <pc:sldMk cId="2803239078" sldId="935"/>
            <ac:spMk id="35" creationId="{4F177113-0781-5137-1CD7-3B2F5D62C022}"/>
          </ac:spMkLst>
        </pc:spChg>
        <pc:spChg chg="mod ord">
          <ac:chgData name="Nataliia Chornii (UA)" userId="4e4b8b3d-5f31-49bb-9f80-8a25c04abfff" providerId="ADAL" clId="{EE97D3FE-9ACA-4467-98E5-532EC45D9D1C}" dt="2024-03-04T10:47:23.910" v="20725" actId="555"/>
          <ac:spMkLst>
            <pc:docMk/>
            <pc:sldMk cId="2803239078" sldId="935"/>
            <ac:spMk id="36" creationId="{A8F39C25-781C-A7DA-387A-D92FCABEE1F5}"/>
          </ac:spMkLst>
        </pc:spChg>
        <pc:spChg chg="mod">
          <ac:chgData name="Nataliia Chornii (UA)" userId="4e4b8b3d-5f31-49bb-9f80-8a25c04abfff" providerId="ADAL" clId="{EE97D3FE-9ACA-4467-98E5-532EC45D9D1C}" dt="2024-03-04T09:22:46.916" v="18777"/>
          <ac:spMkLst>
            <pc:docMk/>
            <pc:sldMk cId="2803239078" sldId="935"/>
            <ac:spMk id="37" creationId="{94FA2A6C-84E0-507D-27A9-A5132F84ED26}"/>
          </ac:spMkLst>
        </pc:spChg>
        <pc:spChg chg="mod ord">
          <ac:chgData name="Nataliia Chornii (UA)" userId="4e4b8b3d-5f31-49bb-9f80-8a25c04abfff" providerId="ADAL" clId="{EE97D3FE-9ACA-4467-98E5-532EC45D9D1C}" dt="2024-03-04T10:47:14.034" v="20687"/>
          <ac:spMkLst>
            <pc:docMk/>
            <pc:sldMk cId="2803239078" sldId="935"/>
            <ac:spMk id="38" creationId="{7B1F3CCD-2DE1-C2A8-D340-EAF5B3993679}"/>
          </ac:spMkLst>
        </pc:spChg>
        <pc:spChg chg="mod">
          <ac:chgData name="Nataliia Chornii (UA)" userId="4e4b8b3d-5f31-49bb-9f80-8a25c04abfff" providerId="ADAL" clId="{EE97D3FE-9ACA-4467-98E5-532EC45D9D1C}" dt="2024-03-04T09:22:46.916" v="18777"/>
          <ac:spMkLst>
            <pc:docMk/>
            <pc:sldMk cId="2803239078" sldId="935"/>
            <ac:spMk id="39" creationId="{4097B809-F21D-E78D-D60C-FFE0A2E0BD04}"/>
          </ac:spMkLst>
        </pc:spChg>
        <pc:spChg chg="mod">
          <ac:chgData name="Nataliia Chornii (UA)" userId="4e4b8b3d-5f31-49bb-9f80-8a25c04abfff" providerId="ADAL" clId="{EE97D3FE-9ACA-4467-98E5-532EC45D9D1C}" dt="2024-03-04T09:22:46.916" v="18777"/>
          <ac:spMkLst>
            <pc:docMk/>
            <pc:sldMk cId="2803239078" sldId="935"/>
            <ac:spMk id="40" creationId="{CB39CC28-E3EC-CFAA-8A1A-5078CD2CCF86}"/>
          </ac:spMkLst>
        </pc:spChg>
        <pc:spChg chg="mod">
          <ac:chgData name="Nataliia Chornii (UA)" userId="4e4b8b3d-5f31-49bb-9f80-8a25c04abfff" providerId="ADAL" clId="{EE97D3FE-9ACA-4467-98E5-532EC45D9D1C}" dt="2024-03-04T09:22:46.916" v="18777"/>
          <ac:spMkLst>
            <pc:docMk/>
            <pc:sldMk cId="2803239078" sldId="935"/>
            <ac:spMk id="41" creationId="{851A3C4E-6276-E6B1-BED9-6DBEC9501EFB}"/>
          </ac:spMkLst>
        </pc:spChg>
        <pc:spChg chg="mod">
          <ac:chgData name="Nataliia Chornii (UA)" userId="4e4b8b3d-5f31-49bb-9f80-8a25c04abfff" providerId="ADAL" clId="{EE97D3FE-9ACA-4467-98E5-532EC45D9D1C}" dt="2024-03-04T09:22:46.916" v="18777"/>
          <ac:spMkLst>
            <pc:docMk/>
            <pc:sldMk cId="2803239078" sldId="935"/>
            <ac:spMk id="42" creationId="{FCDC3FCF-BD48-D0C5-D17A-C61BA8DBAB35}"/>
          </ac:spMkLst>
        </pc:spChg>
        <pc:spChg chg="add del mod modVis">
          <ac:chgData name="Nataliia Chornii (UA)" userId="4e4b8b3d-5f31-49bb-9f80-8a25c04abfff" providerId="ADAL" clId="{EE97D3FE-9ACA-4467-98E5-532EC45D9D1C}" dt="2024-03-04T09:22:50.203" v="18805"/>
          <ac:spMkLst>
            <pc:docMk/>
            <pc:sldMk cId="2803239078" sldId="935"/>
            <ac:spMk id="43" creationId="{BC187B89-A25E-76A7-C816-BC00B47402D5}"/>
          </ac:spMkLst>
        </pc:spChg>
        <pc:spChg chg="add del mod modVis">
          <ac:chgData name="Nataliia Chornii (UA)" userId="4e4b8b3d-5f31-49bb-9f80-8a25c04abfff" providerId="ADAL" clId="{EE97D3FE-9ACA-4467-98E5-532EC45D9D1C}" dt="2024-03-04T10:47:14.050" v="20719"/>
          <ac:spMkLst>
            <pc:docMk/>
            <pc:sldMk cId="2803239078" sldId="935"/>
            <ac:spMk id="46" creationId="{1A1BE818-9673-5B8E-9799-EBC5950C4ED9}"/>
          </ac:spMkLst>
        </pc:spChg>
        <pc:spChg chg="add mod">
          <ac:chgData name="Nataliia Chornii (UA)" userId="4e4b8b3d-5f31-49bb-9f80-8a25c04abfff" providerId="ADAL" clId="{EE97D3FE-9ACA-4467-98E5-532EC45D9D1C}" dt="2024-03-04T10:47:41.128" v="20742" actId="555"/>
          <ac:spMkLst>
            <pc:docMk/>
            <pc:sldMk cId="2803239078" sldId="935"/>
            <ac:spMk id="47" creationId="{52EFA549-659C-B799-9809-BDFAA940A669}"/>
          </ac:spMkLst>
        </pc:spChg>
        <pc:grpChg chg="add mod">
          <ac:chgData name="Nataliia Chornii (UA)" userId="4e4b8b3d-5f31-49bb-9f80-8a25c04abfff" providerId="ADAL" clId="{EE97D3FE-9ACA-4467-98E5-532EC45D9D1C}" dt="2024-03-11T14:26:20.669" v="24094"/>
          <ac:grpSpMkLst>
            <pc:docMk/>
            <pc:sldMk cId="2803239078" sldId="935"/>
            <ac:grpSpMk id="19" creationId="{43AAED9D-0E77-8125-D204-8BFB0EC176D1}"/>
          </ac:grpSpMkLst>
        </pc:grpChg>
        <pc:grpChg chg="add mod ord">
          <ac:chgData name="Nataliia Chornii (UA)" userId="4e4b8b3d-5f31-49bb-9f80-8a25c04abfff" providerId="ADAL" clId="{EE97D3FE-9ACA-4467-98E5-532EC45D9D1C}" dt="2024-03-04T10:47:27.525" v="20726" actId="1076"/>
          <ac:grpSpMkLst>
            <pc:docMk/>
            <pc:sldMk cId="2803239078" sldId="935"/>
            <ac:grpSpMk id="20" creationId="{EBC5E9B0-7CA9-6B3F-FE3E-C10FD733E24C}"/>
          </ac:grpSpMkLst>
        </pc:grpChg>
        <pc:grpChg chg="add del mod">
          <ac:chgData name="Nataliia Chornii (UA)" userId="4e4b8b3d-5f31-49bb-9f80-8a25c04abfff" providerId="ADAL" clId="{EE97D3FE-9ACA-4467-98E5-532EC45D9D1C}" dt="2024-03-04T09:22:57.727" v="18819" actId="478"/>
          <ac:grpSpMkLst>
            <pc:docMk/>
            <pc:sldMk cId="2803239078" sldId="935"/>
            <ac:grpSpMk id="34" creationId="{4B9B3AD4-D305-CDB1-7551-E9028E788976}"/>
          </ac:grpSpMkLst>
        </pc:grpChg>
        <pc:graphicFrameChg chg="mod">
          <ac:chgData name="Nataliia Chornii (UA)" userId="4e4b8b3d-5f31-49bb-9f80-8a25c04abfff" providerId="ADAL" clId="{EE97D3FE-9ACA-4467-98E5-532EC45D9D1C}" dt="2024-03-04T10:47:32.022" v="20738"/>
          <ac:graphicFrameMkLst>
            <pc:docMk/>
            <pc:sldMk cId="2803239078" sldId="935"/>
            <ac:graphicFrameMk id="9" creationId="{D9E6BB6A-4571-FBF8-9A7D-06ADE4374D4D}"/>
          </ac:graphicFrameMkLst>
        </pc:graphicFrameChg>
        <pc:picChg chg="add mod ord modCrop">
          <ac:chgData name="Nataliia Chornii (UA)" userId="4e4b8b3d-5f31-49bb-9f80-8a25c04abfff" providerId="ADAL" clId="{EE97D3FE-9ACA-4467-98E5-532EC45D9D1C}" dt="2024-03-04T10:47:41.128" v="20742" actId="555"/>
          <ac:picMkLst>
            <pc:docMk/>
            <pc:sldMk cId="2803239078" sldId="935"/>
            <ac:picMk id="45" creationId="{5D0DB068-C11E-6713-BDC0-2DC5047C66E1}"/>
          </ac:picMkLst>
        </pc:pic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2:54.266" v="22441"/>
              <pc2:cmMkLst xmlns:pc2="http://schemas.microsoft.com/office/powerpoint/2019/9/main/command">
                <pc:docMk/>
                <pc:sldMk cId="2803239078" sldId="935"/>
                <pc2:cmMk id="{F7C00153-39D8-4846-8D47-915BF0FEF30D}"/>
              </pc2:cmMkLst>
            </pc226:cmChg>
          </p:ext>
        </pc:extLst>
      </pc:sldChg>
      <pc:sldChg chg="addSp delSp modSp mod modCm">
        <pc:chgData name="Nataliia Chornii (UA)" userId="4e4b8b3d-5f31-49bb-9f80-8a25c04abfff" providerId="ADAL" clId="{EE97D3FE-9ACA-4467-98E5-532EC45D9D1C}" dt="2024-03-11T14:31:04.585" v="24278" actId="478"/>
        <pc:sldMkLst>
          <pc:docMk/>
          <pc:sldMk cId="1939332489" sldId="936"/>
        </pc:sldMkLst>
        <pc:spChg chg="del">
          <ac:chgData name="Nataliia Chornii (UA)" userId="4e4b8b3d-5f31-49bb-9f80-8a25c04abfff" providerId="ADAL" clId="{EE97D3FE-9ACA-4467-98E5-532EC45D9D1C}" dt="2024-03-04T09:36:08.941" v="18911" actId="478"/>
          <ac:spMkLst>
            <pc:docMk/>
            <pc:sldMk cId="1939332489" sldId="936"/>
            <ac:spMk id="2" creationId="{7ED4D46D-04AD-7DC4-4216-971E04043EA7}"/>
          </ac:spMkLst>
        </pc:spChg>
        <pc:spChg chg="mod ord">
          <ac:chgData name="Nataliia Chornii (UA)" userId="4e4b8b3d-5f31-49bb-9f80-8a25c04abfff" providerId="ADAL" clId="{EE97D3FE-9ACA-4467-98E5-532EC45D9D1C}" dt="2024-03-11T14:18:08.513" v="23920" actId="553"/>
          <ac:spMkLst>
            <pc:docMk/>
            <pc:sldMk cId="1939332489" sldId="936"/>
            <ac:spMk id="2" creationId="{ECED2237-CB7F-C2CD-11A3-62DC16CCA5B1}"/>
          </ac:spMkLst>
        </pc:spChg>
        <pc:spChg chg="mod ord">
          <ac:chgData name="Nataliia Chornii (UA)" userId="4e4b8b3d-5f31-49bb-9f80-8a25c04abfff" providerId="ADAL" clId="{EE97D3FE-9ACA-4467-98E5-532EC45D9D1C}" dt="2024-03-11T14:17:06.248" v="23859"/>
          <ac:spMkLst>
            <pc:docMk/>
            <pc:sldMk cId="1939332489" sldId="936"/>
            <ac:spMk id="3" creationId="{F4CCF02E-F3C4-C376-8F56-61BD85A2E74B}"/>
          </ac:spMkLst>
        </pc:spChg>
        <pc:spChg chg="mod ord">
          <ac:chgData name="Nataliia Chornii (UA)" userId="4e4b8b3d-5f31-49bb-9f80-8a25c04abfff" providerId="ADAL" clId="{EE97D3FE-9ACA-4467-98E5-532EC45D9D1C}" dt="2024-03-11T14:17:06.248" v="23861"/>
          <ac:spMkLst>
            <pc:docMk/>
            <pc:sldMk cId="1939332489" sldId="936"/>
            <ac:spMk id="4" creationId="{872966CD-924A-B939-E655-A6BAF817DCBF}"/>
          </ac:spMkLst>
        </pc:spChg>
        <pc:spChg chg="add mod ord">
          <ac:chgData name="Nataliia Chornii (UA)" userId="4e4b8b3d-5f31-49bb-9f80-8a25c04abfff" providerId="ADAL" clId="{EE97D3FE-9ACA-4467-98E5-532EC45D9D1C}" dt="2024-03-11T14:17:06.248" v="23865"/>
          <ac:spMkLst>
            <pc:docMk/>
            <pc:sldMk cId="1939332489" sldId="936"/>
            <ac:spMk id="5" creationId="{9427ECFD-F450-0D4F-FE55-5438A378FF6F}"/>
          </ac:spMkLst>
        </pc:spChg>
        <pc:spChg chg="add mod ord">
          <ac:chgData name="Nataliia Chornii (UA)" userId="4e4b8b3d-5f31-49bb-9f80-8a25c04abfff" providerId="ADAL" clId="{EE97D3FE-9ACA-4467-98E5-532EC45D9D1C}" dt="2024-03-11T14:17:06.248" v="23867"/>
          <ac:spMkLst>
            <pc:docMk/>
            <pc:sldMk cId="1939332489" sldId="936"/>
            <ac:spMk id="6" creationId="{C9252866-F919-675A-0ECF-498D296D0E74}"/>
          </ac:spMkLst>
        </pc:spChg>
        <pc:spChg chg="add mod ord">
          <ac:chgData name="Nataliia Chornii (UA)" userId="4e4b8b3d-5f31-49bb-9f80-8a25c04abfff" providerId="ADAL" clId="{EE97D3FE-9ACA-4467-98E5-532EC45D9D1C}" dt="2024-03-11T14:17:06.248" v="23869"/>
          <ac:spMkLst>
            <pc:docMk/>
            <pc:sldMk cId="1939332489" sldId="936"/>
            <ac:spMk id="7" creationId="{B42208E6-62B1-575C-BF52-C7B71E7ADF8C}"/>
          </ac:spMkLst>
        </pc:spChg>
        <pc:spChg chg="add mod ord">
          <ac:chgData name="Nataliia Chornii (UA)" userId="4e4b8b3d-5f31-49bb-9f80-8a25c04abfff" providerId="ADAL" clId="{EE97D3FE-9ACA-4467-98E5-532EC45D9D1C}" dt="2024-03-11T14:17:06.248" v="23871"/>
          <ac:spMkLst>
            <pc:docMk/>
            <pc:sldMk cId="1939332489" sldId="936"/>
            <ac:spMk id="9" creationId="{B3659C17-0F53-5112-4924-BFD603C1E0B3}"/>
          </ac:spMkLst>
        </pc:spChg>
        <pc:spChg chg="add mod ord">
          <ac:chgData name="Nataliia Chornii (UA)" userId="4e4b8b3d-5f31-49bb-9f80-8a25c04abfff" providerId="ADAL" clId="{EE97D3FE-9ACA-4467-98E5-532EC45D9D1C}" dt="2024-03-11T14:17:06.248" v="23873"/>
          <ac:spMkLst>
            <pc:docMk/>
            <pc:sldMk cId="1939332489" sldId="936"/>
            <ac:spMk id="10" creationId="{B880C522-54F9-B49A-2C13-8E07817D8D19}"/>
          </ac:spMkLst>
        </pc:spChg>
        <pc:spChg chg="mod ord">
          <ac:chgData name="Nataliia Chornii (UA)" userId="4e4b8b3d-5f31-49bb-9f80-8a25c04abfff" providerId="ADAL" clId="{EE97D3FE-9ACA-4467-98E5-532EC45D9D1C}" dt="2024-03-11T14:17:18.714" v="23895" actId="14100"/>
          <ac:spMkLst>
            <pc:docMk/>
            <pc:sldMk cId="1939332489" sldId="936"/>
            <ac:spMk id="11" creationId="{ECEF24F5-E26D-2531-E4A1-337E326AC9CB}"/>
          </ac:spMkLst>
        </pc:spChg>
        <pc:spChg chg="add mod ord">
          <ac:chgData name="Nataliia Chornii (UA)" userId="4e4b8b3d-5f31-49bb-9f80-8a25c04abfff" providerId="ADAL" clId="{EE97D3FE-9ACA-4467-98E5-532EC45D9D1C}" dt="2024-03-11T14:17:06.248" v="23875"/>
          <ac:spMkLst>
            <pc:docMk/>
            <pc:sldMk cId="1939332489" sldId="936"/>
            <ac:spMk id="12" creationId="{BA1DA764-F4D1-44E8-65B7-07D74958045B}"/>
          </ac:spMkLst>
        </pc:spChg>
        <pc:spChg chg="mod ord">
          <ac:chgData name="Nataliia Chornii (UA)" userId="4e4b8b3d-5f31-49bb-9f80-8a25c04abfff" providerId="ADAL" clId="{EE97D3FE-9ACA-4467-98E5-532EC45D9D1C}" dt="2024-03-11T14:17:06.248" v="23853"/>
          <ac:spMkLst>
            <pc:docMk/>
            <pc:sldMk cId="1939332489" sldId="936"/>
            <ac:spMk id="14" creationId="{A8A8DD37-9B73-46FB-C75B-2CEFA6483C22}"/>
          </ac:spMkLst>
        </pc:spChg>
        <pc:spChg chg="mod ord">
          <ac:chgData name="Nataliia Chornii (UA)" userId="4e4b8b3d-5f31-49bb-9f80-8a25c04abfff" providerId="ADAL" clId="{EE97D3FE-9ACA-4467-98E5-532EC45D9D1C}" dt="2024-03-11T14:17:30.433" v="23898" actId="1076"/>
          <ac:spMkLst>
            <pc:docMk/>
            <pc:sldMk cId="1939332489" sldId="936"/>
            <ac:spMk id="15" creationId="{D9C7FB84-E19B-43A1-0AEE-2A2D83D46DBD}"/>
          </ac:spMkLst>
        </pc:spChg>
        <pc:spChg chg="del">
          <ac:chgData name="Nataliia Chornii (UA)" userId="4e4b8b3d-5f31-49bb-9f80-8a25c04abfff" providerId="ADAL" clId="{EE97D3FE-9ACA-4467-98E5-532EC45D9D1C}" dt="2024-03-04T09:36:08.262" v="18910" actId="478"/>
          <ac:spMkLst>
            <pc:docMk/>
            <pc:sldMk cId="1939332489" sldId="936"/>
            <ac:spMk id="15" creationId="{E629ACA0-19AA-6B2C-F2D4-5BA2027E48BA}"/>
          </ac:spMkLst>
        </pc:spChg>
        <pc:spChg chg="mod ord">
          <ac:chgData name="Nataliia Chornii (UA)" userId="4e4b8b3d-5f31-49bb-9f80-8a25c04abfff" providerId="ADAL" clId="{EE97D3FE-9ACA-4467-98E5-532EC45D9D1C}" dt="2024-03-11T14:17:18.714" v="23895" actId="14100"/>
          <ac:spMkLst>
            <pc:docMk/>
            <pc:sldMk cId="1939332489" sldId="936"/>
            <ac:spMk id="16" creationId="{25A25F16-3DF9-5BEF-8F70-42FAB50A6BCE}"/>
          </ac:spMkLst>
        </pc:spChg>
        <pc:spChg chg="add mod ord">
          <ac:chgData name="Nataliia Chornii (UA)" userId="4e4b8b3d-5f31-49bb-9f80-8a25c04abfff" providerId="ADAL" clId="{EE97D3FE-9ACA-4467-98E5-532EC45D9D1C}" dt="2024-03-11T14:17:06.248" v="23877"/>
          <ac:spMkLst>
            <pc:docMk/>
            <pc:sldMk cId="1939332489" sldId="936"/>
            <ac:spMk id="17" creationId="{73F5F897-1FF0-65CF-232B-0D159F08FF7E}"/>
          </ac:spMkLst>
        </pc:spChg>
        <pc:spChg chg="del">
          <ac:chgData name="Nataliia Chornii (UA)" userId="4e4b8b3d-5f31-49bb-9f80-8a25c04abfff" providerId="ADAL" clId="{EE97D3FE-9ACA-4467-98E5-532EC45D9D1C}" dt="2024-03-04T09:36:01.891" v="18907" actId="478"/>
          <ac:spMkLst>
            <pc:docMk/>
            <pc:sldMk cId="1939332489" sldId="936"/>
            <ac:spMk id="18" creationId="{1F2102AE-9429-7797-684E-D82C1BB638FD}"/>
          </ac:spMkLst>
        </pc:spChg>
        <pc:spChg chg="add del mod modVis">
          <ac:chgData name="Nataliia Chornii (UA)" userId="4e4b8b3d-5f31-49bb-9f80-8a25c04abfff" providerId="ADAL" clId="{EE97D3FE-9ACA-4467-98E5-532EC45D9D1C}" dt="2024-03-11T14:17:02.365" v="23803"/>
          <ac:spMkLst>
            <pc:docMk/>
            <pc:sldMk cId="1939332489" sldId="936"/>
            <ac:spMk id="18" creationId="{FC5A2A07-C0BA-7F81-2531-576B528ADE58}"/>
          </ac:spMkLst>
        </pc:spChg>
        <pc:spChg chg="del">
          <ac:chgData name="Nataliia Chornii (UA)" userId="4e4b8b3d-5f31-49bb-9f80-8a25c04abfff" providerId="ADAL" clId="{EE97D3FE-9ACA-4467-98E5-532EC45D9D1C}" dt="2024-03-04T09:36:01.891" v="18907" actId="478"/>
          <ac:spMkLst>
            <pc:docMk/>
            <pc:sldMk cId="1939332489" sldId="936"/>
            <ac:spMk id="19" creationId="{292CC956-AEE0-AD72-18CB-38A87FB03753}"/>
          </ac:spMkLst>
        </pc:spChg>
        <pc:spChg chg="mod ord">
          <ac:chgData name="Nataliia Chornii (UA)" userId="4e4b8b3d-5f31-49bb-9f80-8a25c04abfff" providerId="ADAL" clId="{EE97D3FE-9ACA-4467-98E5-532EC45D9D1C}" dt="2024-03-11T14:17:06.248" v="23855"/>
          <ac:spMkLst>
            <pc:docMk/>
            <pc:sldMk cId="1939332489" sldId="936"/>
            <ac:spMk id="19" creationId="{44282A17-2D47-C3D0-8E97-8DAEAA96CA33}"/>
          </ac:spMkLst>
        </pc:spChg>
        <pc:spChg chg="del mod ord">
          <ac:chgData name="Nataliia Chornii (UA)" userId="4e4b8b3d-5f31-49bb-9f80-8a25c04abfff" providerId="ADAL" clId="{EE97D3FE-9ACA-4467-98E5-532EC45D9D1C}" dt="2024-03-11T14:17:08.972" v="23892" actId="478"/>
          <ac:spMkLst>
            <pc:docMk/>
            <pc:sldMk cId="1939332489" sldId="936"/>
            <ac:spMk id="20" creationId="{386F5C3C-46A1-7C80-6266-6DEA8D8647DB}"/>
          </ac:spMkLst>
        </pc:spChg>
        <pc:spChg chg="del">
          <ac:chgData name="Nataliia Chornii (UA)" userId="4e4b8b3d-5f31-49bb-9f80-8a25c04abfff" providerId="ADAL" clId="{EE97D3FE-9ACA-4467-98E5-532EC45D9D1C}" dt="2024-03-04T09:36:01.891" v="18907" actId="478"/>
          <ac:spMkLst>
            <pc:docMk/>
            <pc:sldMk cId="1939332489" sldId="936"/>
            <ac:spMk id="20" creationId="{394F65FC-FCF7-6F6A-B818-8E1FDE619DCD}"/>
          </ac:spMkLst>
        </pc:spChg>
        <pc:spChg chg="del">
          <ac:chgData name="Nataliia Chornii (UA)" userId="4e4b8b3d-5f31-49bb-9f80-8a25c04abfff" providerId="ADAL" clId="{EE97D3FE-9ACA-4467-98E5-532EC45D9D1C}" dt="2024-03-04T09:36:01.891" v="18907" actId="478"/>
          <ac:spMkLst>
            <pc:docMk/>
            <pc:sldMk cId="1939332489" sldId="936"/>
            <ac:spMk id="21" creationId="{865D7ED0-1C9C-D1FA-AF2E-E5D9CC5887D1}"/>
          </ac:spMkLst>
        </pc:spChg>
        <pc:spChg chg="add mod">
          <ac:chgData name="Nataliia Chornii (UA)" userId="4e4b8b3d-5f31-49bb-9f80-8a25c04abfff" providerId="ADAL" clId="{EE97D3FE-9ACA-4467-98E5-532EC45D9D1C}" dt="2024-03-11T14:18:08.513" v="23920" actId="553"/>
          <ac:spMkLst>
            <pc:docMk/>
            <pc:sldMk cId="1939332489" sldId="936"/>
            <ac:spMk id="21" creationId="{A7220F4B-E27D-B63B-44C5-19883EAD61EF}"/>
          </ac:spMkLst>
        </pc:spChg>
        <pc:spChg chg="del">
          <ac:chgData name="Nataliia Chornii (UA)" userId="4e4b8b3d-5f31-49bb-9f80-8a25c04abfff" providerId="ADAL" clId="{EE97D3FE-9ACA-4467-98E5-532EC45D9D1C}" dt="2024-03-04T09:36:01.891" v="18907" actId="478"/>
          <ac:spMkLst>
            <pc:docMk/>
            <pc:sldMk cId="1939332489" sldId="936"/>
            <ac:spMk id="22" creationId="{B3614BE9-57F3-2AD6-B8F2-CABFBDCE09AB}"/>
          </ac:spMkLst>
        </pc:spChg>
        <pc:spChg chg="add mod">
          <ac:chgData name="Nataliia Chornii (UA)" userId="4e4b8b3d-5f31-49bb-9f80-8a25c04abfff" providerId="ADAL" clId="{EE97D3FE-9ACA-4467-98E5-532EC45D9D1C}" dt="2024-03-11T14:26:27.981" v="24097"/>
          <ac:spMkLst>
            <pc:docMk/>
            <pc:sldMk cId="1939332489" sldId="936"/>
            <ac:spMk id="22" creationId="{DA3782D5-EFBB-96B7-5592-6EB524123095}"/>
          </ac:spMkLst>
        </pc:spChg>
        <pc:spChg chg="del">
          <ac:chgData name="Nataliia Chornii (UA)" userId="4e4b8b3d-5f31-49bb-9f80-8a25c04abfff" providerId="ADAL" clId="{EE97D3FE-9ACA-4467-98E5-532EC45D9D1C}" dt="2024-03-04T09:36:01.891" v="18907" actId="478"/>
          <ac:spMkLst>
            <pc:docMk/>
            <pc:sldMk cId="1939332489" sldId="936"/>
            <ac:spMk id="23" creationId="{8209EE50-23EC-BA9E-795A-C776616CF2D5}"/>
          </ac:spMkLst>
        </pc:spChg>
        <pc:spChg chg="add mod ord">
          <ac:chgData name="Nataliia Chornii (UA)" userId="4e4b8b3d-5f31-49bb-9f80-8a25c04abfff" providerId="ADAL" clId="{EE97D3FE-9ACA-4467-98E5-532EC45D9D1C}" dt="2024-03-11T14:17:06.248" v="23879"/>
          <ac:spMkLst>
            <pc:docMk/>
            <pc:sldMk cId="1939332489" sldId="936"/>
            <ac:spMk id="24" creationId="{65333E76-2176-D9F5-55D0-91CD51913465}"/>
          </ac:spMkLst>
        </pc:spChg>
        <pc:spChg chg="add del mod ord">
          <ac:chgData name="Nataliia Chornii (UA)" userId="4e4b8b3d-5f31-49bb-9f80-8a25c04abfff" providerId="ADAL" clId="{EE97D3FE-9ACA-4467-98E5-532EC45D9D1C}" dt="2024-03-11T14:31:04.585" v="24278" actId="478"/>
          <ac:spMkLst>
            <pc:docMk/>
            <pc:sldMk cId="1939332489" sldId="936"/>
            <ac:spMk id="25" creationId="{7478E72D-95A1-DCA1-81E3-72BAAC6C1193}"/>
          </ac:spMkLst>
        </pc:spChg>
        <pc:spChg chg="mod">
          <ac:chgData name="Nataliia Chornii (UA)" userId="4e4b8b3d-5f31-49bb-9f80-8a25c04abfff" providerId="ADAL" clId="{EE97D3FE-9ACA-4467-98E5-532EC45D9D1C}" dt="2024-03-11T14:26:27.981" v="24097"/>
          <ac:spMkLst>
            <pc:docMk/>
            <pc:sldMk cId="1939332489" sldId="936"/>
            <ac:spMk id="26" creationId="{6556D6F8-B193-E5C7-4AA2-C107C5A3351B}"/>
          </ac:spMkLst>
        </pc:spChg>
        <pc:spChg chg="add del mod modVis">
          <ac:chgData name="Nataliia Chornii (UA)" userId="4e4b8b3d-5f31-49bb-9f80-8a25c04abfff" providerId="ADAL" clId="{EE97D3FE-9ACA-4467-98E5-532EC45D9D1C}" dt="2024-03-04T09:37:07.091" v="18978"/>
          <ac:spMkLst>
            <pc:docMk/>
            <pc:sldMk cId="1939332489" sldId="936"/>
            <ac:spMk id="26" creationId="{E085348F-8D87-750D-4987-B545E6F9FE87}"/>
          </ac:spMkLst>
        </pc:spChg>
        <pc:spChg chg="mod">
          <ac:chgData name="Nataliia Chornii (UA)" userId="4e4b8b3d-5f31-49bb-9f80-8a25c04abfff" providerId="ADAL" clId="{EE97D3FE-9ACA-4467-98E5-532EC45D9D1C}" dt="2024-03-11T14:26:27.981" v="24097"/>
          <ac:spMkLst>
            <pc:docMk/>
            <pc:sldMk cId="1939332489" sldId="936"/>
            <ac:spMk id="27" creationId="{9498552F-2E28-9541-1051-6C3EC7DB0DE9}"/>
          </ac:spMkLst>
        </pc:spChg>
        <pc:spChg chg="add del mod modVis">
          <ac:chgData name="Nataliia Chornii (UA)" userId="4e4b8b3d-5f31-49bb-9f80-8a25c04abfff" providerId="ADAL" clId="{EE97D3FE-9ACA-4467-98E5-532EC45D9D1C}" dt="2024-03-04T09:37:09.268" v="19008"/>
          <ac:spMkLst>
            <pc:docMk/>
            <pc:sldMk cId="1939332489" sldId="936"/>
            <ac:spMk id="27" creationId="{A6346779-1509-683C-21D2-B788CD5C5A70}"/>
          </ac:spMkLst>
        </pc:spChg>
        <pc:spChg chg="mod">
          <ac:chgData name="Nataliia Chornii (UA)" userId="4e4b8b3d-5f31-49bb-9f80-8a25c04abfff" providerId="ADAL" clId="{EE97D3FE-9ACA-4467-98E5-532EC45D9D1C}" dt="2024-03-11T14:26:27.981" v="24097"/>
          <ac:spMkLst>
            <pc:docMk/>
            <pc:sldMk cId="1939332489" sldId="936"/>
            <ac:spMk id="28" creationId="{C56A5597-2EB3-3933-476E-B1B9EF2A75B9}"/>
          </ac:spMkLst>
        </pc:spChg>
        <pc:spChg chg="add del mod">
          <ac:chgData name="Nataliia Chornii (UA)" userId="4e4b8b3d-5f31-49bb-9f80-8a25c04abfff" providerId="ADAL" clId="{EE97D3FE-9ACA-4467-98E5-532EC45D9D1C}" dt="2024-03-04T09:38:40.844" v="19120" actId="478"/>
          <ac:spMkLst>
            <pc:docMk/>
            <pc:sldMk cId="1939332489" sldId="936"/>
            <ac:spMk id="28" creationId="{EB915A3B-216A-9C0D-926C-7DC165D3CC2D}"/>
          </ac:spMkLst>
        </pc:spChg>
        <pc:spChg chg="mod">
          <ac:chgData name="Nataliia Chornii (UA)" userId="4e4b8b3d-5f31-49bb-9f80-8a25c04abfff" providerId="ADAL" clId="{EE97D3FE-9ACA-4467-98E5-532EC45D9D1C}" dt="2024-03-11T14:26:27.981" v="24097"/>
          <ac:spMkLst>
            <pc:docMk/>
            <pc:sldMk cId="1939332489" sldId="936"/>
            <ac:spMk id="29" creationId="{A1C2775C-5A43-3B01-F188-D8675D229A41}"/>
          </ac:spMkLst>
        </pc:spChg>
        <pc:spChg chg="mod">
          <ac:chgData name="Nataliia Chornii (UA)" userId="4e4b8b3d-5f31-49bb-9f80-8a25c04abfff" providerId="ADAL" clId="{EE97D3FE-9ACA-4467-98E5-532EC45D9D1C}" dt="2024-03-11T14:26:27.981" v="24097"/>
          <ac:spMkLst>
            <pc:docMk/>
            <pc:sldMk cId="1939332489" sldId="936"/>
            <ac:spMk id="30" creationId="{7458F7AF-9AC4-32C7-984F-C030A7CD9518}"/>
          </ac:spMkLst>
        </pc:spChg>
        <pc:spChg chg="mod">
          <ac:chgData name="Nataliia Chornii (UA)" userId="4e4b8b3d-5f31-49bb-9f80-8a25c04abfff" providerId="ADAL" clId="{EE97D3FE-9ACA-4467-98E5-532EC45D9D1C}" dt="2024-03-11T14:26:27.981" v="24097"/>
          <ac:spMkLst>
            <pc:docMk/>
            <pc:sldMk cId="1939332489" sldId="936"/>
            <ac:spMk id="31" creationId="{C1FDAE0F-6ECE-EAD0-56DB-A1505240E31C}"/>
          </ac:spMkLst>
        </pc:spChg>
        <pc:spChg chg="add del mod">
          <ac:chgData name="Nataliia Chornii (UA)" userId="4e4b8b3d-5f31-49bb-9f80-8a25c04abfff" providerId="ADAL" clId="{EE97D3FE-9ACA-4467-98E5-532EC45D9D1C}" dt="2024-03-11T14:31:02.878" v="24277" actId="478"/>
          <ac:spMkLst>
            <pc:docMk/>
            <pc:sldMk cId="1939332489" sldId="936"/>
            <ac:spMk id="32" creationId="{2994670C-A959-FD9E-A900-217223B2DE3C}"/>
          </ac:spMkLst>
        </pc:spChg>
        <pc:spChg chg="del">
          <ac:chgData name="Nataliia Chornii (UA)" userId="4e4b8b3d-5f31-49bb-9f80-8a25c04abfff" providerId="ADAL" clId="{EE97D3FE-9ACA-4467-98E5-532EC45D9D1C}" dt="2024-03-04T09:36:01.891" v="18907" actId="478"/>
          <ac:spMkLst>
            <pc:docMk/>
            <pc:sldMk cId="1939332489" sldId="936"/>
            <ac:spMk id="45" creationId="{64C0F80D-62A8-8ED5-4DEB-616CF5DDBBAA}"/>
          </ac:spMkLst>
        </pc:spChg>
        <pc:spChg chg="del">
          <ac:chgData name="Nataliia Chornii (UA)" userId="4e4b8b3d-5f31-49bb-9f80-8a25c04abfff" providerId="ADAL" clId="{EE97D3FE-9ACA-4467-98E5-532EC45D9D1C}" dt="2024-03-04T09:36:01.891" v="18907" actId="478"/>
          <ac:spMkLst>
            <pc:docMk/>
            <pc:sldMk cId="1939332489" sldId="936"/>
            <ac:spMk id="46" creationId="{ED5C1B45-1FDB-2A1D-9552-BCFEE5918624}"/>
          </ac:spMkLst>
        </pc:spChg>
        <pc:grpChg chg="add mod">
          <ac:chgData name="Nataliia Chornii (UA)" userId="4e4b8b3d-5f31-49bb-9f80-8a25c04abfff" providerId="ADAL" clId="{EE97D3FE-9ACA-4467-98E5-532EC45D9D1C}" dt="2024-03-11T14:26:27.981" v="24097"/>
          <ac:grpSpMkLst>
            <pc:docMk/>
            <pc:sldMk cId="1939332489" sldId="936"/>
            <ac:grpSpMk id="23" creationId="{1B02D641-624D-2306-FFFE-629A1EC17C8B}"/>
          </ac:grpSpMkLst>
        </pc:grpChg>
        <pc:graphicFrameChg chg="mod">
          <ac:chgData name="Nataliia Chornii (UA)" userId="4e4b8b3d-5f31-49bb-9f80-8a25c04abfff" providerId="ADAL" clId="{EE97D3FE-9ACA-4467-98E5-532EC45D9D1C}" dt="2024-03-11T14:17:06.264" v="23891"/>
          <ac:graphicFrameMkLst>
            <pc:docMk/>
            <pc:sldMk cId="1939332489" sldId="936"/>
            <ac:graphicFrameMk id="8" creationId="{32A03EDD-F030-291B-BE81-BF9DE321CA50}"/>
          </ac:graphicFrameMkLst>
        </pc:graphicFrameChg>
        <pc:picChg chg="mod ord">
          <ac:chgData name="Nataliia Chornii (UA)" userId="4e4b8b3d-5f31-49bb-9f80-8a25c04abfff" providerId="ADAL" clId="{EE97D3FE-9ACA-4467-98E5-532EC45D9D1C}" dt="2024-03-11T14:17:06.244" v="23851"/>
          <ac:picMkLst>
            <pc:docMk/>
            <pc:sldMk cId="1939332489" sldId="936"/>
            <ac:picMk id="13" creationId="{74DDB8D3-0D3E-4998-DA26-3080B29564A0}"/>
          </ac:picMkLst>
        </pc:pic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3:02.215" v="22443"/>
              <pc2:cmMkLst xmlns:pc2="http://schemas.microsoft.com/office/powerpoint/2019/9/main/command">
                <pc:docMk/>
                <pc:sldMk cId="1939332489" sldId="936"/>
                <pc2:cmMk id="{91AA2356-15CD-45EE-93C9-BC368C8EFAFC}"/>
              </pc2:cmMkLst>
            </pc226:cmChg>
          </p:ext>
        </pc:extLst>
      </pc:sldChg>
      <pc:sldChg chg="addSp delSp modSp mod modCm">
        <pc:chgData name="Nataliia Chornii (UA)" userId="4e4b8b3d-5f31-49bb-9f80-8a25c04abfff" providerId="ADAL" clId="{EE97D3FE-9ACA-4467-98E5-532EC45D9D1C}" dt="2024-03-11T14:30:54.866" v="24273" actId="478"/>
        <pc:sldMkLst>
          <pc:docMk/>
          <pc:sldMk cId="1263375755" sldId="937"/>
        </pc:sldMkLst>
        <pc:spChg chg="del">
          <ac:chgData name="Nataliia Chornii (UA)" userId="4e4b8b3d-5f31-49bb-9f80-8a25c04abfff" providerId="ADAL" clId="{EE97D3FE-9ACA-4467-98E5-532EC45D9D1C}" dt="2024-03-04T09:34:41.767" v="18888" actId="478"/>
          <ac:spMkLst>
            <pc:docMk/>
            <pc:sldMk cId="1263375755" sldId="937"/>
            <ac:spMk id="2" creationId="{7ED4D46D-04AD-7DC4-4216-971E04043EA7}"/>
          </ac:spMkLst>
        </pc:spChg>
        <pc:spChg chg="add mod">
          <ac:chgData name="Nataliia Chornii (UA)" userId="4e4b8b3d-5f31-49bb-9f80-8a25c04abfff" providerId="ADAL" clId="{EE97D3FE-9ACA-4467-98E5-532EC45D9D1C}" dt="2024-03-11T14:26:24.451" v="24096"/>
          <ac:spMkLst>
            <pc:docMk/>
            <pc:sldMk cId="1263375755" sldId="937"/>
            <ac:spMk id="2" creationId="{ED2943CD-16EE-91FE-30AA-1E91969505A6}"/>
          </ac:spMkLst>
        </pc:spChg>
        <pc:spChg chg="mod ord">
          <ac:chgData name="Nataliia Chornii (UA)" userId="4e4b8b3d-5f31-49bb-9f80-8a25c04abfff" providerId="ADAL" clId="{EE97D3FE-9ACA-4467-98E5-532EC45D9D1C}" dt="2024-03-04T10:43:52.472" v="20521"/>
          <ac:spMkLst>
            <pc:docMk/>
            <pc:sldMk cId="1263375755" sldId="937"/>
            <ac:spMk id="3" creationId="{F4CCF02E-F3C4-C376-8F56-61BD85A2E74B}"/>
          </ac:spMkLst>
        </pc:spChg>
        <pc:spChg chg="mod ord">
          <ac:chgData name="Nataliia Chornii (UA)" userId="4e4b8b3d-5f31-49bb-9f80-8a25c04abfff" providerId="ADAL" clId="{EE97D3FE-9ACA-4467-98E5-532EC45D9D1C}" dt="2024-03-04T10:43:53.079" v="20548" actId="207"/>
          <ac:spMkLst>
            <pc:docMk/>
            <pc:sldMk cId="1263375755" sldId="937"/>
            <ac:spMk id="4" creationId="{872966CD-924A-B939-E655-A6BAF817DCBF}"/>
          </ac:spMkLst>
        </pc:spChg>
        <pc:spChg chg="add mod ord">
          <ac:chgData name="Nataliia Chornii (UA)" userId="4e4b8b3d-5f31-49bb-9f80-8a25c04abfff" providerId="ADAL" clId="{EE97D3FE-9ACA-4467-98E5-532EC45D9D1C}" dt="2024-03-04T10:43:52.472" v="20525"/>
          <ac:spMkLst>
            <pc:docMk/>
            <pc:sldMk cId="1263375755" sldId="937"/>
            <ac:spMk id="5" creationId="{B84E4DE4-C567-9AA2-9EA6-FF63AC8010C1}"/>
          </ac:spMkLst>
        </pc:spChg>
        <pc:spChg chg="add mod ord">
          <ac:chgData name="Nataliia Chornii (UA)" userId="4e4b8b3d-5f31-49bb-9f80-8a25c04abfff" providerId="ADAL" clId="{EE97D3FE-9ACA-4467-98E5-532EC45D9D1C}" dt="2024-03-04T10:43:52.472" v="20527"/>
          <ac:spMkLst>
            <pc:docMk/>
            <pc:sldMk cId="1263375755" sldId="937"/>
            <ac:spMk id="6" creationId="{6BDFFD0F-D669-CBFC-F79D-1F7CE72AB8C2}"/>
          </ac:spMkLst>
        </pc:spChg>
        <pc:spChg chg="add mod ord">
          <ac:chgData name="Nataliia Chornii (UA)" userId="4e4b8b3d-5f31-49bb-9f80-8a25c04abfff" providerId="ADAL" clId="{EE97D3FE-9ACA-4467-98E5-532EC45D9D1C}" dt="2024-03-04T10:43:52.472" v="20529"/>
          <ac:spMkLst>
            <pc:docMk/>
            <pc:sldMk cId="1263375755" sldId="937"/>
            <ac:spMk id="7" creationId="{291128ED-10A5-5D71-7FD0-2940E91156C5}"/>
          </ac:spMkLst>
        </pc:spChg>
        <pc:spChg chg="add mod ord">
          <ac:chgData name="Nataliia Chornii (UA)" userId="4e4b8b3d-5f31-49bb-9f80-8a25c04abfff" providerId="ADAL" clId="{EE97D3FE-9ACA-4467-98E5-532EC45D9D1C}" dt="2024-03-04T10:43:52.472" v="20531"/>
          <ac:spMkLst>
            <pc:docMk/>
            <pc:sldMk cId="1263375755" sldId="937"/>
            <ac:spMk id="9" creationId="{40119071-6F0C-7DBF-8B52-8247B7B38480}"/>
          </ac:spMkLst>
        </pc:spChg>
        <pc:spChg chg="add mod ord">
          <ac:chgData name="Nataliia Chornii (UA)" userId="4e4b8b3d-5f31-49bb-9f80-8a25c04abfff" providerId="ADAL" clId="{EE97D3FE-9ACA-4467-98E5-532EC45D9D1C}" dt="2024-03-04T10:43:52.472" v="20533"/>
          <ac:spMkLst>
            <pc:docMk/>
            <pc:sldMk cId="1263375755" sldId="937"/>
            <ac:spMk id="10" creationId="{BC9E057D-3C62-CB02-6C02-90AAC7B6CD99}"/>
          </ac:spMkLst>
        </pc:spChg>
        <pc:spChg chg="mod ord">
          <ac:chgData name="Nataliia Chornii (UA)" userId="4e4b8b3d-5f31-49bb-9f80-8a25c04abfff" providerId="ADAL" clId="{EE97D3FE-9ACA-4467-98E5-532EC45D9D1C}" dt="2024-03-04T10:43:52.472" v="20523"/>
          <ac:spMkLst>
            <pc:docMk/>
            <pc:sldMk cId="1263375755" sldId="937"/>
            <ac:spMk id="11" creationId="{ECEF24F5-E26D-2531-E4A1-337E326AC9CB}"/>
          </ac:spMkLst>
        </pc:spChg>
        <pc:spChg chg="add mod ord">
          <ac:chgData name="Nataliia Chornii (UA)" userId="4e4b8b3d-5f31-49bb-9f80-8a25c04abfff" providerId="ADAL" clId="{EE97D3FE-9ACA-4467-98E5-532EC45D9D1C}" dt="2024-03-04T10:43:52.472" v="20535"/>
          <ac:spMkLst>
            <pc:docMk/>
            <pc:sldMk cId="1263375755" sldId="937"/>
            <ac:spMk id="12" creationId="{5DEF950D-8557-A15F-4AC0-CC2EC189B5DF}"/>
          </ac:spMkLst>
        </pc:spChg>
        <pc:spChg chg="mod ord">
          <ac:chgData name="Nataliia Chornii (UA)" userId="4e4b8b3d-5f31-49bb-9f80-8a25c04abfff" providerId="ADAL" clId="{EE97D3FE-9ACA-4467-98E5-532EC45D9D1C}" dt="2024-03-04T10:43:52.472" v="20517"/>
          <ac:spMkLst>
            <pc:docMk/>
            <pc:sldMk cId="1263375755" sldId="937"/>
            <ac:spMk id="14" creationId="{A8A8DD37-9B73-46FB-C75B-2CEFA6483C22}"/>
          </ac:spMkLst>
        </pc:spChg>
        <pc:spChg chg="mod">
          <ac:chgData name="Nataliia Chornii (UA)" userId="4e4b8b3d-5f31-49bb-9f80-8a25c04abfff" providerId="ADAL" clId="{EE97D3FE-9ACA-4467-98E5-532EC45D9D1C}" dt="2024-03-11T14:26:24.451" v="24096"/>
          <ac:spMkLst>
            <pc:docMk/>
            <pc:sldMk cId="1263375755" sldId="937"/>
            <ac:spMk id="15" creationId="{B11F367E-2F53-48E3-D230-A34313A99E06}"/>
          </ac:spMkLst>
        </pc:spChg>
        <pc:spChg chg="del mod">
          <ac:chgData name="Nataliia Chornii (UA)" userId="4e4b8b3d-5f31-49bb-9f80-8a25c04abfff" providerId="ADAL" clId="{EE97D3FE-9ACA-4467-98E5-532EC45D9D1C}" dt="2024-03-04T09:34:59.971" v="18892" actId="478"/>
          <ac:spMkLst>
            <pc:docMk/>
            <pc:sldMk cId="1263375755" sldId="937"/>
            <ac:spMk id="15" creationId="{E629ACA0-19AA-6B2C-F2D4-5BA2027E48BA}"/>
          </ac:spMkLst>
        </pc:spChg>
        <pc:spChg chg="mod ord">
          <ac:chgData name="Nataliia Chornii (UA)" userId="4e4b8b3d-5f31-49bb-9f80-8a25c04abfff" providerId="ADAL" clId="{EE97D3FE-9ACA-4467-98E5-532EC45D9D1C}" dt="2024-03-04T10:43:52.472" v="20519"/>
          <ac:spMkLst>
            <pc:docMk/>
            <pc:sldMk cId="1263375755" sldId="937"/>
            <ac:spMk id="16" creationId="{25A25F16-3DF9-5BEF-8F70-42FAB50A6BCE}"/>
          </ac:spMkLst>
        </pc:spChg>
        <pc:spChg chg="add mod ord">
          <ac:chgData name="Nataliia Chornii (UA)" userId="4e4b8b3d-5f31-49bb-9f80-8a25c04abfff" providerId="ADAL" clId="{EE97D3FE-9ACA-4467-98E5-532EC45D9D1C}" dt="2024-03-04T10:43:52.472" v="20537"/>
          <ac:spMkLst>
            <pc:docMk/>
            <pc:sldMk cId="1263375755" sldId="937"/>
            <ac:spMk id="17" creationId="{9376B17C-E1F0-0C98-C153-DD16C3ED4496}"/>
          </ac:spMkLst>
        </pc:spChg>
        <pc:spChg chg="del">
          <ac:chgData name="Nataliia Chornii (UA)" userId="4e4b8b3d-5f31-49bb-9f80-8a25c04abfff" providerId="ADAL" clId="{EE97D3FE-9ACA-4467-98E5-532EC45D9D1C}" dt="2024-03-04T09:34:16.294" v="18882" actId="478"/>
          <ac:spMkLst>
            <pc:docMk/>
            <pc:sldMk cId="1263375755" sldId="937"/>
            <ac:spMk id="18" creationId="{1F2102AE-9429-7797-684E-D82C1BB638FD}"/>
          </ac:spMkLst>
        </pc:spChg>
        <pc:spChg chg="mod">
          <ac:chgData name="Nataliia Chornii (UA)" userId="4e4b8b3d-5f31-49bb-9f80-8a25c04abfff" providerId="ADAL" clId="{EE97D3FE-9ACA-4467-98E5-532EC45D9D1C}" dt="2024-03-11T14:26:24.451" v="24096"/>
          <ac:spMkLst>
            <pc:docMk/>
            <pc:sldMk cId="1263375755" sldId="937"/>
            <ac:spMk id="18" creationId="{8EB9CC23-38FA-AF7C-DADF-C57F6D418AF2}"/>
          </ac:spMkLst>
        </pc:spChg>
        <pc:spChg chg="del">
          <ac:chgData name="Nataliia Chornii (UA)" userId="4e4b8b3d-5f31-49bb-9f80-8a25c04abfff" providerId="ADAL" clId="{EE97D3FE-9ACA-4467-98E5-532EC45D9D1C}" dt="2024-03-04T09:34:16.294" v="18882" actId="478"/>
          <ac:spMkLst>
            <pc:docMk/>
            <pc:sldMk cId="1263375755" sldId="937"/>
            <ac:spMk id="19" creationId="{292CC956-AEE0-AD72-18CB-38A87FB03753}"/>
          </ac:spMkLst>
        </pc:spChg>
        <pc:spChg chg="mod">
          <ac:chgData name="Nataliia Chornii (UA)" userId="4e4b8b3d-5f31-49bb-9f80-8a25c04abfff" providerId="ADAL" clId="{EE97D3FE-9ACA-4467-98E5-532EC45D9D1C}" dt="2024-03-11T14:26:24.451" v="24096"/>
          <ac:spMkLst>
            <pc:docMk/>
            <pc:sldMk cId="1263375755" sldId="937"/>
            <ac:spMk id="19" creationId="{97B9C4D3-B11B-D6FF-F226-3857BBBC8A9C}"/>
          </ac:spMkLst>
        </pc:spChg>
        <pc:spChg chg="mod">
          <ac:chgData name="Nataliia Chornii (UA)" userId="4e4b8b3d-5f31-49bb-9f80-8a25c04abfff" providerId="ADAL" clId="{EE97D3FE-9ACA-4467-98E5-532EC45D9D1C}" dt="2024-03-11T14:26:24.451" v="24096"/>
          <ac:spMkLst>
            <pc:docMk/>
            <pc:sldMk cId="1263375755" sldId="937"/>
            <ac:spMk id="20" creationId="{1A36B013-8BE0-8F05-F7EC-5F79916B2377}"/>
          </ac:spMkLst>
        </pc:spChg>
        <pc:spChg chg="del">
          <ac:chgData name="Nataliia Chornii (UA)" userId="4e4b8b3d-5f31-49bb-9f80-8a25c04abfff" providerId="ADAL" clId="{EE97D3FE-9ACA-4467-98E5-532EC45D9D1C}" dt="2024-03-04T09:34:16.294" v="18882" actId="478"/>
          <ac:spMkLst>
            <pc:docMk/>
            <pc:sldMk cId="1263375755" sldId="937"/>
            <ac:spMk id="20" creationId="{394F65FC-FCF7-6F6A-B818-8E1FDE619DCD}"/>
          </ac:spMkLst>
        </pc:spChg>
        <pc:spChg chg="mod">
          <ac:chgData name="Nataliia Chornii (UA)" userId="4e4b8b3d-5f31-49bb-9f80-8a25c04abfff" providerId="ADAL" clId="{EE97D3FE-9ACA-4467-98E5-532EC45D9D1C}" dt="2024-03-11T14:26:24.451" v="24096"/>
          <ac:spMkLst>
            <pc:docMk/>
            <pc:sldMk cId="1263375755" sldId="937"/>
            <ac:spMk id="21" creationId="{245ABA34-A6EC-0247-C853-7BC9CABD8B9F}"/>
          </ac:spMkLst>
        </pc:spChg>
        <pc:spChg chg="del">
          <ac:chgData name="Nataliia Chornii (UA)" userId="4e4b8b3d-5f31-49bb-9f80-8a25c04abfff" providerId="ADAL" clId="{EE97D3FE-9ACA-4467-98E5-532EC45D9D1C}" dt="2024-03-04T09:34:16.294" v="18882" actId="478"/>
          <ac:spMkLst>
            <pc:docMk/>
            <pc:sldMk cId="1263375755" sldId="937"/>
            <ac:spMk id="21" creationId="{865D7ED0-1C9C-D1FA-AF2E-E5D9CC5887D1}"/>
          </ac:spMkLst>
        </pc:spChg>
        <pc:spChg chg="mod">
          <ac:chgData name="Nataliia Chornii (UA)" userId="4e4b8b3d-5f31-49bb-9f80-8a25c04abfff" providerId="ADAL" clId="{EE97D3FE-9ACA-4467-98E5-532EC45D9D1C}" dt="2024-03-11T14:26:24.451" v="24096"/>
          <ac:spMkLst>
            <pc:docMk/>
            <pc:sldMk cId="1263375755" sldId="937"/>
            <ac:spMk id="22" creationId="{8F334F23-FE7E-D542-8974-CE44680F0679}"/>
          </ac:spMkLst>
        </pc:spChg>
        <pc:spChg chg="del">
          <ac:chgData name="Nataliia Chornii (UA)" userId="4e4b8b3d-5f31-49bb-9f80-8a25c04abfff" providerId="ADAL" clId="{EE97D3FE-9ACA-4467-98E5-532EC45D9D1C}" dt="2024-03-04T09:34:16.294" v="18882" actId="478"/>
          <ac:spMkLst>
            <pc:docMk/>
            <pc:sldMk cId="1263375755" sldId="937"/>
            <ac:spMk id="22" creationId="{B3614BE9-57F3-2AD6-B8F2-CABFBDCE09AB}"/>
          </ac:spMkLst>
        </pc:spChg>
        <pc:spChg chg="add mod">
          <ac:chgData name="Nataliia Chornii (UA)" userId="4e4b8b3d-5f31-49bb-9f80-8a25c04abfff" providerId="ADAL" clId="{EE97D3FE-9ACA-4467-98E5-532EC45D9D1C}" dt="2024-03-11T14:30:53.845" v="24272" actId="14100"/>
          <ac:spMkLst>
            <pc:docMk/>
            <pc:sldMk cId="1263375755" sldId="937"/>
            <ac:spMk id="23" creationId="{25611068-7DDA-B2EC-9592-2476E3129359}"/>
          </ac:spMkLst>
        </pc:spChg>
        <pc:spChg chg="del">
          <ac:chgData name="Nataliia Chornii (UA)" userId="4e4b8b3d-5f31-49bb-9f80-8a25c04abfff" providerId="ADAL" clId="{EE97D3FE-9ACA-4467-98E5-532EC45D9D1C}" dt="2024-03-04T09:34:16.294" v="18882" actId="478"/>
          <ac:spMkLst>
            <pc:docMk/>
            <pc:sldMk cId="1263375755" sldId="937"/>
            <ac:spMk id="23" creationId="{8209EE50-23EC-BA9E-795A-C776616CF2D5}"/>
          </ac:spMkLst>
        </pc:spChg>
        <pc:spChg chg="add mod ord">
          <ac:chgData name="Nataliia Chornii (UA)" userId="4e4b8b3d-5f31-49bb-9f80-8a25c04abfff" providerId="ADAL" clId="{EE97D3FE-9ACA-4467-98E5-532EC45D9D1C}" dt="2024-03-04T10:43:52.472" v="20539"/>
          <ac:spMkLst>
            <pc:docMk/>
            <pc:sldMk cId="1263375755" sldId="937"/>
            <ac:spMk id="24" creationId="{3753E256-6408-1146-E160-33565302DAED}"/>
          </ac:spMkLst>
        </pc:spChg>
        <pc:spChg chg="add del mod ord">
          <ac:chgData name="Nataliia Chornii (UA)" userId="4e4b8b3d-5f31-49bb-9f80-8a25c04abfff" providerId="ADAL" clId="{EE97D3FE-9ACA-4467-98E5-532EC45D9D1C}" dt="2024-03-11T14:30:54.866" v="24273" actId="478"/>
          <ac:spMkLst>
            <pc:docMk/>
            <pc:sldMk cId="1263375755" sldId="937"/>
            <ac:spMk id="25" creationId="{5671F210-08EA-8B28-90EF-F2C14949B3B4}"/>
          </ac:spMkLst>
        </pc:spChg>
        <pc:spChg chg="add del mod modVis">
          <ac:chgData name="Nataliia Chornii (UA)" userId="4e4b8b3d-5f31-49bb-9f80-8a25c04abfff" providerId="ADAL" clId="{EE97D3FE-9ACA-4467-98E5-532EC45D9D1C}" dt="2024-03-04T09:37:24.038" v="19035"/>
          <ac:spMkLst>
            <pc:docMk/>
            <pc:sldMk cId="1263375755" sldId="937"/>
            <ac:spMk id="26" creationId="{1596BDDD-8A48-5BB3-47C7-5FBE7520A264}"/>
          </ac:spMkLst>
        </pc:spChg>
        <pc:spChg chg="add del mod modVis">
          <ac:chgData name="Nataliia Chornii (UA)" userId="4e4b8b3d-5f31-49bb-9f80-8a25c04abfff" providerId="ADAL" clId="{EE97D3FE-9ACA-4467-98E5-532EC45D9D1C}" dt="2024-03-04T09:37:26.456" v="19062"/>
          <ac:spMkLst>
            <pc:docMk/>
            <pc:sldMk cId="1263375755" sldId="937"/>
            <ac:spMk id="27" creationId="{45FD17E9-D2C0-36D3-8E3D-528E3B67AE68}"/>
          </ac:spMkLst>
        </pc:spChg>
        <pc:spChg chg="add del mod modVis">
          <ac:chgData name="Nataliia Chornii (UA)" userId="4e4b8b3d-5f31-49bb-9f80-8a25c04abfff" providerId="ADAL" clId="{EE97D3FE-9ACA-4467-98E5-532EC45D9D1C}" dt="2024-03-04T10:42:39.723" v="20373"/>
          <ac:spMkLst>
            <pc:docMk/>
            <pc:sldMk cId="1263375755" sldId="937"/>
            <ac:spMk id="28" creationId="{D5325787-7C79-F1BC-978A-BCB4E1E84A62}"/>
          </ac:spMkLst>
        </pc:spChg>
        <pc:spChg chg="del">
          <ac:chgData name="Nataliia Chornii (UA)" userId="4e4b8b3d-5f31-49bb-9f80-8a25c04abfff" providerId="ADAL" clId="{EE97D3FE-9ACA-4467-98E5-532EC45D9D1C}" dt="2024-03-04T09:34:16.294" v="18882" actId="478"/>
          <ac:spMkLst>
            <pc:docMk/>
            <pc:sldMk cId="1263375755" sldId="937"/>
            <ac:spMk id="45" creationId="{64C0F80D-62A8-8ED5-4DEB-616CF5DDBBAA}"/>
          </ac:spMkLst>
        </pc:spChg>
        <pc:spChg chg="del">
          <ac:chgData name="Nataliia Chornii (UA)" userId="4e4b8b3d-5f31-49bb-9f80-8a25c04abfff" providerId="ADAL" clId="{EE97D3FE-9ACA-4467-98E5-532EC45D9D1C}" dt="2024-03-04T09:34:16.294" v="18882" actId="478"/>
          <ac:spMkLst>
            <pc:docMk/>
            <pc:sldMk cId="1263375755" sldId="937"/>
            <ac:spMk id="46" creationId="{ED5C1B45-1FDB-2A1D-9552-BCFEE5918624}"/>
          </ac:spMkLst>
        </pc:spChg>
        <pc:grpChg chg="add mod">
          <ac:chgData name="Nataliia Chornii (UA)" userId="4e4b8b3d-5f31-49bb-9f80-8a25c04abfff" providerId="ADAL" clId="{EE97D3FE-9ACA-4467-98E5-532EC45D9D1C}" dt="2024-03-11T14:26:24.451" v="24096"/>
          <ac:grpSpMkLst>
            <pc:docMk/>
            <pc:sldMk cId="1263375755" sldId="937"/>
            <ac:grpSpMk id="13" creationId="{46B64CA6-3A20-6C92-0131-A301C30EF6AF}"/>
          </ac:grpSpMkLst>
        </pc:grpChg>
        <pc:graphicFrameChg chg="mod">
          <ac:chgData name="Nataliia Chornii (UA)" userId="4e4b8b3d-5f31-49bb-9f80-8a25c04abfff" providerId="ADAL" clId="{EE97D3FE-9ACA-4467-98E5-532EC45D9D1C}" dt="2024-03-04T10:43:52.487" v="20547"/>
          <ac:graphicFrameMkLst>
            <pc:docMk/>
            <pc:sldMk cId="1263375755" sldId="937"/>
            <ac:graphicFrameMk id="8" creationId="{32A03EDD-F030-291B-BE81-BF9DE321CA50}"/>
          </ac:graphicFrameMkLst>
        </pc:graphicFrameChg>
        <pc:picChg chg="del mod ord">
          <ac:chgData name="Nataliia Chornii (UA)" userId="4e4b8b3d-5f31-49bb-9f80-8a25c04abfff" providerId="ADAL" clId="{EE97D3FE-9ACA-4467-98E5-532EC45D9D1C}" dt="2024-03-04T10:42:41.081" v="20376" actId="478"/>
          <ac:picMkLst>
            <pc:docMk/>
            <pc:sldMk cId="1263375755" sldId="937"/>
            <ac:picMk id="13" creationId="{74DDB8D3-0D3E-4998-DA26-3080B29564A0}"/>
          </ac:picMkLst>
        </pc:picChg>
        <pc:picChg chg="add mod ord modCrop">
          <ac:chgData name="Nataliia Chornii (UA)" userId="4e4b8b3d-5f31-49bb-9f80-8a25c04abfff" providerId="ADAL" clId="{EE97D3FE-9ACA-4467-98E5-532EC45D9D1C}" dt="2024-03-04T10:43:52.472" v="20515"/>
          <ac:picMkLst>
            <pc:docMk/>
            <pc:sldMk cId="1263375755" sldId="937"/>
            <ac:picMk id="30" creationId="{AB4C9FDB-076F-0336-F777-BCEDB4421830}"/>
          </ac:picMkLst>
        </pc:pic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2:57.422" v="22442"/>
              <pc2:cmMkLst xmlns:pc2="http://schemas.microsoft.com/office/powerpoint/2019/9/main/command">
                <pc:docMk/>
                <pc:sldMk cId="1263375755" sldId="937"/>
                <pc2:cmMk id="{B43CF2A4-07EF-486D-ABE3-FCC5F57ABF34}"/>
              </pc2:cmMkLst>
            </pc226:cmChg>
          </p:ext>
        </pc:extLst>
      </pc:sldChg>
      <pc:sldChg chg="addSp delSp modSp mod modCm">
        <pc:chgData name="Nataliia Chornii (UA)" userId="4e4b8b3d-5f31-49bb-9f80-8a25c04abfff" providerId="ADAL" clId="{EE97D3FE-9ACA-4467-98E5-532EC45D9D1C}" dt="2024-03-11T14:31:09.112" v="24281"/>
        <pc:sldMkLst>
          <pc:docMk/>
          <pc:sldMk cId="2976985460" sldId="938"/>
        </pc:sldMkLst>
        <pc:spChg chg="add mod">
          <ac:chgData name="Nataliia Chornii (UA)" userId="4e4b8b3d-5f31-49bb-9f80-8a25c04abfff" providerId="ADAL" clId="{EE97D3FE-9ACA-4467-98E5-532EC45D9D1C}" dt="2024-03-11T14:26:31.277" v="24098"/>
          <ac:spMkLst>
            <pc:docMk/>
            <pc:sldMk cId="2976985460" sldId="938"/>
            <ac:spMk id="2" creationId="{522041E8-8E88-02C5-E03A-E769C521DA8E}"/>
          </ac:spMkLst>
        </pc:spChg>
        <pc:spChg chg="del">
          <ac:chgData name="Nataliia Chornii (UA)" userId="4e4b8b3d-5f31-49bb-9f80-8a25c04abfff" providerId="ADAL" clId="{EE97D3FE-9ACA-4467-98E5-532EC45D9D1C}" dt="2024-03-04T09:37:42.164" v="19069" actId="478"/>
          <ac:spMkLst>
            <pc:docMk/>
            <pc:sldMk cId="2976985460" sldId="938"/>
            <ac:spMk id="2" creationId="{7ED4D46D-04AD-7DC4-4216-971E04043EA7}"/>
          </ac:spMkLst>
        </pc:spChg>
        <pc:spChg chg="mod ord">
          <ac:chgData name="Nataliia Chornii (UA)" userId="4e4b8b3d-5f31-49bb-9f80-8a25c04abfff" providerId="ADAL" clId="{EE97D3FE-9ACA-4467-98E5-532EC45D9D1C}" dt="2024-03-04T10:44:50.403" v="20619"/>
          <ac:spMkLst>
            <pc:docMk/>
            <pc:sldMk cId="2976985460" sldId="938"/>
            <ac:spMk id="3" creationId="{F4CCF02E-F3C4-C376-8F56-61BD85A2E74B}"/>
          </ac:spMkLst>
        </pc:spChg>
        <pc:spChg chg="mod ord">
          <ac:chgData name="Nataliia Chornii (UA)" userId="4e4b8b3d-5f31-49bb-9f80-8a25c04abfff" providerId="ADAL" clId="{EE97D3FE-9ACA-4467-98E5-532EC45D9D1C}" dt="2024-03-04T10:44:50.404" v="20621"/>
          <ac:spMkLst>
            <pc:docMk/>
            <pc:sldMk cId="2976985460" sldId="938"/>
            <ac:spMk id="4" creationId="{872966CD-924A-B939-E655-A6BAF817DCBF}"/>
          </ac:spMkLst>
        </pc:spChg>
        <pc:spChg chg="add mod ord">
          <ac:chgData name="Nataliia Chornii (UA)" userId="4e4b8b3d-5f31-49bb-9f80-8a25c04abfff" providerId="ADAL" clId="{EE97D3FE-9ACA-4467-98E5-532EC45D9D1C}" dt="2024-03-04T10:44:50.404" v="20625"/>
          <ac:spMkLst>
            <pc:docMk/>
            <pc:sldMk cId="2976985460" sldId="938"/>
            <ac:spMk id="5" creationId="{371FCDBA-9B9E-5D7C-1A41-4BD6B8898FF7}"/>
          </ac:spMkLst>
        </pc:spChg>
        <pc:spChg chg="add mod ord">
          <ac:chgData name="Nataliia Chornii (UA)" userId="4e4b8b3d-5f31-49bb-9f80-8a25c04abfff" providerId="ADAL" clId="{EE97D3FE-9ACA-4467-98E5-532EC45D9D1C}" dt="2024-03-04T10:44:50.404" v="20627"/>
          <ac:spMkLst>
            <pc:docMk/>
            <pc:sldMk cId="2976985460" sldId="938"/>
            <ac:spMk id="6" creationId="{28FF6910-3D7D-2213-DCB1-B257AC1B7F0F}"/>
          </ac:spMkLst>
        </pc:spChg>
        <pc:spChg chg="add mod ord">
          <ac:chgData name="Nataliia Chornii (UA)" userId="4e4b8b3d-5f31-49bb-9f80-8a25c04abfff" providerId="ADAL" clId="{EE97D3FE-9ACA-4467-98E5-532EC45D9D1C}" dt="2024-03-04T10:44:50.404" v="20629"/>
          <ac:spMkLst>
            <pc:docMk/>
            <pc:sldMk cId="2976985460" sldId="938"/>
            <ac:spMk id="7" creationId="{F3879881-8630-2FDA-7C55-AF987ACAD725}"/>
          </ac:spMkLst>
        </pc:spChg>
        <pc:spChg chg="add mod ord">
          <ac:chgData name="Nataliia Chornii (UA)" userId="4e4b8b3d-5f31-49bb-9f80-8a25c04abfff" providerId="ADAL" clId="{EE97D3FE-9ACA-4467-98E5-532EC45D9D1C}" dt="2024-03-04T10:44:50.404" v="20631"/>
          <ac:spMkLst>
            <pc:docMk/>
            <pc:sldMk cId="2976985460" sldId="938"/>
            <ac:spMk id="9" creationId="{9409E1E2-8EA7-CC92-53FC-A8C9135E24B2}"/>
          </ac:spMkLst>
        </pc:spChg>
        <pc:spChg chg="add mod ord">
          <ac:chgData name="Nataliia Chornii (UA)" userId="4e4b8b3d-5f31-49bb-9f80-8a25c04abfff" providerId="ADAL" clId="{EE97D3FE-9ACA-4467-98E5-532EC45D9D1C}" dt="2024-03-04T10:44:50.404" v="20633"/>
          <ac:spMkLst>
            <pc:docMk/>
            <pc:sldMk cId="2976985460" sldId="938"/>
            <ac:spMk id="10" creationId="{89A4AC3B-C5BA-A4BE-AD67-5F7613F6FD1F}"/>
          </ac:spMkLst>
        </pc:spChg>
        <pc:spChg chg="mod ord">
          <ac:chgData name="Nataliia Chornii (UA)" userId="4e4b8b3d-5f31-49bb-9f80-8a25c04abfff" providerId="ADAL" clId="{EE97D3FE-9ACA-4467-98E5-532EC45D9D1C}" dt="2024-03-04T10:44:50.404" v="20623"/>
          <ac:spMkLst>
            <pc:docMk/>
            <pc:sldMk cId="2976985460" sldId="938"/>
            <ac:spMk id="11" creationId="{ECEF24F5-E26D-2531-E4A1-337E326AC9CB}"/>
          </ac:spMkLst>
        </pc:spChg>
        <pc:spChg chg="add mod ord">
          <ac:chgData name="Nataliia Chornii (UA)" userId="4e4b8b3d-5f31-49bb-9f80-8a25c04abfff" providerId="ADAL" clId="{EE97D3FE-9ACA-4467-98E5-532EC45D9D1C}" dt="2024-03-04T10:44:50.404" v="20635"/>
          <ac:spMkLst>
            <pc:docMk/>
            <pc:sldMk cId="2976985460" sldId="938"/>
            <ac:spMk id="12" creationId="{9D2EC366-A88E-EB2D-A324-9B14F3953256}"/>
          </ac:spMkLst>
        </pc:spChg>
        <pc:spChg chg="add del mod ord">
          <ac:chgData name="Nataliia Chornii (UA)" userId="4e4b8b3d-5f31-49bb-9f80-8a25c04abfff" providerId="ADAL" clId="{EE97D3FE-9ACA-4467-98E5-532EC45D9D1C}" dt="2024-03-04T10:44:50.387" v="20615"/>
          <ac:spMkLst>
            <pc:docMk/>
            <pc:sldMk cId="2976985460" sldId="938"/>
            <ac:spMk id="14" creationId="{A8A8DD37-9B73-46FB-C75B-2CEFA6483C22}"/>
          </ac:spMkLst>
        </pc:spChg>
        <pc:spChg chg="mod">
          <ac:chgData name="Nataliia Chornii (UA)" userId="4e4b8b3d-5f31-49bb-9f80-8a25c04abfff" providerId="ADAL" clId="{EE97D3FE-9ACA-4467-98E5-532EC45D9D1C}" dt="2024-03-11T14:26:31.277" v="24098"/>
          <ac:spMkLst>
            <pc:docMk/>
            <pc:sldMk cId="2976985460" sldId="938"/>
            <ac:spMk id="15" creationId="{0FEBF4CD-8CA1-0BED-C8D8-93CBEA950BC4}"/>
          </ac:spMkLst>
        </pc:spChg>
        <pc:spChg chg="del">
          <ac:chgData name="Nataliia Chornii (UA)" userId="4e4b8b3d-5f31-49bb-9f80-8a25c04abfff" providerId="ADAL" clId="{EE97D3FE-9ACA-4467-98E5-532EC45D9D1C}" dt="2024-03-04T09:37:39.273" v="19066" actId="478"/>
          <ac:spMkLst>
            <pc:docMk/>
            <pc:sldMk cId="2976985460" sldId="938"/>
            <ac:spMk id="15" creationId="{E629ACA0-19AA-6B2C-F2D4-5BA2027E48BA}"/>
          </ac:spMkLst>
        </pc:spChg>
        <pc:spChg chg="mod ord">
          <ac:chgData name="Nataliia Chornii (UA)" userId="4e4b8b3d-5f31-49bb-9f80-8a25c04abfff" providerId="ADAL" clId="{EE97D3FE-9ACA-4467-98E5-532EC45D9D1C}" dt="2024-03-04T10:44:53.619" v="20646" actId="14100"/>
          <ac:spMkLst>
            <pc:docMk/>
            <pc:sldMk cId="2976985460" sldId="938"/>
            <ac:spMk id="16" creationId="{25A25F16-3DF9-5BEF-8F70-42FAB50A6BCE}"/>
          </ac:spMkLst>
        </pc:spChg>
        <pc:spChg chg="add mod ord">
          <ac:chgData name="Nataliia Chornii (UA)" userId="4e4b8b3d-5f31-49bb-9f80-8a25c04abfff" providerId="ADAL" clId="{EE97D3FE-9ACA-4467-98E5-532EC45D9D1C}" dt="2024-03-04T10:44:50.404" v="20637"/>
          <ac:spMkLst>
            <pc:docMk/>
            <pc:sldMk cId="2976985460" sldId="938"/>
            <ac:spMk id="17" creationId="{A924FF13-D704-21CA-9AB6-582C4BE0FAA4}"/>
          </ac:spMkLst>
        </pc:spChg>
        <pc:spChg chg="del">
          <ac:chgData name="Nataliia Chornii (UA)" userId="4e4b8b3d-5f31-49bb-9f80-8a25c04abfff" providerId="ADAL" clId="{EE97D3FE-9ACA-4467-98E5-532EC45D9D1C}" dt="2024-03-04T09:37:38.359" v="19065" actId="478"/>
          <ac:spMkLst>
            <pc:docMk/>
            <pc:sldMk cId="2976985460" sldId="938"/>
            <ac:spMk id="18" creationId="{1F2102AE-9429-7797-684E-D82C1BB638FD}"/>
          </ac:spMkLst>
        </pc:spChg>
        <pc:spChg chg="mod">
          <ac:chgData name="Nataliia Chornii (UA)" userId="4e4b8b3d-5f31-49bb-9f80-8a25c04abfff" providerId="ADAL" clId="{EE97D3FE-9ACA-4467-98E5-532EC45D9D1C}" dt="2024-03-11T14:26:31.277" v="24098"/>
          <ac:spMkLst>
            <pc:docMk/>
            <pc:sldMk cId="2976985460" sldId="938"/>
            <ac:spMk id="18" creationId="{3CB2B83B-4855-8893-D810-3FE0CD64E744}"/>
          </ac:spMkLst>
        </pc:spChg>
        <pc:spChg chg="del">
          <ac:chgData name="Nataliia Chornii (UA)" userId="4e4b8b3d-5f31-49bb-9f80-8a25c04abfff" providerId="ADAL" clId="{EE97D3FE-9ACA-4467-98E5-532EC45D9D1C}" dt="2024-03-04T09:37:38.359" v="19065" actId="478"/>
          <ac:spMkLst>
            <pc:docMk/>
            <pc:sldMk cId="2976985460" sldId="938"/>
            <ac:spMk id="19" creationId="{292CC956-AEE0-AD72-18CB-38A87FB03753}"/>
          </ac:spMkLst>
        </pc:spChg>
        <pc:spChg chg="mod">
          <ac:chgData name="Nataliia Chornii (UA)" userId="4e4b8b3d-5f31-49bb-9f80-8a25c04abfff" providerId="ADAL" clId="{EE97D3FE-9ACA-4467-98E5-532EC45D9D1C}" dt="2024-03-11T14:26:31.277" v="24098"/>
          <ac:spMkLst>
            <pc:docMk/>
            <pc:sldMk cId="2976985460" sldId="938"/>
            <ac:spMk id="19" creationId="{7A33789B-28C1-0EE3-2D8B-E1E7D51C0986}"/>
          </ac:spMkLst>
        </pc:spChg>
        <pc:spChg chg="del">
          <ac:chgData name="Nataliia Chornii (UA)" userId="4e4b8b3d-5f31-49bb-9f80-8a25c04abfff" providerId="ADAL" clId="{EE97D3FE-9ACA-4467-98E5-532EC45D9D1C}" dt="2024-03-04T09:37:38.359" v="19065" actId="478"/>
          <ac:spMkLst>
            <pc:docMk/>
            <pc:sldMk cId="2976985460" sldId="938"/>
            <ac:spMk id="20" creationId="{394F65FC-FCF7-6F6A-B818-8E1FDE619DCD}"/>
          </ac:spMkLst>
        </pc:spChg>
        <pc:spChg chg="mod">
          <ac:chgData name="Nataliia Chornii (UA)" userId="4e4b8b3d-5f31-49bb-9f80-8a25c04abfff" providerId="ADAL" clId="{EE97D3FE-9ACA-4467-98E5-532EC45D9D1C}" dt="2024-03-11T14:26:31.277" v="24098"/>
          <ac:spMkLst>
            <pc:docMk/>
            <pc:sldMk cId="2976985460" sldId="938"/>
            <ac:spMk id="20" creationId="{9F7BDE82-AF48-13BD-F14E-796D1B47D627}"/>
          </ac:spMkLst>
        </pc:spChg>
        <pc:spChg chg="mod">
          <ac:chgData name="Nataliia Chornii (UA)" userId="4e4b8b3d-5f31-49bb-9f80-8a25c04abfff" providerId="ADAL" clId="{EE97D3FE-9ACA-4467-98E5-532EC45D9D1C}" dt="2024-03-11T14:26:31.277" v="24098"/>
          <ac:spMkLst>
            <pc:docMk/>
            <pc:sldMk cId="2976985460" sldId="938"/>
            <ac:spMk id="21" creationId="{47E08EBB-8820-5D6C-D694-CB5722592AD4}"/>
          </ac:spMkLst>
        </pc:spChg>
        <pc:spChg chg="del">
          <ac:chgData name="Nataliia Chornii (UA)" userId="4e4b8b3d-5f31-49bb-9f80-8a25c04abfff" providerId="ADAL" clId="{EE97D3FE-9ACA-4467-98E5-532EC45D9D1C}" dt="2024-03-04T09:37:38.359" v="19065" actId="478"/>
          <ac:spMkLst>
            <pc:docMk/>
            <pc:sldMk cId="2976985460" sldId="938"/>
            <ac:spMk id="21" creationId="{865D7ED0-1C9C-D1FA-AF2E-E5D9CC5887D1}"/>
          </ac:spMkLst>
        </pc:spChg>
        <pc:spChg chg="mod">
          <ac:chgData name="Nataliia Chornii (UA)" userId="4e4b8b3d-5f31-49bb-9f80-8a25c04abfff" providerId="ADAL" clId="{EE97D3FE-9ACA-4467-98E5-532EC45D9D1C}" dt="2024-03-11T14:26:31.277" v="24098"/>
          <ac:spMkLst>
            <pc:docMk/>
            <pc:sldMk cId="2976985460" sldId="938"/>
            <ac:spMk id="22" creationId="{2A04E996-EA33-F3C2-491E-1BB9DAB8CB7B}"/>
          </ac:spMkLst>
        </pc:spChg>
        <pc:spChg chg="del">
          <ac:chgData name="Nataliia Chornii (UA)" userId="4e4b8b3d-5f31-49bb-9f80-8a25c04abfff" providerId="ADAL" clId="{EE97D3FE-9ACA-4467-98E5-532EC45D9D1C}" dt="2024-03-04T09:37:38.359" v="19065" actId="478"/>
          <ac:spMkLst>
            <pc:docMk/>
            <pc:sldMk cId="2976985460" sldId="938"/>
            <ac:spMk id="22" creationId="{B3614BE9-57F3-2AD6-B8F2-CABFBDCE09AB}"/>
          </ac:spMkLst>
        </pc:spChg>
        <pc:spChg chg="del">
          <ac:chgData name="Nataliia Chornii (UA)" userId="4e4b8b3d-5f31-49bb-9f80-8a25c04abfff" providerId="ADAL" clId="{EE97D3FE-9ACA-4467-98E5-532EC45D9D1C}" dt="2024-03-04T09:37:38.359" v="19065" actId="478"/>
          <ac:spMkLst>
            <pc:docMk/>
            <pc:sldMk cId="2976985460" sldId="938"/>
            <ac:spMk id="23" creationId="{8209EE50-23EC-BA9E-795A-C776616CF2D5}"/>
          </ac:spMkLst>
        </pc:spChg>
        <pc:spChg chg="add mod">
          <ac:chgData name="Nataliia Chornii (UA)" userId="4e4b8b3d-5f31-49bb-9f80-8a25c04abfff" providerId="ADAL" clId="{EE97D3FE-9ACA-4467-98E5-532EC45D9D1C}" dt="2024-03-11T14:31:09.112" v="24281"/>
          <ac:spMkLst>
            <pc:docMk/>
            <pc:sldMk cId="2976985460" sldId="938"/>
            <ac:spMk id="23" creationId="{B57D46C5-1D17-93F3-422D-931D413F17E2}"/>
          </ac:spMkLst>
        </pc:spChg>
        <pc:spChg chg="add mod ord">
          <ac:chgData name="Nataliia Chornii (UA)" userId="4e4b8b3d-5f31-49bb-9f80-8a25c04abfff" providerId="ADAL" clId="{EE97D3FE-9ACA-4467-98E5-532EC45D9D1C}" dt="2024-03-04T10:44:50.409" v="20639"/>
          <ac:spMkLst>
            <pc:docMk/>
            <pc:sldMk cId="2976985460" sldId="938"/>
            <ac:spMk id="24" creationId="{562D4C91-BEE7-2D97-FADC-D6600BEB8A22}"/>
          </ac:spMkLst>
        </pc:spChg>
        <pc:spChg chg="add del mod ord">
          <ac:chgData name="Nataliia Chornii (UA)" userId="4e4b8b3d-5f31-49bb-9f80-8a25c04abfff" providerId="ADAL" clId="{EE97D3FE-9ACA-4467-98E5-532EC45D9D1C}" dt="2024-03-11T14:31:08.845" v="24280" actId="478"/>
          <ac:spMkLst>
            <pc:docMk/>
            <pc:sldMk cId="2976985460" sldId="938"/>
            <ac:spMk id="25" creationId="{4511EE97-DC8F-F064-A429-63BB4A68C935}"/>
          </ac:spMkLst>
        </pc:spChg>
        <pc:spChg chg="add del mod modVis">
          <ac:chgData name="Nataliia Chornii (UA)" userId="4e4b8b3d-5f31-49bb-9f80-8a25c04abfff" providerId="ADAL" clId="{EE97D3FE-9ACA-4467-98E5-532EC45D9D1C}" dt="2024-03-04T09:37:48.113" v="19095"/>
          <ac:spMkLst>
            <pc:docMk/>
            <pc:sldMk cId="2976985460" sldId="938"/>
            <ac:spMk id="26" creationId="{4FF711C6-C952-1D01-DB5E-F0A3F42B2C9D}"/>
          </ac:spMkLst>
        </pc:spChg>
        <pc:spChg chg="add del mod">
          <ac:chgData name="Nataliia Chornii (UA)" userId="4e4b8b3d-5f31-49bb-9f80-8a25c04abfff" providerId="ADAL" clId="{EE97D3FE-9ACA-4467-98E5-532EC45D9D1C}" dt="2024-03-04T09:39:13.451" v="19133" actId="478"/>
          <ac:spMkLst>
            <pc:docMk/>
            <pc:sldMk cId="2976985460" sldId="938"/>
            <ac:spMk id="27" creationId="{F5FFF323-0542-E6BD-5FFC-16AC4DE1A9AC}"/>
          </ac:spMkLst>
        </pc:spChg>
        <pc:spChg chg="add del mod modVis">
          <ac:chgData name="Nataliia Chornii (UA)" userId="4e4b8b3d-5f31-49bb-9f80-8a25c04abfff" providerId="ADAL" clId="{EE97D3FE-9ACA-4467-98E5-532EC45D9D1C}" dt="2024-03-04T10:44:31.599" v="20602"/>
          <ac:spMkLst>
            <pc:docMk/>
            <pc:sldMk cId="2976985460" sldId="938"/>
            <ac:spMk id="28" creationId="{6AF287D3-FF01-C941-9A58-BFF9B487B57F}"/>
          </ac:spMkLst>
        </pc:spChg>
        <pc:spChg chg="del">
          <ac:chgData name="Nataliia Chornii (UA)" userId="4e4b8b3d-5f31-49bb-9f80-8a25c04abfff" providerId="ADAL" clId="{EE97D3FE-9ACA-4467-98E5-532EC45D9D1C}" dt="2024-03-04T09:37:38.359" v="19065" actId="478"/>
          <ac:spMkLst>
            <pc:docMk/>
            <pc:sldMk cId="2976985460" sldId="938"/>
            <ac:spMk id="45" creationId="{64C0F80D-62A8-8ED5-4DEB-616CF5DDBBAA}"/>
          </ac:spMkLst>
        </pc:spChg>
        <pc:spChg chg="del">
          <ac:chgData name="Nataliia Chornii (UA)" userId="4e4b8b3d-5f31-49bb-9f80-8a25c04abfff" providerId="ADAL" clId="{EE97D3FE-9ACA-4467-98E5-532EC45D9D1C}" dt="2024-03-04T09:37:38.359" v="19065" actId="478"/>
          <ac:spMkLst>
            <pc:docMk/>
            <pc:sldMk cId="2976985460" sldId="938"/>
            <ac:spMk id="46" creationId="{ED5C1B45-1FDB-2A1D-9552-BCFEE5918624}"/>
          </ac:spMkLst>
        </pc:spChg>
        <pc:grpChg chg="add mod">
          <ac:chgData name="Nataliia Chornii (UA)" userId="4e4b8b3d-5f31-49bb-9f80-8a25c04abfff" providerId="ADAL" clId="{EE97D3FE-9ACA-4467-98E5-532EC45D9D1C}" dt="2024-03-11T14:26:31.277" v="24098"/>
          <ac:grpSpMkLst>
            <pc:docMk/>
            <pc:sldMk cId="2976985460" sldId="938"/>
            <ac:grpSpMk id="13" creationId="{EACCD0CA-A4A4-B42D-94BB-2CF3BBB24F90}"/>
          </ac:grpSpMkLst>
        </pc:grpChg>
        <pc:graphicFrameChg chg="mod">
          <ac:chgData name="Nataliia Chornii (UA)" userId="4e4b8b3d-5f31-49bb-9f80-8a25c04abfff" providerId="ADAL" clId="{EE97D3FE-9ACA-4467-98E5-532EC45D9D1C}" dt="2024-03-04T10:44:50.409" v="20645"/>
          <ac:graphicFrameMkLst>
            <pc:docMk/>
            <pc:sldMk cId="2976985460" sldId="938"/>
            <ac:graphicFrameMk id="8" creationId="{32A03EDD-F030-291B-BE81-BF9DE321CA50}"/>
          </ac:graphicFrameMkLst>
        </pc:graphicFrameChg>
        <pc:picChg chg="del mod ord">
          <ac:chgData name="Nataliia Chornii (UA)" userId="4e4b8b3d-5f31-49bb-9f80-8a25c04abfff" providerId="ADAL" clId="{EE97D3FE-9ACA-4467-98E5-532EC45D9D1C}" dt="2024-03-04T10:44:33.580" v="20605" actId="478"/>
          <ac:picMkLst>
            <pc:docMk/>
            <pc:sldMk cId="2976985460" sldId="938"/>
            <ac:picMk id="13" creationId="{74DDB8D3-0D3E-4998-DA26-3080B29564A0}"/>
          </ac:picMkLst>
        </pc:picChg>
        <pc:picChg chg="add mod ord modCrop">
          <ac:chgData name="Nataliia Chornii (UA)" userId="4e4b8b3d-5f31-49bb-9f80-8a25c04abfff" providerId="ADAL" clId="{EE97D3FE-9ACA-4467-98E5-532EC45D9D1C}" dt="2024-03-04T10:44:50.387" v="20613"/>
          <ac:picMkLst>
            <pc:docMk/>
            <pc:sldMk cId="2976985460" sldId="938"/>
            <ac:picMk id="30" creationId="{931173D5-E091-CD5E-A470-8DC442583BC8}"/>
          </ac:picMkLst>
        </pc:pic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3:05.984" v="22444"/>
              <pc2:cmMkLst xmlns:pc2="http://schemas.microsoft.com/office/powerpoint/2019/9/main/command">
                <pc:docMk/>
                <pc:sldMk cId="2976985460" sldId="938"/>
                <pc2:cmMk id="{E8E3E279-41EF-4EC9-96D4-87274249FA89}"/>
              </pc2:cmMkLst>
            </pc226:cmChg>
          </p:ext>
        </pc:extLst>
      </pc:sldChg>
      <pc:sldChg chg="addSp delSp modSp mod modClrScheme modCm chgLayout">
        <pc:chgData name="Nataliia Chornii (UA)" userId="4e4b8b3d-5f31-49bb-9f80-8a25c04abfff" providerId="ADAL" clId="{EE97D3FE-9ACA-4467-98E5-532EC45D9D1C}" dt="2024-03-11T15:06:01.518" v="25234" actId="478"/>
        <pc:sldMkLst>
          <pc:docMk/>
          <pc:sldMk cId="558100583" sldId="939"/>
        </pc:sldMkLst>
        <pc:spChg chg="add mod">
          <ac:chgData name="Nataliia Chornii (UA)" userId="4e4b8b3d-5f31-49bb-9f80-8a25c04abfff" providerId="ADAL" clId="{EE97D3FE-9ACA-4467-98E5-532EC45D9D1C}" dt="2024-03-11T14:26:32.770" v="24099"/>
          <ac:spMkLst>
            <pc:docMk/>
            <pc:sldMk cId="558100583" sldId="939"/>
            <ac:spMk id="2" creationId="{1E225718-E008-467A-5BFC-8A08C55E0544}"/>
          </ac:spMkLst>
        </pc:spChg>
        <pc:spChg chg="del">
          <ac:chgData name="Nataliia Chornii (UA)" userId="4e4b8b3d-5f31-49bb-9f80-8a25c04abfff" providerId="ADAL" clId="{EE97D3FE-9ACA-4467-98E5-532EC45D9D1C}" dt="2024-03-04T09:39:26.238" v="19135" actId="478"/>
          <ac:spMkLst>
            <pc:docMk/>
            <pc:sldMk cId="558100583" sldId="939"/>
            <ac:spMk id="2" creationId="{F6B088C4-896F-0BB6-190E-567264B27E74}"/>
          </ac:spMkLst>
        </pc:spChg>
        <pc:spChg chg="mod ord">
          <ac:chgData name="Nataliia Chornii (UA)" userId="4e4b8b3d-5f31-49bb-9f80-8a25c04abfff" providerId="ADAL" clId="{EE97D3FE-9ACA-4467-98E5-532EC45D9D1C}" dt="2024-03-11T15:04:47.583" v="25213" actId="948"/>
          <ac:spMkLst>
            <pc:docMk/>
            <pc:sldMk cId="558100583" sldId="939"/>
            <ac:spMk id="3" creationId="{F4CCF02E-F3C4-C376-8F56-61BD85A2E74B}"/>
          </ac:spMkLst>
        </pc:spChg>
        <pc:spChg chg="mod ord">
          <ac:chgData name="Nataliia Chornii (UA)" userId="4e4b8b3d-5f31-49bb-9f80-8a25c04abfff" providerId="ADAL" clId="{EE97D3FE-9ACA-4467-98E5-532EC45D9D1C}" dt="2024-03-04T10:49:13.319" v="20866"/>
          <ac:spMkLst>
            <pc:docMk/>
            <pc:sldMk cId="558100583" sldId="939"/>
            <ac:spMk id="4" creationId="{872966CD-924A-B939-E655-A6BAF817DCBF}"/>
          </ac:spMkLst>
        </pc:spChg>
        <pc:spChg chg="add mod ord">
          <ac:chgData name="Nataliia Chornii (UA)" userId="4e4b8b3d-5f31-49bb-9f80-8a25c04abfff" providerId="ADAL" clId="{EE97D3FE-9ACA-4467-98E5-532EC45D9D1C}" dt="2024-03-04T10:49:13.304" v="20832"/>
          <ac:spMkLst>
            <pc:docMk/>
            <pc:sldMk cId="558100583" sldId="939"/>
            <ac:spMk id="5" creationId="{5BA4BF49-55EE-0385-3948-BE4386A9E008}"/>
          </ac:spMkLst>
        </pc:spChg>
        <pc:spChg chg="add mod ord">
          <ac:chgData name="Nataliia Chornii (UA)" userId="4e4b8b3d-5f31-49bb-9f80-8a25c04abfff" providerId="ADAL" clId="{EE97D3FE-9ACA-4467-98E5-532EC45D9D1C}" dt="2024-03-04T10:49:13.304" v="20834"/>
          <ac:spMkLst>
            <pc:docMk/>
            <pc:sldMk cId="558100583" sldId="939"/>
            <ac:spMk id="6" creationId="{0C108BD1-931B-C37F-E823-CFBF6495B4F9}"/>
          </ac:spMkLst>
        </pc:spChg>
        <pc:spChg chg="add mod ord">
          <ac:chgData name="Nataliia Chornii (UA)" userId="4e4b8b3d-5f31-49bb-9f80-8a25c04abfff" providerId="ADAL" clId="{EE97D3FE-9ACA-4467-98E5-532EC45D9D1C}" dt="2024-03-04T10:49:13.304" v="20836"/>
          <ac:spMkLst>
            <pc:docMk/>
            <pc:sldMk cId="558100583" sldId="939"/>
            <ac:spMk id="7" creationId="{9CF7A655-E6E9-63EB-75DB-94EADD3D2A7D}"/>
          </ac:spMkLst>
        </pc:spChg>
        <pc:spChg chg="add mod ord">
          <ac:chgData name="Nataliia Chornii (UA)" userId="4e4b8b3d-5f31-49bb-9f80-8a25c04abfff" providerId="ADAL" clId="{EE97D3FE-9ACA-4467-98E5-532EC45D9D1C}" dt="2024-03-04T10:49:13.304" v="20838"/>
          <ac:spMkLst>
            <pc:docMk/>
            <pc:sldMk cId="558100583" sldId="939"/>
            <ac:spMk id="8" creationId="{54F458ED-0455-E9E1-8DAA-F6F304736367}"/>
          </ac:spMkLst>
        </pc:spChg>
        <pc:spChg chg="add mod ord">
          <ac:chgData name="Nataliia Chornii (UA)" userId="4e4b8b3d-5f31-49bb-9f80-8a25c04abfff" providerId="ADAL" clId="{EE97D3FE-9ACA-4467-98E5-532EC45D9D1C}" dt="2024-03-04T10:49:13.304" v="20840"/>
          <ac:spMkLst>
            <pc:docMk/>
            <pc:sldMk cId="558100583" sldId="939"/>
            <ac:spMk id="10" creationId="{CEB1DE58-1273-6427-78D0-0FFAE6FC3C3A}"/>
          </ac:spMkLst>
        </pc:spChg>
        <pc:spChg chg="add mod ord">
          <ac:chgData name="Nataliia Chornii (UA)" userId="4e4b8b3d-5f31-49bb-9f80-8a25c04abfff" providerId="ADAL" clId="{EE97D3FE-9ACA-4467-98E5-532EC45D9D1C}" dt="2024-03-04T10:49:13.304" v="20842"/>
          <ac:spMkLst>
            <pc:docMk/>
            <pc:sldMk cId="558100583" sldId="939"/>
            <ac:spMk id="11" creationId="{1736B751-27DD-8526-9C16-4CB53A668A21}"/>
          </ac:spMkLst>
        </pc:spChg>
        <pc:spChg chg="add mod ord">
          <ac:chgData name="Nataliia Chornii (UA)" userId="4e4b8b3d-5f31-49bb-9f80-8a25c04abfff" providerId="ADAL" clId="{EE97D3FE-9ACA-4467-98E5-532EC45D9D1C}" dt="2024-03-04T10:49:13.304" v="20844"/>
          <ac:spMkLst>
            <pc:docMk/>
            <pc:sldMk cId="558100583" sldId="939"/>
            <ac:spMk id="12" creationId="{6657A6A7-AA52-6ECB-537C-148049F71322}"/>
          </ac:spMkLst>
        </pc:spChg>
        <pc:spChg chg="add mod ord">
          <ac:chgData name="Nataliia Chornii (UA)" userId="4e4b8b3d-5f31-49bb-9f80-8a25c04abfff" providerId="ADAL" clId="{EE97D3FE-9ACA-4467-98E5-532EC45D9D1C}" dt="2024-03-04T10:49:13.304" v="20846"/>
          <ac:spMkLst>
            <pc:docMk/>
            <pc:sldMk cId="558100583" sldId="939"/>
            <ac:spMk id="13" creationId="{E8ECD8CD-346E-E8A1-05C6-5A3EDEFEE438}"/>
          </ac:spMkLst>
        </pc:spChg>
        <pc:spChg chg="add mod ord">
          <ac:chgData name="Nataliia Chornii (UA)" userId="4e4b8b3d-5f31-49bb-9f80-8a25c04abfff" providerId="ADAL" clId="{EE97D3FE-9ACA-4467-98E5-532EC45D9D1C}" dt="2024-03-04T10:49:13.319" v="20848"/>
          <ac:spMkLst>
            <pc:docMk/>
            <pc:sldMk cId="558100583" sldId="939"/>
            <ac:spMk id="14" creationId="{67968481-ED46-EB04-41C6-22754AB5F1B4}"/>
          </ac:spMkLst>
        </pc:spChg>
        <pc:spChg chg="add mod ord">
          <ac:chgData name="Nataliia Chornii (UA)" userId="4e4b8b3d-5f31-49bb-9f80-8a25c04abfff" providerId="ADAL" clId="{EE97D3FE-9ACA-4467-98E5-532EC45D9D1C}" dt="2024-03-04T10:49:13.319" v="20850"/>
          <ac:spMkLst>
            <pc:docMk/>
            <pc:sldMk cId="558100583" sldId="939"/>
            <ac:spMk id="15" creationId="{B4D5CBC7-C789-0D39-2A29-F5471373EBF8}"/>
          </ac:spMkLst>
        </pc:spChg>
        <pc:spChg chg="mod ord">
          <ac:chgData name="Nataliia Chornii (UA)" userId="4e4b8b3d-5f31-49bb-9f80-8a25c04abfff" providerId="ADAL" clId="{EE97D3FE-9ACA-4467-98E5-532EC45D9D1C}" dt="2024-03-04T10:55:07.097" v="21040" actId="403"/>
          <ac:spMkLst>
            <pc:docMk/>
            <pc:sldMk cId="558100583" sldId="939"/>
            <ac:spMk id="16" creationId="{30819613-CE74-49B6-0807-44FDBB81D466}"/>
          </ac:spMkLst>
        </pc:spChg>
        <pc:spChg chg="add mod ord">
          <ac:chgData name="Nataliia Chornii (UA)" userId="4e4b8b3d-5f31-49bb-9f80-8a25c04abfff" providerId="ADAL" clId="{EE97D3FE-9ACA-4467-98E5-532EC45D9D1C}" dt="2024-03-04T10:49:13.319" v="20852"/>
          <ac:spMkLst>
            <pc:docMk/>
            <pc:sldMk cId="558100583" sldId="939"/>
            <ac:spMk id="17" creationId="{0E97A79C-D46F-89A9-5909-77B07A15BB5F}"/>
          </ac:spMkLst>
        </pc:spChg>
        <pc:spChg chg="mod ord">
          <ac:chgData name="Nataliia Chornii (UA)" userId="4e4b8b3d-5f31-49bb-9f80-8a25c04abfff" providerId="ADAL" clId="{EE97D3FE-9ACA-4467-98E5-532EC45D9D1C}" dt="2024-03-04T10:49:13.325" v="20870"/>
          <ac:spMkLst>
            <pc:docMk/>
            <pc:sldMk cId="558100583" sldId="939"/>
            <ac:spMk id="18" creationId="{E1D4AC8F-0322-E8A8-E509-5AF71473A8F4}"/>
          </ac:spMkLst>
        </pc:spChg>
        <pc:spChg chg="add mod ord">
          <ac:chgData name="Nataliia Chornii (UA)" userId="4e4b8b3d-5f31-49bb-9f80-8a25c04abfff" providerId="ADAL" clId="{EE97D3FE-9ACA-4467-98E5-532EC45D9D1C}" dt="2024-03-04T10:49:13.319" v="20854"/>
          <ac:spMkLst>
            <pc:docMk/>
            <pc:sldMk cId="558100583" sldId="939"/>
            <ac:spMk id="19" creationId="{025AFCB6-1E4F-767E-BB59-D69827B5EA75}"/>
          </ac:spMkLst>
        </pc:spChg>
        <pc:spChg chg="mod ord">
          <ac:chgData name="Nataliia Chornii (UA)" userId="4e4b8b3d-5f31-49bb-9f80-8a25c04abfff" providerId="ADAL" clId="{EE97D3FE-9ACA-4467-98E5-532EC45D9D1C}" dt="2024-03-11T15:03:54.087" v="25161" actId="20577"/>
          <ac:spMkLst>
            <pc:docMk/>
            <pc:sldMk cId="558100583" sldId="939"/>
            <ac:spMk id="20" creationId="{BCB0856A-D775-E9B2-A22B-A661D9F8D43C}"/>
          </ac:spMkLst>
        </pc:spChg>
        <pc:spChg chg="add del mod modVis">
          <ac:chgData name="Nataliia Chornii (UA)" userId="4e4b8b3d-5f31-49bb-9f80-8a25c04abfff" providerId="ADAL" clId="{EE97D3FE-9ACA-4467-98E5-532EC45D9D1C}" dt="2024-03-04T09:39:46.491" v="19210"/>
          <ac:spMkLst>
            <pc:docMk/>
            <pc:sldMk cId="558100583" sldId="939"/>
            <ac:spMk id="21" creationId="{63803D9E-B09E-89C8-F55E-4FBFFB752624}"/>
          </ac:spMkLst>
        </pc:spChg>
        <pc:spChg chg="mod ord">
          <ac:chgData name="Nataliia Chornii (UA)" userId="4e4b8b3d-5f31-49bb-9f80-8a25c04abfff" providerId="ADAL" clId="{EE97D3FE-9ACA-4467-98E5-532EC45D9D1C}" dt="2024-03-04T10:49:13.325" v="20874"/>
          <ac:spMkLst>
            <pc:docMk/>
            <pc:sldMk cId="558100583" sldId="939"/>
            <ac:spMk id="22" creationId="{044C1CE5-09D8-63ED-7E23-4A59A70CC41B}"/>
          </ac:spMkLst>
        </pc:spChg>
        <pc:spChg chg="add mod topLvl">
          <ac:chgData name="Nataliia Chornii (UA)" userId="4e4b8b3d-5f31-49bb-9f80-8a25c04abfff" providerId="ADAL" clId="{EE97D3FE-9ACA-4467-98E5-532EC45D9D1C}" dt="2024-03-11T15:03:32.247" v="25156" actId="165"/>
          <ac:spMkLst>
            <pc:docMk/>
            <pc:sldMk cId="558100583" sldId="939"/>
            <ac:spMk id="23" creationId="{C94987E4-3321-E634-AFBE-C194310190C1}"/>
          </ac:spMkLst>
        </pc:spChg>
        <pc:spChg chg="del mod ord">
          <ac:chgData name="Nataliia Chornii (UA)" userId="4e4b8b3d-5f31-49bb-9f80-8a25c04abfff" providerId="ADAL" clId="{EE97D3FE-9ACA-4467-98E5-532EC45D9D1C}" dt="2024-03-11T14:31:16.754" v="24285" actId="478"/>
          <ac:spMkLst>
            <pc:docMk/>
            <pc:sldMk cId="558100583" sldId="939"/>
            <ac:spMk id="23" creationId="{F0F92295-EBAE-39D7-7494-D9035179A285}"/>
          </ac:spMkLst>
        </pc:spChg>
        <pc:spChg chg="del">
          <ac:chgData name="Nataliia Chornii (UA)" userId="4e4b8b3d-5f31-49bb-9f80-8a25c04abfff" providerId="ADAL" clId="{EE97D3FE-9ACA-4467-98E5-532EC45D9D1C}" dt="2024-03-04T09:39:31.673" v="19139" actId="478"/>
          <ac:spMkLst>
            <pc:docMk/>
            <pc:sldMk cId="558100583" sldId="939"/>
            <ac:spMk id="24" creationId="{6291F660-4399-3100-7AA6-1A96F2BE2FA0}"/>
          </ac:spMkLst>
        </pc:spChg>
        <pc:spChg chg="mod">
          <ac:chgData name="Nataliia Chornii (UA)" userId="4e4b8b3d-5f31-49bb-9f80-8a25c04abfff" providerId="ADAL" clId="{EE97D3FE-9ACA-4467-98E5-532EC45D9D1C}" dt="2024-03-11T14:26:32.770" v="24099"/>
          <ac:spMkLst>
            <pc:docMk/>
            <pc:sldMk cId="558100583" sldId="939"/>
            <ac:spMk id="24" creationId="{FD5B5FC5-C629-FCD5-6835-4C4E49DAA221}"/>
          </ac:spMkLst>
        </pc:spChg>
        <pc:spChg chg="mod">
          <ac:chgData name="Nataliia Chornii (UA)" userId="4e4b8b3d-5f31-49bb-9f80-8a25c04abfff" providerId="ADAL" clId="{EE97D3FE-9ACA-4467-98E5-532EC45D9D1C}" dt="2024-03-11T14:26:32.770" v="24099"/>
          <ac:spMkLst>
            <pc:docMk/>
            <pc:sldMk cId="558100583" sldId="939"/>
            <ac:spMk id="25" creationId="{0D0AF705-8B53-C1F8-1694-3AE116016035}"/>
          </ac:spMkLst>
        </pc:spChg>
        <pc:spChg chg="del">
          <ac:chgData name="Nataliia Chornii (UA)" userId="4e4b8b3d-5f31-49bb-9f80-8a25c04abfff" providerId="ADAL" clId="{EE97D3FE-9ACA-4467-98E5-532EC45D9D1C}" dt="2024-03-04T09:39:29.207" v="19137" actId="478"/>
          <ac:spMkLst>
            <pc:docMk/>
            <pc:sldMk cId="558100583" sldId="939"/>
            <ac:spMk id="25" creationId="{5EF755D9-3B19-3121-7148-7B4F37248EA8}"/>
          </ac:spMkLst>
        </pc:spChg>
        <pc:spChg chg="del">
          <ac:chgData name="Nataliia Chornii (UA)" userId="4e4b8b3d-5f31-49bb-9f80-8a25c04abfff" providerId="ADAL" clId="{EE97D3FE-9ACA-4467-98E5-532EC45D9D1C}" dt="2024-03-04T09:39:28.368" v="19136" actId="478"/>
          <ac:spMkLst>
            <pc:docMk/>
            <pc:sldMk cId="558100583" sldId="939"/>
            <ac:spMk id="26" creationId="{D3B06146-D695-C0D1-DE10-612BD2266EB5}"/>
          </ac:spMkLst>
        </pc:spChg>
        <pc:spChg chg="mod">
          <ac:chgData name="Nataliia Chornii (UA)" userId="4e4b8b3d-5f31-49bb-9f80-8a25c04abfff" providerId="ADAL" clId="{EE97D3FE-9ACA-4467-98E5-532EC45D9D1C}" dt="2024-03-11T14:26:32.770" v="24099"/>
          <ac:spMkLst>
            <pc:docMk/>
            <pc:sldMk cId="558100583" sldId="939"/>
            <ac:spMk id="26" creationId="{E8488B98-9E1E-1F70-FB25-DB5F66574EA5}"/>
          </ac:spMkLst>
        </pc:spChg>
        <pc:spChg chg="mod">
          <ac:chgData name="Nataliia Chornii (UA)" userId="4e4b8b3d-5f31-49bb-9f80-8a25c04abfff" providerId="ADAL" clId="{EE97D3FE-9ACA-4467-98E5-532EC45D9D1C}" dt="2024-03-11T14:26:32.770" v="24099"/>
          <ac:spMkLst>
            <pc:docMk/>
            <pc:sldMk cId="558100583" sldId="939"/>
            <ac:spMk id="27" creationId="{3C448427-965B-B927-227D-28FF5B8BD346}"/>
          </ac:spMkLst>
        </pc:spChg>
        <pc:spChg chg="del">
          <ac:chgData name="Nataliia Chornii (UA)" userId="4e4b8b3d-5f31-49bb-9f80-8a25c04abfff" providerId="ADAL" clId="{EE97D3FE-9ACA-4467-98E5-532EC45D9D1C}" dt="2024-03-04T09:39:28.368" v="19136" actId="478"/>
          <ac:spMkLst>
            <pc:docMk/>
            <pc:sldMk cId="558100583" sldId="939"/>
            <ac:spMk id="27" creationId="{C67C067A-BA44-E473-03E2-74C4CDD50A4F}"/>
          </ac:spMkLst>
        </pc:spChg>
        <pc:spChg chg="mod">
          <ac:chgData name="Nataliia Chornii (UA)" userId="4e4b8b3d-5f31-49bb-9f80-8a25c04abfff" providerId="ADAL" clId="{EE97D3FE-9ACA-4467-98E5-532EC45D9D1C}" dt="2024-03-11T14:26:32.770" v="24099"/>
          <ac:spMkLst>
            <pc:docMk/>
            <pc:sldMk cId="558100583" sldId="939"/>
            <ac:spMk id="28" creationId="{550EF39B-5680-1AFF-3272-550A84BCF3F1}"/>
          </ac:spMkLst>
        </pc:spChg>
        <pc:spChg chg="del">
          <ac:chgData name="Nataliia Chornii (UA)" userId="4e4b8b3d-5f31-49bb-9f80-8a25c04abfff" providerId="ADAL" clId="{EE97D3FE-9ACA-4467-98E5-532EC45D9D1C}" dt="2024-03-04T09:39:28.368" v="19136" actId="478"/>
          <ac:spMkLst>
            <pc:docMk/>
            <pc:sldMk cId="558100583" sldId="939"/>
            <ac:spMk id="28" creationId="{E6632A91-C990-C64C-6F5B-FCB2451BD5A7}"/>
          </ac:spMkLst>
        </pc:spChg>
        <pc:spChg chg="mod">
          <ac:chgData name="Nataliia Chornii (UA)" userId="4e4b8b3d-5f31-49bb-9f80-8a25c04abfff" providerId="ADAL" clId="{EE97D3FE-9ACA-4467-98E5-532EC45D9D1C}" dt="2024-03-11T14:26:32.770" v="24099"/>
          <ac:spMkLst>
            <pc:docMk/>
            <pc:sldMk cId="558100583" sldId="939"/>
            <ac:spMk id="29" creationId="{2D3695D9-9167-E74C-F671-DF007D2C4AEB}"/>
          </ac:spMkLst>
        </pc:spChg>
        <pc:spChg chg="del">
          <ac:chgData name="Nataliia Chornii (UA)" userId="4e4b8b3d-5f31-49bb-9f80-8a25c04abfff" providerId="ADAL" clId="{EE97D3FE-9ACA-4467-98E5-532EC45D9D1C}" dt="2024-03-04T09:39:28.368" v="19136" actId="478"/>
          <ac:spMkLst>
            <pc:docMk/>
            <pc:sldMk cId="558100583" sldId="939"/>
            <ac:spMk id="29" creationId="{69C14E03-FCEC-D42E-5785-FE3FD67A2269}"/>
          </ac:spMkLst>
        </pc:spChg>
        <pc:spChg chg="add mod">
          <ac:chgData name="Nataliia Chornii (UA)" userId="4e4b8b3d-5f31-49bb-9f80-8a25c04abfff" providerId="ADAL" clId="{EE97D3FE-9ACA-4467-98E5-532EC45D9D1C}" dt="2024-03-11T14:31:25.022" v="24313" actId="14100"/>
          <ac:spMkLst>
            <pc:docMk/>
            <pc:sldMk cId="558100583" sldId="939"/>
            <ac:spMk id="30" creationId="{27823F89-4964-863D-A03A-9A8E94BFE0D8}"/>
          </ac:spMkLst>
        </pc:spChg>
        <pc:spChg chg="del">
          <ac:chgData name="Nataliia Chornii (UA)" userId="4e4b8b3d-5f31-49bb-9f80-8a25c04abfff" providerId="ADAL" clId="{EE97D3FE-9ACA-4467-98E5-532EC45D9D1C}" dt="2024-03-04T09:39:28.368" v="19136" actId="478"/>
          <ac:spMkLst>
            <pc:docMk/>
            <pc:sldMk cId="558100583" sldId="939"/>
            <ac:spMk id="30" creationId="{AD97BBB0-7D2A-0CBE-6249-FB26EF157720}"/>
          </ac:spMkLst>
        </pc:spChg>
        <pc:spChg chg="del">
          <ac:chgData name="Nataliia Chornii (UA)" userId="4e4b8b3d-5f31-49bb-9f80-8a25c04abfff" providerId="ADAL" clId="{EE97D3FE-9ACA-4467-98E5-532EC45D9D1C}" dt="2024-03-04T09:39:28.368" v="19136" actId="478"/>
          <ac:spMkLst>
            <pc:docMk/>
            <pc:sldMk cId="558100583" sldId="939"/>
            <ac:spMk id="31" creationId="{AE1F2CF7-12B2-2C61-02F4-8E90DCAB95C7}"/>
          </ac:spMkLst>
        </pc:spChg>
        <pc:spChg chg="add mod topLvl">
          <ac:chgData name="Nataliia Chornii (UA)" userId="4e4b8b3d-5f31-49bb-9f80-8a25c04abfff" providerId="ADAL" clId="{EE97D3FE-9ACA-4467-98E5-532EC45D9D1C}" dt="2024-03-11T15:05:58.976" v="25233" actId="552"/>
          <ac:spMkLst>
            <pc:docMk/>
            <pc:sldMk cId="558100583" sldId="939"/>
            <ac:spMk id="31" creationId="{BF893276-BB3C-9809-C4B8-56DD69C3B52F}"/>
          </ac:spMkLst>
        </pc:spChg>
        <pc:spChg chg="add del mod modVis">
          <ac:chgData name="Nataliia Chornii (UA)" userId="4e4b8b3d-5f31-49bb-9f80-8a25c04abfff" providerId="ADAL" clId="{EE97D3FE-9ACA-4467-98E5-532EC45D9D1C}" dt="2024-03-11T14:31:20.685" v="24310"/>
          <ac:spMkLst>
            <pc:docMk/>
            <pc:sldMk cId="558100583" sldId="939"/>
            <ac:spMk id="31" creationId="{C31982A7-BF56-D873-4B24-BC41D2004C0F}"/>
          </ac:spMkLst>
        </pc:spChg>
        <pc:spChg chg="del">
          <ac:chgData name="Nataliia Chornii (UA)" userId="4e4b8b3d-5f31-49bb-9f80-8a25c04abfff" providerId="ADAL" clId="{EE97D3FE-9ACA-4467-98E5-532EC45D9D1C}" dt="2024-03-04T09:39:28.368" v="19136" actId="478"/>
          <ac:spMkLst>
            <pc:docMk/>
            <pc:sldMk cId="558100583" sldId="939"/>
            <ac:spMk id="32" creationId="{AA14433E-3F38-54C2-3C19-F70FDD5BB4F8}"/>
          </ac:spMkLst>
        </pc:spChg>
        <pc:spChg chg="add del mod topLvl">
          <ac:chgData name="Nataliia Chornii (UA)" userId="4e4b8b3d-5f31-49bb-9f80-8a25c04abfff" providerId="ADAL" clId="{EE97D3FE-9ACA-4467-98E5-532EC45D9D1C}" dt="2024-03-11T15:03:41.690" v="25157" actId="478"/>
          <ac:spMkLst>
            <pc:docMk/>
            <pc:sldMk cId="558100583" sldId="939"/>
            <ac:spMk id="32" creationId="{D32A1C07-B12E-9795-D051-A6E52560534B}"/>
          </ac:spMkLst>
        </pc:spChg>
        <pc:spChg chg="add del mod topLvl">
          <ac:chgData name="Nataliia Chornii (UA)" userId="4e4b8b3d-5f31-49bb-9f80-8a25c04abfff" providerId="ADAL" clId="{EE97D3FE-9ACA-4467-98E5-532EC45D9D1C}" dt="2024-03-11T15:03:41.690" v="25157" actId="478"/>
          <ac:spMkLst>
            <pc:docMk/>
            <pc:sldMk cId="558100583" sldId="939"/>
            <ac:spMk id="33" creationId="{DC739BE3-A59D-A2B8-231B-C56FB7894350}"/>
          </ac:spMkLst>
        </pc:spChg>
        <pc:spChg chg="del">
          <ac:chgData name="Nataliia Chornii (UA)" userId="4e4b8b3d-5f31-49bb-9f80-8a25c04abfff" providerId="ADAL" clId="{EE97D3FE-9ACA-4467-98E5-532EC45D9D1C}" dt="2024-03-04T09:39:28.368" v="19136" actId="478"/>
          <ac:spMkLst>
            <pc:docMk/>
            <pc:sldMk cId="558100583" sldId="939"/>
            <ac:spMk id="33" creationId="{F92B9C6C-8C5B-AC82-5DDC-E8DB5ABA08D5}"/>
          </ac:spMkLst>
        </pc:spChg>
        <pc:spChg chg="add del mod topLvl">
          <ac:chgData name="Nataliia Chornii (UA)" userId="4e4b8b3d-5f31-49bb-9f80-8a25c04abfff" providerId="ADAL" clId="{EE97D3FE-9ACA-4467-98E5-532EC45D9D1C}" dt="2024-03-11T15:03:41.690" v="25157" actId="478"/>
          <ac:spMkLst>
            <pc:docMk/>
            <pc:sldMk cId="558100583" sldId="939"/>
            <ac:spMk id="34" creationId="{D6611F9E-D3C4-053C-D48E-DA42CD36308B}"/>
          </ac:spMkLst>
        </pc:spChg>
        <pc:spChg chg="del">
          <ac:chgData name="Nataliia Chornii (UA)" userId="4e4b8b3d-5f31-49bb-9f80-8a25c04abfff" providerId="ADAL" clId="{EE97D3FE-9ACA-4467-98E5-532EC45D9D1C}" dt="2024-03-04T09:39:30.092" v="19138" actId="478"/>
          <ac:spMkLst>
            <pc:docMk/>
            <pc:sldMk cId="558100583" sldId="939"/>
            <ac:spMk id="35" creationId="{4F177113-0781-5137-1CD7-3B2F5D62C022}"/>
          </ac:spMkLst>
        </pc:spChg>
        <pc:spChg chg="add del mod topLvl">
          <ac:chgData name="Nataliia Chornii (UA)" userId="4e4b8b3d-5f31-49bb-9f80-8a25c04abfff" providerId="ADAL" clId="{EE97D3FE-9ACA-4467-98E5-532EC45D9D1C}" dt="2024-03-11T15:03:41.690" v="25157" actId="478"/>
          <ac:spMkLst>
            <pc:docMk/>
            <pc:sldMk cId="558100583" sldId="939"/>
            <ac:spMk id="35" creationId="{91FF8844-B3EF-B00F-0D49-29B309D07F18}"/>
          </ac:spMkLst>
        </pc:spChg>
        <pc:spChg chg="mod ord">
          <ac:chgData name="Nataliia Chornii (UA)" userId="4e4b8b3d-5f31-49bb-9f80-8a25c04abfff" providerId="ADAL" clId="{EE97D3FE-9ACA-4467-98E5-532EC45D9D1C}" dt="2024-03-04T10:49:13.319" v="20856"/>
          <ac:spMkLst>
            <pc:docMk/>
            <pc:sldMk cId="558100583" sldId="939"/>
            <ac:spMk id="36" creationId="{A8F39C25-781C-A7DA-387A-D92FCABEE1F5}"/>
          </ac:spMkLst>
        </pc:spChg>
        <pc:spChg chg="mod ord">
          <ac:chgData name="Nataliia Chornii (UA)" userId="4e4b8b3d-5f31-49bb-9f80-8a25c04abfff" providerId="ADAL" clId="{EE97D3FE-9ACA-4467-98E5-532EC45D9D1C}" dt="2024-03-04T10:49:13.319" v="20858"/>
          <ac:spMkLst>
            <pc:docMk/>
            <pc:sldMk cId="558100583" sldId="939"/>
            <ac:spMk id="37" creationId="{BD11DB78-D65B-9D3C-EED7-1721F1C9BCF6}"/>
          </ac:spMkLst>
        </pc:spChg>
        <pc:spChg chg="mod ord">
          <ac:chgData name="Nataliia Chornii (UA)" userId="4e4b8b3d-5f31-49bb-9f80-8a25c04abfff" providerId="ADAL" clId="{EE97D3FE-9ACA-4467-98E5-532EC45D9D1C}" dt="2024-03-04T10:49:13.319" v="20860"/>
          <ac:spMkLst>
            <pc:docMk/>
            <pc:sldMk cId="558100583" sldId="939"/>
            <ac:spMk id="38" creationId="{7B1F3CCD-2DE1-C2A8-D340-EAF5B3993679}"/>
          </ac:spMkLst>
        </pc:spChg>
        <pc:spChg chg="mod ord">
          <ac:chgData name="Nataliia Chornii (UA)" userId="4e4b8b3d-5f31-49bb-9f80-8a25c04abfff" providerId="ADAL" clId="{EE97D3FE-9ACA-4467-98E5-532EC45D9D1C}" dt="2024-03-04T10:49:13.319" v="20862"/>
          <ac:spMkLst>
            <pc:docMk/>
            <pc:sldMk cId="558100583" sldId="939"/>
            <ac:spMk id="39" creationId="{DCB78F50-A328-CF00-9A1A-F2F677D9CB38}"/>
          </ac:spMkLst>
        </pc:spChg>
        <pc:spChg chg="add del mod topLvl">
          <ac:chgData name="Nataliia Chornii (UA)" userId="4e4b8b3d-5f31-49bb-9f80-8a25c04abfff" providerId="ADAL" clId="{EE97D3FE-9ACA-4467-98E5-532EC45D9D1C}" dt="2024-03-11T15:03:41.690" v="25157" actId="478"/>
          <ac:spMkLst>
            <pc:docMk/>
            <pc:sldMk cId="558100583" sldId="939"/>
            <ac:spMk id="40" creationId="{7FA574CA-986D-BD14-1205-A367716586AA}"/>
          </ac:spMkLst>
        </pc:spChg>
        <pc:spChg chg="add del mod">
          <ac:chgData name="Nataliia Chornii (UA)" userId="4e4b8b3d-5f31-49bb-9f80-8a25c04abfff" providerId="ADAL" clId="{EE97D3FE-9ACA-4467-98E5-532EC45D9D1C}" dt="2024-03-04T09:40:12.204" v="19275" actId="6264"/>
          <ac:spMkLst>
            <pc:docMk/>
            <pc:sldMk cId="558100583" sldId="939"/>
            <ac:spMk id="40" creationId="{8EEA851C-9283-C07A-1937-53A572F690DA}"/>
          </ac:spMkLst>
        </pc:spChg>
        <pc:spChg chg="add del mod">
          <ac:chgData name="Nataliia Chornii (UA)" userId="4e4b8b3d-5f31-49bb-9f80-8a25c04abfff" providerId="ADAL" clId="{EE97D3FE-9ACA-4467-98E5-532EC45D9D1C}" dt="2024-03-04T09:40:12.204" v="19275" actId="6264"/>
          <ac:spMkLst>
            <pc:docMk/>
            <pc:sldMk cId="558100583" sldId="939"/>
            <ac:spMk id="41" creationId="{B4B36E3C-F227-F66B-4022-64858E0E0435}"/>
          </ac:spMkLst>
        </pc:spChg>
        <pc:spChg chg="add mod topLvl">
          <ac:chgData name="Nataliia Chornii (UA)" userId="4e4b8b3d-5f31-49bb-9f80-8a25c04abfff" providerId="ADAL" clId="{EE97D3FE-9ACA-4467-98E5-532EC45D9D1C}" dt="2024-03-11T15:04:14.928" v="25171" actId="12789"/>
          <ac:spMkLst>
            <pc:docMk/>
            <pc:sldMk cId="558100583" sldId="939"/>
            <ac:spMk id="41" creationId="{D98DCC94-C3D2-F5CB-50E8-D61370EDE6DE}"/>
          </ac:spMkLst>
        </pc:spChg>
        <pc:spChg chg="add del mod ord">
          <ac:chgData name="Nataliia Chornii (UA)" userId="4e4b8b3d-5f31-49bb-9f80-8a25c04abfff" providerId="ADAL" clId="{EE97D3FE-9ACA-4467-98E5-532EC45D9D1C}" dt="2024-03-04T09:40:17.557" v="19302" actId="700"/>
          <ac:spMkLst>
            <pc:docMk/>
            <pc:sldMk cId="558100583" sldId="939"/>
            <ac:spMk id="42" creationId="{E6F8B575-6E58-4848-D9FE-E7335F9AC3BB}"/>
          </ac:spMkLst>
        </pc:spChg>
        <pc:spChg chg="add mod topLvl">
          <ac:chgData name="Nataliia Chornii (UA)" userId="4e4b8b3d-5f31-49bb-9f80-8a25c04abfff" providerId="ADAL" clId="{EE97D3FE-9ACA-4467-98E5-532EC45D9D1C}" dt="2024-03-11T15:03:32.247" v="25156" actId="165"/>
          <ac:spMkLst>
            <pc:docMk/>
            <pc:sldMk cId="558100583" sldId="939"/>
            <ac:spMk id="43" creationId="{4D89D5AF-881D-F866-45E6-0B625E68355A}"/>
          </ac:spMkLst>
        </pc:spChg>
        <pc:spChg chg="add del mod modVis">
          <ac:chgData name="Nataliia Chornii (UA)" userId="4e4b8b3d-5f31-49bb-9f80-8a25c04abfff" providerId="ADAL" clId="{EE97D3FE-9ACA-4467-98E5-532EC45D9D1C}" dt="2024-03-04T09:40:12.819" v="19299"/>
          <ac:spMkLst>
            <pc:docMk/>
            <pc:sldMk cId="558100583" sldId="939"/>
            <ac:spMk id="43" creationId="{95C0A294-9238-DE1D-9C09-CF314E113230}"/>
          </ac:spMkLst>
        </pc:spChg>
        <pc:spChg chg="add del mod topLvl">
          <ac:chgData name="Nataliia Chornii (UA)" userId="4e4b8b3d-5f31-49bb-9f80-8a25c04abfff" providerId="ADAL" clId="{EE97D3FE-9ACA-4467-98E5-532EC45D9D1C}" dt="2024-03-11T15:03:41.690" v="25157" actId="478"/>
          <ac:spMkLst>
            <pc:docMk/>
            <pc:sldMk cId="558100583" sldId="939"/>
            <ac:spMk id="44" creationId="{97C46DB3-DC6F-2787-E7F2-52DD948ADCB5}"/>
          </ac:spMkLst>
        </pc:spChg>
        <pc:spChg chg="add del mod ord">
          <ac:chgData name="Nataliia Chornii (UA)" userId="4e4b8b3d-5f31-49bb-9f80-8a25c04abfff" providerId="ADAL" clId="{EE97D3FE-9ACA-4467-98E5-532EC45D9D1C}" dt="2024-03-04T09:40:19.575" v="19329" actId="478"/>
          <ac:spMkLst>
            <pc:docMk/>
            <pc:sldMk cId="558100583" sldId="939"/>
            <ac:spMk id="44" creationId="{D4CCA92A-ADA1-0AAE-C350-503AE4ECAF4F}"/>
          </ac:spMkLst>
        </pc:spChg>
        <pc:spChg chg="add del mod topLvl">
          <ac:chgData name="Nataliia Chornii (UA)" userId="4e4b8b3d-5f31-49bb-9f80-8a25c04abfff" providerId="ADAL" clId="{EE97D3FE-9ACA-4467-98E5-532EC45D9D1C}" dt="2024-03-11T15:03:41.690" v="25157" actId="478"/>
          <ac:spMkLst>
            <pc:docMk/>
            <pc:sldMk cId="558100583" sldId="939"/>
            <ac:spMk id="45" creationId="{2F5AC030-513B-2253-646B-E912112CF010}"/>
          </ac:spMkLst>
        </pc:spChg>
        <pc:spChg chg="add del mod modVis">
          <ac:chgData name="Nataliia Chornii (UA)" userId="4e4b8b3d-5f31-49bb-9f80-8a25c04abfff" providerId="ADAL" clId="{EE97D3FE-9ACA-4467-98E5-532EC45D9D1C}" dt="2024-03-04T09:40:18.006" v="19326"/>
          <ac:spMkLst>
            <pc:docMk/>
            <pc:sldMk cId="558100583" sldId="939"/>
            <ac:spMk id="45" creationId="{7F5852FF-9F0E-78D6-DCA3-9B470D42F523}"/>
          </ac:spMkLst>
        </pc:spChg>
        <pc:spChg chg="add mod ord">
          <ac:chgData name="Nataliia Chornii (UA)" userId="4e4b8b3d-5f31-49bb-9f80-8a25c04abfff" providerId="ADAL" clId="{EE97D3FE-9ACA-4467-98E5-532EC45D9D1C}" dt="2024-03-04T10:50:06.063" v="20931" actId="554"/>
          <ac:spMkLst>
            <pc:docMk/>
            <pc:sldMk cId="558100583" sldId="939"/>
            <ac:spMk id="46" creationId="{87F6084C-15E9-620D-F93C-647D2A57DDF8}"/>
          </ac:spMkLst>
        </pc:spChg>
        <pc:spChg chg="add mod">
          <ac:chgData name="Nataliia Chornii (UA)" userId="4e4b8b3d-5f31-49bb-9f80-8a25c04abfff" providerId="ADAL" clId="{EE97D3FE-9ACA-4467-98E5-532EC45D9D1C}" dt="2024-03-04T10:49:57.427" v="20922"/>
          <ac:spMkLst>
            <pc:docMk/>
            <pc:sldMk cId="558100583" sldId="939"/>
            <ac:spMk id="48" creationId="{A14B16FD-A963-1B51-1AA7-73C281C4F5DC}"/>
          </ac:spMkLst>
        </pc:spChg>
        <pc:spChg chg="add mod">
          <ac:chgData name="Nataliia Chornii (UA)" userId="4e4b8b3d-5f31-49bb-9f80-8a25c04abfff" providerId="ADAL" clId="{EE97D3FE-9ACA-4467-98E5-532EC45D9D1C}" dt="2024-03-04T10:49:57.427" v="20922"/>
          <ac:spMkLst>
            <pc:docMk/>
            <pc:sldMk cId="558100583" sldId="939"/>
            <ac:spMk id="49" creationId="{5F3E4100-6593-2F06-F209-B338E64778F5}"/>
          </ac:spMkLst>
        </pc:spChg>
        <pc:spChg chg="add del mod topLvl">
          <ac:chgData name="Nataliia Chornii (UA)" userId="4e4b8b3d-5f31-49bb-9f80-8a25c04abfff" providerId="ADAL" clId="{EE97D3FE-9ACA-4467-98E5-532EC45D9D1C}" dt="2024-03-11T15:03:41.690" v="25157" actId="478"/>
          <ac:spMkLst>
            <pc:docMk/>
            <pc:sldMk cId="558100583" sldId="939"/>
            <ac:spMk id="51" creationId="{884C45C5-440F-8C34-8817-36FB22EB6DFD}"/>
          </ac:spMkLst>
        </pc:spChg>
        <pc:spChg chg="add del mod modVis">
          <ac:chgData name="Nataliia Chornii (UA)" userId="4e4b8b3d-5f31-49bb-9f80-8a25c04abfff" providerId="ADAL" clId="{EE97D3FE-9ACA-4467-98E5-532EC45D9D1C}" dt="2024-03-04T10:49:13.036" v="20827"/>
          <ac:spMkLst>
            <pc:docMk/>
            <pc:sldMk cId="558100583" sldId="939"/>
            <ac:spMk id="51" creationId="{C0A1C217-C15B-2100-1F9F-423F0192B284}"/>
          </ac:spMkLst>
        </pc:spChg>
        <pc:spChg chg="add del mod topLvl">
          <ac:chgData name="Nataliia Chornii (UA)" userId="4e4b8b3d-5f31-49bb-9f80-8a25c04abfff" providerId="ADAL" clId="{EE97D3FE-9ACA-4467-98E5-532EC45D9D1C}" dt="2024-03-11T15:03:41.690" v="25157" actId="478"/>
          <ac:spMkLst>
            <pc:docMk/>
            <pc:sldMk cId="558100583" sldId="939"/>
            <ac:spMk id="53" creationId="{057D0806-277C-E4C1-57C7-471E1649F07D}"/>
          </ac:spMkLst>
        </pc:spChg>
        <pc:spChg chg="add del mod topLvl">
          <ac:chgData name="Nataliia Chornii (UA)" userId="4e4b8b3d-5f31-49bb-9f80-8a25c04abfff" providerId="ADAL" clId="{EE97D3FE-9ACA-4467-98E5-532EC45D9D1C}" dt="2024-03-11T15:03:41.690" v="25157" actId="478"/>
          <ac:spMkLst>
            <pc:docMk/>
            <pc:sldMk cId="558100583" sldId="939"/>
            <ac:spMk id="54" creationId="{A6B474C9-8AA7-D795-4727-BE36A143A731}"/>
          </ac:spMkLst>
        </pc:spChg>
        <pc:spChg chg="mod">
          <ac:chgData name="Nataliia Chornii (UA)" userId="4e4b8b3d-5f31-49bb-9f80-8a25c04abfff" providerId="ADAL" clId="{EE97D3FE-9ACA-4467-98E5-532EC45D9D1C}" dt="2024-03-04T10:49:44.089" v="20897"/>
          <ac:spMkLst>
            <pc:docMk/>
            <pc:sldMk cId="558100583" sldId="939"/>
            <ac:spMk id="54" creationId="{D6D3130A-FF5E-952A-B103-8C7901315F26}"/>
          </ac:spMkLst>
        </pc:spChg>
        <pc:spChg chg="add mod topLvl">
          <ac:chgData name="Nataliia Chornii (UA)" userId="4e4b8b3d-5f31-49bb-9f80-8a25c04abfff" providerId="ADAL" clId="{EE97D3FE-9ACA-4467-98E5-532EC45D9D1C}" dt="2024-03-11T15:03:50.141" v="25160" actId="1076"/>
          <ac:spMkLst>
            <pc:docMk/>
            <pc:sldMk cId="558100583" sldId="939"/>
            <ac:spMk id="55" creationId="{0F96A860-3CA2-C106-0010-C8659C25EF10}"/>
          </ac:spMkLst>
        </pc:spChg>
        <pc:spChg chg="mod">
          <ac:chgData name="Nataliia Chornii (UA)" userId="4e4b8b3d-5f31-49bb-9f80-8a25c04abfff" providerId="ADAL" clId="{EE97D3FE-9ACA-4467-98E5-532EC45D9D1C}" dt="2024-03-04T10:49:44.089" v="20897"/>
          <ac:spMkLst>
            <pc:docMk/>
            <pc:sldMk cId="558100583" sldId="939"/>
            <ac:spMk id="55" creationId="{A6A62050-16AA-72B4-CBFD-D4C755A7DF88}"/>
          </ac:spMkLst>
        </pc:spChg>
        <pc:spChg chg="add mod topLvl">
          <ac:chgData name="Nataliia Chornii (UA)" userId="4e4b8b3d-5f31-49bb-9f80-8a25c04abfff" providerId="ADAL" clId="{EE97D3FE-9ACA-4467-98E5-532EC45D9D1C}" dt="2024-03-11T15:03:32.247" v="25156" actId="165"/>
          <ac:spMkLst>
            <pc:docMk/>
            <pc:sldMk cId="558100583" sldId="939"/>
            <ac:spMk id="56" creationId="{1340AA0A-2A02-1D11-606F-F7CCFB7BBF13}"/>
          </ac:spMkLst>
        </pc:spChg>
        <pc:spChg chg="mod">
          <ac:chgData name="Nataliia Chornii (UA)" userId="4e4b8b3d-5f31-49bb-9f80-8a25c04abfff" providerId="ADAL" clId="{EE97D3FE-9ACA-4467-98E5-532EC45D9D1C}" dt="2024-03-04T10:49:44.089" v="20897"/>
          <ac:spMkLst>
            <pc:docMk/>
            <pc:sldMk cId="558100583" sldId="939"/>
            <ac:spMk id="57" creationId="{3F6387C8-F2B2-9C59-F94F-268C74C306F0}"/>
          </ac:spMkLst>
        </pc:spChg>
        <pc:spChg chg="add mod topLvl">
          <ac:chgData name="Nataliia Chornii (UA)" userId="4e4b8b3d-5f31-49bb-9f80-8a25c04abfff" providerId="ADAL" clId="{EE97D3FE-9ACA-4467-98E5-532EC45D9D1C}" dt="2024-03-11T15:03:32.247" v="25156" actId="165"/>
          <ac:spMkLst>
            <pc:docMk/>
            <pc:sldMk cId="558100583" sldId="939"/>
            <ac:spMk id="57" creationId="{5BDDD447-6115-2875-EB4D-441F8C7174F3}"/>
          </ac:spMkLst>
        </pc:spChg>
        <pc:spChg chg="mod">
          <ac:chgData name="Nataliia Chornii (UA)" userId="4e4b8b3d-5f31-49bb-9f80-8a25c04abfff" providerId="ADAL" clId="{EE97D3FE-9ACA-4467-98E5-532EC45D9D1C}" dt="2024-03-04T10:49:44.089" v="20897"/>
          <ac:spMkLst>
            <pc:docMk/>
            <pc:sldMk cId="558100583" sldId="939"/>
            <ac:spMk id="58" creationId="{C1048DA1-5D61-0A37-1771-A9816AD702AB}"/>
          </ac:spMkLst>
        </pc:spChg>
        <pc:spChg chg="mod">
          <ac:chgData name="Nataliia Chornii (UA)" userId="4e4b8b3d-5f31-49bb-9f80-8a25c04abfff" providerId="ADAL" clId="{EE97D3FE-9ACA-4467-98E5-532EC45D9D1C}" dt="2024-03-04T10:49:44.089" v="20897"/>
          <ac:spMkLst>
            <pc:docMk/>
            <pc:sldMk cId="558100583" sldId="939"/>
            <ac:spMk id="59" creationId="{18F4D1C8-5121-13FE-CBB0-390F0F74FBFF}"/>
          </ac:spMkLst>
        </pc:spChg>
        <pc:spChg chg="add mod">
          <ac:chgData name="Nataliia Chornii (UA)" userId="4e4b8b3d-5f31-49bb-9f80-8a25c04abfff" providerId="ADAL" clId="{EE97D3FE-9ACA-4467-98E5-532EC45D9D1C}" dt="2024-03-04T10:54:39.874" v="21031" actId="1036"/>
          <ac:spMkLst>
            <pc:docMk/>
            <pc:sldMk cId="558100583" sldId="939"/>
            <ac:spMk id="60" creationId="{B2E30242-9244-A35E-C96C-EC7D96C868CC}"/>
          </ac:spMkLst>
        </pc:spChg>
        <pc:spChg chg="add mod">
          <ac:chgData name="Nataliia Chornii (UA)" userId="4e4b8b3d-5f31-49bb-9f80-8a25c04abfff" providerId="ADAL" clId="{EE97D3FE-9ACA-4467-98E5-532EC45D9D1C}" dt="2024-03-11T15:04:37.540" v="25211" actId="3064"/>
          <ac:spMkLst>
            <pc:docMk/>
            <pc:sldMk cId="558100583" sldId="939"/>
            <ac:spMk id="63" creationId="{20097FC8-71D3-3D2F-7B37-E72E308B2886}"/>
          </ac:spMkLst>
        </pc:spChg>
        <pc:spChg chg="add mod">
          <ac:chgData name="Nataliia Chornii (UA)" userId="4e4b8b3d-5f31-49bb-9f80-8a25c04abfff" providerId="ADAL" clId="{EE97D3FE-9ACA-4467-98E5-532EC45D9D1C}" dt="2024-03-11T15:04:51.046" v="25225" actId="12789"/>
          <ac:spMkLst>
            <pc:docMk/>
            <pc:sldMk cId="558100583" sldId="939"/>
            <ac:spMk id="64" creationId="{A09DB7FB-D3C4-A491-7629-EB3704B6FBE2}"/>
          </ac:spMkLst>
        </pc:spChg>
        <pc:spChg chg="add mod">
          <ac:chgData name="Nataliia Chornii (UA)" userId="4e4b8b3d-5f31-49bb-9f80-8a25c04abfff" providerId="ADAL" clId="{EE97D3FE-9ACA-4467-98E5-532EC45D9D1C}" dt="2024-03-11T15:04:48.488" v="25223" actId="553"/>
          <ac:spMkLst>
            <pc:docMk/>
            <pc:sldMk cId="558100583" sldId="939"/>
            <ac:spMk id="65" creationId="{293C68F3-9D28-7611-BCD6-FEA45BDD8E56}"/>
          </ac:spMkLst>
        </pc:spChg>
        <pc:spChg chg="add del mod modVis">
          <ac:chgData name="Nataliia Chornii (UA)" userId="4e4b8b3d-5f31-49bb-9f80-8a25c04abfff" providerId="ADAL" clId="{EE97D3FE-9ACA-4467-98E5-532EC45D9D1C}" dt="2024-03-11T15:04:26.981" v="25205"/>
          <ac:spMkLst>
            <pc:docMk/>
            <pc:sldMk cId="558100583" sldId="939"/>
            <ac:spMk id="66" creationId="{D9E8FAA2-0BA0-CD3B-5D3F-D32D6B6C0B61}"/>
          </ac:spMkLst>
        </pc:spChg>
        <pc:spChg chg="mod">
          <ac:chgData name="Nataliia Chornii (UA)" userId="4e4b8b3d-5f31-49bb-9f80-8a25c04abfff" providerId="ADAL" clId="{EE97D3FE-9ACA-4467-98E5-532EC45D9D1C}" dt="2024-03-11T15:05:54.092" v="25232"/>
          <ac:spMkLst>
            <pc:docMk/>
            <pc:sldMk cId="558100583" sldId="939"/>
            <ac:spMk id="68" creationId="{3FC3DFEC-7913-57FA-473F-5E10D73B221A}"/>
          </ac:spMkLst>
        </pc:spChg>
        <pc:spChg chg="mod">
          <ac:chgData name="Nataliia Chornii (UA)" userId="4e4b8b3d-5f31-49bb-9f80-8a25c04abfff" providerId="ADAL" clId="{EE97D3FE-9ACA-4467-98E5-532EC45D9D1C}" dt="2024-03-11T15:05:54.092" v="25232"/>
          <ac:spMkLst>
            <pc:docMk/>
            <pc:sldMk cId="558100583" sldId="939"/>
            <ac:spMk id="69" creationId="{56250352-A6B0-1665-8123-8FF818125291}"/>
          </ac:spMkLst>
        </pc:spChg>
        <pc:spChg chg="mod">
          <ac:chgData name="Nataliia Chornii (UA)" userId="4e4b8b3d-5f31-49bb-9f80-8a25c04abfff" providerId="ADAL" clId="{EE97D3FE-9ACA-4467-98E5-532EC45D9D1C}" dt="2024-03-11T15:05:54.092" v="25232"/>
          <ac:spMkLst>
            <pc:docMk/>
            <pc:sldMk cId="558100583" sldId="939"/>
            <ac:spMk id="70" creationId="{A70FD735-016E-3535-CEBA-5AA881B9381B}"/>
          </ac:spMkLst>
        </pc:spChg>
        <pc:spChg chg="mod">
          <ac:chgData name="Nataliia Chornii (UA)" userId="4e4b8b3d-5f31-49bb-9f80-8a25c04abfff" providerId="ADAL" clId="{EE97D3FE-9ACA-4467-98E5-532EC45D9D1C}" dt="2024-03-11T15:05:54.092" v="25232"/>
          <ac:spMkLst>
            <pc:docMk/>
            <pc:sldMk cId="558100583" sldId="939"/>
            <ac:spMk id="71" creationId="{2F888E77-4051-39A2-151F-6325F4C67833}"/>
          </ac:spMkLst>
        </pc:spChg>
        <pc:spChg chg="mod">
          <ac:chgData name="Nataliia Chornii (UA)" userId="4e4b8b3d-5f31-49bb-9f80-8a25c04abfff" providerId="ADAL" clId="{EE97D3FE-9ACA-4467-98E5-532EC45D9D1C}" dt="2024-03-11T15:05:54.092" v="25232"/>
          <ac:spMkLst>
            <pc:docMk/>
            <pc:sldMk cId="558100583" sldId="939"/>
            <ac:spMk id="72" creationId="{D4D7BDE5-A7FE-E5A1-D115-8C9312B07009}"/>
          </ac:spMkLst>
        </pc:spChg>
        <pc:spChg chg="mod">
          <ac:chgData name="Nataliia Chornii (UA)" userId="4e4b8b3d-5f31-49bb-9f80-8a25c04abfff" providerId="ADAL" clId="{EE97D3FE-9ACA-4467-98E5-532EC45D9D1C}" dt="2024-03-11T15:05:54.092" v="25232"/>
          <ac:spMkLst>
            <pc:docMk/>
            <pc:sldMk cId="558100583" sldId="939"/>
            <ac:spMk id="73" creationId="{418A9233-C555-138D-2FFF-823B07A6C860}"/>
          </ac:spMkLst>
        </pc:spChg>
        <pc:spChg chg="mod">
          <ac:chgData name="Nataliia Chornii (UA)" userId="4e4b8b3d-5f31-49bb-9f80-8a25c04abfff" providerId="ADAL" clId="{EE97D3FE-9ACA-4467-98E5-532EC45D9D1C}" dt="2024-03-11T15:05:54.092" v="25232"/>
          <ac:spMkLst>
            <pc:docMk/>
            <pc:sldMk cId="558100583" sldId="939"/>
            <ac:spMk id="75" creationId="{A59B948C-C4CA-1780-15D9-C163B52B1891}"/>
          </ac:spMkLst>
        </pc:spChg>
        <pc:spChg chg="mod">
          <ac:chgData name="Nataliia Chornii (UA)" userId="4e4b8b3d-5f31-49bb-9f80-8a25c04abfff" providerId="ADAL" clId="{EE97D3FE-9ACA-4467-98E5-532EC45D9D1C}" dt="2024-03-11T15:05:54.092" v="25232"/>
          <ac:spMkLst>
            <pc:docMk/>
            <pc:sldMk cId="558100583" sldId="939"/>
            <ac:spMk id="76" creationId="{04A84B1F-66D4-472F-68AA-847FE29F9206}"/>
          </ac:spMkLst>
        </pc:spChg>
        <pc:spChg chg="mod">
          <ac:chgData name="Nataliia Chornii (UA)" userId="4e4b8b3d-5f31-49bb-9f80-8a25c04abfff" providerId="ADAL" clId="{EE97D3FE-9ACA-4467-98E5-532EC45D9D1C}" dt="2024-03-11T15:05:54.092" v="25232"/>
          <ac:spMkLst>
            <pc:docMk/>
            <pc:sldMk cId="558100583" sldId="939"/>
            <ac:spMk id="77" creationId="{09F11405-AF2D-FD06-0105-9649814FDB66}"/>
          </ac:spMkLst>
        </pc:spChg>
        <pc:spChg chg="mod">
          <ac:chgData name="Nataliia Chornii (UA)" userId="4e4b8b3d-5f31-49bb-9f80-8a25c04abfff" providerId="ADAL" clId="{EE97D3FE-9ACA-4467-98E5-532EC45D9D1C}" dt="2024-03-11T15:05:54.092" v="25232"/>
          <ac:spMkLst>
            <pc:docMk/>
            <pc:sldMk cId="558100583" sldId="939"/>
            <ac:spMk id="78" creationId="{5393BB64-D906-54AB-C549-805A837A0285}"/>
          </ac:spMkLst>
        </pc:spChg>
        <pc:spChg chg="mod">
          <ac:chgData name="Nataliia Chornii (UA)" userId="4e4b8b3d-5f31-49bb-9f80-8a25c04abfff" providerId="ADAL" clId="{EE97D3FE-9ACA-4467-98E5-532EC45D9D1C}" dt="2024-03-11T15:05:54.092" v="25232"/>
          <ac:spMkLst>
            <pc:docMk/>
            <pc:sldMk cId="558100583" sldId="939"/>
            <ac:spMk id="79" creationId="{B10DE817-007A-90C4-B2C8-2841661D467E}"/>
          </ac:spMkLst>
        </pc:spChg>
        <pc:spChg chg="mod">
          <ac:chgData name="Nataliia Chornii (UA)" userId="4e4b8b3d-5f31-49bb-9f80-8a25c04abfff" providerId="ADAL" clId="{EE97D3FE-9ACA-4467-98E5-532EC45D9D1C}" dt="2024-03-11T15:05:54.092" v="25232"/>
          <ac:spMkLst>
            <pc:docMk/>
            <pc:sldMk cId="558100583" sldId="939"/>
            <ac:spMk id="80" creationId="{40996D69-2D4C-8DAF-9950-6BFDFDF81FDF}"/>
          </ac:spMkLst>
        </pc:spChg>
        <pc:spChg chg="mod">
          <ac:chgData name="Nataliia Chornii (UA)" userId="4e4b8b3d-5f31-49bb-9f80-8a25c04abfff" providerId="ADAL" clId="{EE97D3FE-9ACA-4467-98E5-532EC45D9D1C}" dt="2024-03-11T15:05:54.092" v="25232"/>
          <ac:spMkLst>
            <pc:docMk/>
            <pc:sldMk cId="558100583" sldId="939"/>
            <ac:spMk id="81" creationId="{47C53B14-D55D-38E2-E3F0-D9A3FD8F0EE2}"/>
          </ac:spMkLst>
        </pc:spChg>
        <pc:grpChg chg="add mod">
          <ac:chgData name="Nataliia Chornii (UA)" userId="4e4b8b3d-5f31-49bb-9f80-8a25c04abfff" providerId="ADAL" clId="{EE97D3FE-9ACA-4467-98E5-532EC45D9D1C}" dt="2024-03-11T14:26:32.770" v="24099"/>
          <ac:grpSpMkLst>
            <pc:docMk/>
            <pc:sldMk cId="558100583" sldId="939"/>
            <ac:grpSpMk id="21" creationId="{EC58A2CF-A26E-B828-6C32-A58A4D256527}"/>
          </ac:grpSpMkLst>
        </pc:grpChg>
        <pc:grpChg chg="add mod ord">
          <ac:chgData name="Nataliia Chornii (UA)" userId="4e4b8b3d-5f31-49bb-9f80-8a25c04abfff" providerId="ADAL" clId="{EE97D3FE-9ACA-4467-98E5-532EC45D9D1C}" dt="2024-03-04T10:49:57.427" v="20922"/>
          <ac:grpSpMkLst>
            <pc:docMk/>
            <pc:sldMk cId="558100583" sldId="939"/>
            <ac:grpSpMk id="50" creationId="{70A03FDA-CAA9-19A0-4D89-3676785B3619}"/>
          </ac:grpSpMkLst>
        </pc:grpChg>
        <pc:grpChg chg="add mod">
          <ac:chgData name="Nataliia Chornii (UA)" userId="4e4b8b3d-5f31-49bb-9f80-8a25c04abfff" providerId="ADAL" clId="{EE97D3FE-9ACA-4467-98E5-532EC45D9D1C}" dt="2024-03-04T10:50:15.084" v="20935" actId="555"/>
          <ac:grpSpMkLst>
            <pc:docMk/>
            <pc:sldMk cId="558100583" sldId="939"/>
            <ac:grpSpMk id="52" creationId="{A70FDED7-6947-DEF1-A08A-FBC967B40259}"/>
          </ac:grpSpMkLst>
        </pc:grpChg>
        <pc:grpChg chg="add del mod">
          <ac:chgData name="Nataliia Chornii (UA)" userId="4e4b8b3d-5f31-49bb-9f80-8a25c04abfff" providerId="ADAL" clId="{EE97D3FE-9ACA-4467-98E5-532EC45D9D1C}" dt="2024-03-04T10:50:08.630" v="20932" actId="478"/>
          <ac:grpSpMkLst>
            <pc:docMk/>
            <pc:sldMk cId="558100583" sldId="939"/>
            <ac:grpSpMk id="53" creationId="{ED2C2F1D-5524-4078-74B6-AFB50B8BD678}"/>
          </ac:grpSpMkLst>
        </pc:grpChg>
        <pc:grpChg chg="add del mod">
          <ac:chgData name="Nataliia Chornii (UA)" userId="4e4b8b3d-5f31-49bb-9f80-8a25c04abfff" providerId="ADAL" clId="{EE97D3FE-9ACA-4467-98E5-532EC45D9D1C}" dt="2024-03-04T10:50:18.826" v="20937" actId="478"/>
          <ac:grpSpMkLst>
            <pc:docMk/>
            <pc:sldMk cId="558100583" sldId="939"/>
            <ac:grpSpMk id="56" creationId="{E5E2E384-4C53-17FA-1BA0-8C452085241B}"/>
          </ac:grpSpMkLst>
        </pc:grpChg>
        <pc:grpChg chg="add del mod">
          <ac:chgData name="Nataliia Chornii (UA)" userId="4e4b8b3d-5f31-49bb-9f80-8a25c04abfff" providerId="ADAL" clId="{EE97D3FE-9ACA-4467-98E5-532EC45D9D1C}" dt="2024-03-11T15:03:32.247" v="25156" actId="165"/>
          <ac:grpSpMkLst>
            <pc:docMk/>
            <pc:sldMk cId="558100583" sldId="939"/>
            <ac:grpSpMk id="58" creationId="{18302903-4C1A-3250-A07C-BA1B5DC13AD3}"/>
          </ac:grpSpMkLst>
        </pc:grpChg>
        <pc:grpChg chg="add del mod">
          <ac:chgData name="Nataliia Chornii (UA)" userId="4e4b8b3d-5f31-49bb-9f80-8a25c04abfff" providerId="ADAL" clId="{EE97D3FE-9ACA-4467-98E5-532EC45D9D1C}" dt="2024-03-11T15:06:01.518" v="25234" actId="478"/>
          <ac:grpSpMkLst>
            <pc:docMk/>
            <pc:sldMk cId="558100583" sldId="939"/>
            <ac:grpSpMk id="67" creationId="{5D4C42EE-C64D-A108-6E82-D8BBC6E9E4FF}"/>
          </ac:grpSpMkLst>
        </pc:grpChg>
        <pc:graphicFrameChg chg="mod">
          <ac:chgData name="Nataliia Chornii (UA)" userId="4e4b8b3d-5f31-49bb-9f80-8a25c04abfff" providerId="ADAL" clId="{EE97D3FE-9ACA-4467-98E5-532EC45D9D1C}" dt="2024-03-11T15:04:47.599" v="25222"/>
          <ac:graphicFrameMkLst>
            <pc:docMk/>
            <pc:sldMk cId="558100583" sldId="939"/>
            <ac:graphicFrameMk id="9" creationId="{D9E6BB6A-4571-FBF8-9A7D-06ADE4374D4D}"/>
          </ac:graphicFrameMkLst>
        </pc:graphicFrameChg>
        <pc:picChg chg="add mod ord">
          <ac:chgData name="Nataliia Chornii (UA)" userId="4e4b8b3d-5f31-49bb-9f80-8a25c04abfff" providerId="ADAL" clId="{EE97D3FE-9ACA-4467-98E5-532EC45D9D1C}" dt="2024-03-04T10:50:37.694" v="20940" actId="208"/>
          <ac:picMkLst>
            <pc:docMk/>
            <pc:sldMk cId="558100583" sldId="939"/>
            <ac:picMk id="47" creationId="{AFA8DF43-8FA7-BDF8-F2FB-F3B0054DF797}"/>
          </ac:picMkLst>
        </pc:picChg>
        <pc:cxnChg chg="add mod topLvl">
          <ac:chgData name="Nataliia Chornii (UA)" userId="4e4b8b3d-5f31-49bb-9f80-8a25c04abfff" providerId="ADAL" clId="{EE97D3FE-9ACA-4467-98E5-532EC45D9D1C}" dt="2024-03-11T15:03:50.141" v="25160" actId="1076"/>
          <ac:cxnSpMkLst>
            <pc:docMk/>
            <pc:sldMk cId="558100583" sldId="939"/>
            <ac:cxnSpMk id="42" creationId="{965015A4-110C-E1BF-85B6-5CDC058B8A9F}"/>
          </ac:cxnSpMkLst>
        </pc:cxnChg>
        <pc:cxnChg chg="mod">
          <ac:chgData name="Nataliia Chornii (UA)" userId="4e4b8b3d-5f31-49bb-9f80-8a25c04abfff" providerId="ADAL" clId="{EE97D3FE-9ACA-4467-98E5-532EC45D9D1C}" dt="2024-03-11T15:06:01.518" v="25234" actId="478"/>
          <ac:cxnSpMkLst>
            <pc:docMk/>
            <pc:sldMk cId="558100583" sldId="939"/>
            <ac:cxnSpMk id="74" creationId="{25B3F6D5-282C-358C-D2B0-D6257024D1C3}"/>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3:16.020" v="22448"/>
              <pc2:cmMkLst xmlns:pc2="http://schemas.microsoft.com/office/powerpoint/2019/9/main/command">
                <pc:docMk/>
                <pc:sldMk cId="558100583" sldId="939"/>
                <pc2:cmMk id="{B1F41855-E807-4805-BAAB-9374EF31217B}"/>
              </pc2:cmMkLst>
            </pc226:cmChg>
            <pc226:cmChg xmlns:pc226="http://schemas.microsoft.com/office/powerpoint/2022/06/main/command" chg="mod">
              <pc226:chgData name="Nataliia Chornii (UA)" userId="4e4b8b3d-5f31-49bb-9f80-8a25c04abfff" providerId="ADAL" clId="{EE97D3FE-9ACA-4467-98E5-532EC45D9D1C}" dt="2024-03-04T12:43:13.244" v="22447"/>
              <pc2:cmMkLst xmlns:pc2="http://schemas.microsoft.com/office/powerpoint/2019/9/main/command">
                <pc:docMk/>
                <pc:sldMk cId="558100583" sldId="939"/>
                <pc2:cmMk id="{A570185F-E994-4EC6-A68A-E2C36FB87FD5}"/>
              </pc2:cmMkLst>
            </pc226:cmChg>
            <pc226:cmChg xmlns:pc226="http://schemas.microsoft.com/office/powerpoint/2022/06/main/command" chg="mod">
              <pc226:chgData name="Nataliia Chornii (UA)" userId="4e4b8b3d-5f31-49bb-9f80-8a25c04abfff" providerId="ADAL" clId="{EE97D3FE-9ACA-4467-98E5-532EC45D9D1C}" dt="2024-03-04T12:43:08.377" v="22445"/>
              <pc2:cmMkLst xmlns:pc2="http://schemas.microsoft.com/office/powerpoint/2019/9/main/command">
                <pc:docMk/>
                <pc:sldMk cId="558100583" sldId="939"/>
                <pc2:cmMk id="{D899416F-60CC-4A08-8640-9B29D319EBA4}"/>
              </pc2:cmMkLst>
            </pc226:cmChg>
            <pc226:cmChg xmlns:pc226="http://schemas.microsoft.com/office/powerpoint/2022/06/main/command" chg="mod">
              <pc226:chgData name="Nataliia Chornii (UA)" userId="4e4b8b3d-5f31-49bb-9f80-8a25c04abfff" providerId="ADAL" clId="{EE97D3FE-9ACA-4467-98E5-532EC45D9D1C}" dt="2024-03-04T12:43:10.444" v="22446"/>
              <pc2:cmMkLst xmlns:pc2="http://schemas.microsoft.com/office/powerpoint/2019/9/main/command">
                <pc:docMk/>
                <pc:sldMk cId="558100583" sldId="939"/>
                <pc2:cmMk id="{8E8DDBDA-6933-4C90-9A00-EDFEF31D1A4E}"/>
              </pc2:cmMkLst>
            </pc226:cmChg>
          </p:ext>
        </pc:extLst>
      </pc:sldChg>
      <pc:sldChg chg="addSp delSp modSp mod modCm">
        <pc:chgData name="Nataliia Chornii (UA)" userId="4e4b8b3d-5f31-49bb-9f80-8a25c04abfff" providerId="ADAL" clId="{EE97D3FE-9ACA-4467-98E5-532EC45D9D1C}" dt="2024-03-11T15:08:51.900" v="25292" actId="12789"/>
        <pc:sldMkLst>
          <pc:docMk/>
          <pc:sldMk cId="2169785454" sldId="940"/>
        </pc:sldMkLst>
        <pc:spChg chg="add mod">
          <ac:chgData name="Nataliia Chornii (UA)" userId="4e4b8b3d-5f31-49bb-9f80-8a25c04abfff" providerId="ADAL" clId="{EE97D3FE-9ACA-4467-98E5-532EC45D9D1C}" dt="2024-03-11T14:26:34.588" v="24100"/>
          <ac:spMkLst>
            <pc:docMk/>
            <pc:sldMk cId="2169785454" sldId="940"/>
            <ac:spMk id="2" creationId="{26CBEC25-69EE-FABD-D9B3-821EC29127F9}"/>
          </ac:spMkLst>
        </pc:spChg>
        <pc:spChg chg="del mod ord">
          <ac:chgData name="Nataliia Chornii (UA)" userId="4e4b8b3d-5f31-49bb-9f80-8a25c04abfff" providerId="ADAL" clId="{EE97D3FE-9ACA-4467-98E5-532EC45D9D1C}" dt="2024-03-04T09:42:39.111" v="19482" actId="478"/>
          <ac:spMkLst>
            <pc:docMk/>
            <pc:sldMk cId="2169785454" sldId="940"/>
            <ac:spMk id="2" creationId="{F6B088C4-896F-0BB6-190E-567264B27E74}"/>
          </ac:spMkLst>
        </pc:spChg>
        <pc:spChg chg="mod ord">
          <ac:chgData name="Nataliia Chornii (UA)" userId="4e4b8b3d-5f31-49bb-9f80-8a25c04abfff" providerId="ADAL" clId="{EE97D3FE-9ACA-4467-98E5-532EC45D9D1C}" dt="2024-03-11T14:31:35.731" v="24318" actId="948"/>
          <ac:spMkLst>
            <pc:docMk/>
            <pc:sldMk cId="2169785454" sldId="940"/>
            <ac:spMk id="3" creationId="{F4CCF02E-F3C4-C376-8F56-61BD85A2E74B}"/>
          </ac:spMkLst>
        </pc:spChg>
        <pc:spChg chg="mod ord">
          <ac:chgData name="Nataliia Chornii (UA)" userId="4e4b8b3d-5f31-49bb-9f80-8a25c04abfff" providerId="ADAL" clId="{EE97D3FE-9ACA-4467-98E5-532EC45D9D1C}" dt="2024-03-04T10:52:18.027" v="20984"/>
          <ac:spMkLst>
            <pc:docMk/>
            <pc:sldMk cId="2169785454" sldId="940"/>
            <ac:spMk id="4" creationId="{872966CD-924A-B939-E655-A6BAF817DCBF}"/>
          </ac:spMkLst>
        </pc:spChg>
        <pc:spChg chg="add del mod ord">
          <ac:chgData name="Nataliia Chornii (UA)" userId="4e4b8b3d-5f31-49bb-9f80-8a25c04abfff" providerId="ADAL" clId="{EE97D3FE-9ACA-4467-98E5-532EC45D9D1C}" dt="2024-03-04T09:42:03.236" v="19415" actId="478"/>
          <ac:spMkLst>
            <pc:docMk/>
            <pc:sldMk cId="2169785454" sldId="940"/>
            <ac:spMk id="5" creationId="{CA7D9EF1-7EF2-0B8B-F2CE-05A31EE18C94}"/>
          </ac:spMkLst>
        </pc:spChg>
        <pc:spChg chg="mod">
          <ac:chgData name="Nataliia Chornii (UA)" userId="4e4b8b3d-5f31-49bb-9f80-8a25c04abfff" providerId="ADAL" clId="{EE97D3FE-9ACA-4467-98E5-532EC45D9D1C}" dt="2024-03-11T14:26:34.588" v="24100"/>
          <ac:spMkLst>
            <pc:docMk/>
            <pc:sldMk cId="2169785454" sldId="940"/>
            <ac:spMk id="6" creationId="{36F849D7-46C0-6C5A-A723-C6A32015E50F}"/>
          </ac:spMkLst>
        </pc:spChg>
        <pc:spChg chg="add del mod ord">
          <ac:chgData name="Nataliia Chornii (UA)" userId="4e4b8b3d-5f31-49bb-9f80-8a25c04abfff" providerId="ADAL" clId="{EE97D3FE-9ACA-4467-98E5-532EC45D9D1C}" dt="2024-03-04T09:42:05.651" v="19417" actId="478"/>
          <ac:spMkLst>
            <pc:docMk/>
            <pc:sldMk cId="2169785454" sldId="940"/>
            <ac:spMk id="6" creationId="{86CFCE20-7512-A6A9-55AA-D0C0A0057EDD}"/>
          </ac:spMkLst>
        </pc:spChg>
        <pc:spChg chg="add del mod ord">
          <ac:chgData name="Nataliia Chornii (UA)" userId="4e4b8b3d-5f31-49bb-9f80-8a25c04abfff" providerId="ADAL" clId="{EE97D3FE-9ACA-4467-98E5-532EC45D9D1C}" dt="2024-03-04T09:42:02.716" v="19414" actId="478"/>
          <ac:spMkLst>
            <pc:docMk/>
            <pc:sldMk cId="2169785454" sldId="940"/>
            <ac:spMk id="7" creationId="{8227AC2B-8688-23ED-F355-BC78869FBE01}"/>
          </ac:spMkLst>
        </pc:spChg>
        <pc:spChg chg="mod">
          <ac:chgData name="Nataliia Chornii (UA)" userId="4e4b8b3d-5f31-49bb-9f80-8a25c04abfff" providerId="ADAL" clId="{EE97D3FE-9ACA-4467-98E5-532EC45D9D1C}" dt="2024-03-11T14:26:34.588" v="24100"/>
          <ac:spMkLst>
            <pc:docMk/>
            <pc:sldMk cId="2169785454" sldId="940"/>
            <ac:spMk id="7" creationId="{85DAA367-7E3D-BF6C-A630-9497DF47550A}"/>
          </ac:spMkLst>
        </pc:spChg>
        <pc:spChg chg="mod">
          <ac:chgData name="Nataliia Chornii (UA)" userId="4e4b8b3d-5f31-49bb-9f80-8a25c04abfff" providerId="ADAL" clId="{EE97D3FE-9ACA-4467-98E5-532EC45D9D1C}" dt="2024-03-11T14:26:34.588" v="24100"/>
          <ac:spMkLst>
            <pc:docMk/>
            <pc:sldMk cId="2169785454" sldId="940"/>
            <ac:spMk id="8" creationId="{942F8577-FFE1-9E4C-87D0-C6867D4A3A33}"/>
          </ac:spMkLst>
        </pc:spChg>
        <pc:spChg chg="add del mod ord">
          <ac:chgData name="Nataliia Chornii (UA)" userId="4e4b8b3d-5f31-49bb-9f80-8a25c04abfff" providerId="ADAL" clId="{EE97D3FE-9ACA-4467-98E5-532EC45D9D1C}" dt="2024-03-04T09:42:04.925" v="19416" actId="478"/>
          <ac:spMkLst>
            <pc:docMk/>
            <pc:sldMk cId="2169785454" sldId="940"/>
            <ac:spMk id="8" creationId="{9E249449-92EC-33CF-2C90-B00C30698FC8}"/>
          </ac:spMkLst>
        </pc:spChg>
        <pc:spChg chg="mod">
          <ac:chgData name="Nataliia Chornii (UA)" userId="4e4b8b3d-5f31-49bb-9f80-8a25c04abfff" providerId="ADAL" clId="{EE97D3FE-9ACA-4467-98E5-532EC45D9D1C}" dt="2024-03-11T14:26:34.588" v="24100"/>
          <ac:spMkLst>
            <pc:docMk/>
            <pc:sldMk cId="2169785454" sldId="940"/>
            <ac:spMk id="10" creationId="{682D648A-6A47-005B-CC42-381A9FF46147}"/>
          </ac:spMkLst>
        </pc:spChg>
        <pc:spChg chg="add del mod ord">
          <ac:chgData name="Nataliia Chornii (UA)" userId="4e4b8b3d-5f31-49bb-9f80-8a25c04abfff" providerId="ADAL" clId="{EE97D3FE-9ACA-4467-98E5-532EC45D9D1C}" dt="2024-03-04T09:42:04.925" v="19416" actId="478"/>
          <ac:spMkLst>
            <pc:docMk/>
            <pc:sldMk cId="2169785454" sldId="940"/>
            <ac:spMk id="10" creationId="{8764CBDF-3BEE-FD88-08F7-5D27168A48A6}"/>
          </ac:spMkLst>
        </pc:spChg>
        <pc:spChg chg="mod">
          <ac:chgData name="Nataliia Chornii (UA)" userId="4e4b8b3d-5f31-49bb-9f80-8a25c04abfff" providerId="ADAL" clId="{EE97D3FE-9ACA-4467-98E5-532EC45D9D1C}" dt="2024-03-11T14:26:34.588" v="24100"/>
          <ac:spMkLst>
            <pc:docMk/>
            <pc:sldMk cId="2169785454" sldId="940"/>
            <ac:spMk id="11" creationId="{2ED77B11-BB88-CB63-50B3-A651C8997BB8}"/>
          </ac:spMkLst>
        </pc:spChg>
        <pc:spChg chg="add del mod ord">
          <ac:chgData name="Nataliia Chornii (UA)" userId="4e4b8b3d-5f31-49bb-9f80-8a25c04abfff" providerId="ADAL" clId="{EE97D3FE-9ACA-4467-98E5-532EC45D9D1C}" dt="2024-03-04T09:42:04.925" v="19416" actId="478"/>
          <ac:spMkLst>
            <pc:docMk/>
            <pc:sldMk cId="2169785454" sldId="940"/>
            <ac:spMk id="11" creationId="{6EA9BEF0-2741-E0F5-F185-FC67B65B226E}"/>
          </ac:spMkLst>
        </pc:spChg>
        <pc:spChg chg="add del mod modVis">
          <ac:chgData name="Nataliia Chornii (UA)" userId="4e4b8b3d-5f31-49bb-9f80-8a25c04abfff" providerId="ADAL" clId="{EE97D3FE-9ACA-4467-98E5-532EC45D9D1C}" dt="2024-03-04T09:41:40.733" v="19405"/>
          <ac:spMkLst>
            <pc:docMk/>
            <pc:sldMk cId="2169785454" sldId="940"/>
            <ac:spMk id="12" creationId="{FDEEBB11-82C4-E82A-4BBC-84A66067142B}"/>
          </ac:spMkLst>
        </pc:spChg>
        <pc:spChg chg="mod">
          <ac:chgData name="Nataliia Chornii (UA)" userId="4e4b8b3d-5f31-49bb-9f80-8a25c04abfff" providerId="ADAL" clId="{EE97D3FE-9ACA-4467-98E5-532EC45D9D1C}" dt="2024-03-11T14:26:34.588" v="24100"/>
          <ac:spMkLst>
            <pc:docMk/>
            <pc:sldMk cId="2169785454" sldId="940"/>
            <ac:spMk id="12" creationId="{FE65C05D-79F1-3D44-996D-46AE4F1E12D4}"/>
          </ac:spMkLst>
        </pc:spChg>
        <pc:spChg chg="add mod ord">
          <ac:chgData name="Nataliia Chornii (UA)" userId="4e4b8b3d-5f31-49bb-9f80-8a25c04abfff" providerId="ADAL" clId="{EE97D3FE-9ACA-4467-98E5-532EC45D9D1C}" dt="2024-03-04T10:52:18.027" v="20970"/>
          <ac:spMkLst>
            <pc:docMk/>
            <pc:sldMk cId="2169785454" sldId="940"/>
            <ac:spMk id="13" creationId="{0D92C7FE-84BE-3BA1-61C0-95EF809D6C49}"/>
          </ac:spMkLst>
        </pc:spChg>
        <pc:spChg chg="add mod ord">
          <ac:chgData name="Nataliia Chornii (UA)" userId="4e4b8b3d-5f31-49bb-9f80-8a25c04abfff" providerId="ADAL" clId="{EE97D3FE-9ACA-4467-98E5-532EC45D9D1C}" dt="2024-03-04T10:52:18.027" v="20972"/>
          <ac:spMkLst>
            <pc:docMk/>
            <pc:sldMk cId="2169785454" sldId="940"/>
            <ac:spMk id="14" creationId="{11EF33B5-B97B-2A58-F711-22984259ED65}"/>
          </ac:spMkLst>
        </pc:spChg>
        <pc:spChg chg="add mod ord">
          <ac:chgData name="Nataliia Chornii (UA)" userId="4e4b8b3d-5f31-49bb-9f80-8a25c04abfff" providerId="ADAL" clId="{EE97D3FE-9ACA-4467-98E5-532EC45D9D1C}" dt="2024-03-04T10:52:18.027" v="20974"/>
          <ac:spMkLst>
            <pc:docMk/>
            <pc:sldMk cId="2169785454" sldId="940"/>
            <ac:spMk id="15" creationId="{33BCE1C2-7CC5-B888-833A-087CA2AEEEDC}"/>
          </ac:spMkLst>
        </pc:spChg>
        <pc:spChg chg="mod ord">
          <ac:chgData name="Nataliia Chornii (UA)" userId="4e4b8b3d-5f31-49bb-9f80-8a25c04abfff" providerId="ADAL" clId="{EE97D3FE-9ACA-4467-98E5-532EC45D9D1C}" dt="2024-03-11T15:06:20.068" v="25241" actId="20577"/>
          <ac:spMkLst>
            <pc:docMk/>
            <pc:sldMk cId="2169785454" sldId="940"/>
            <ac:spMk id="16" creationId="{30819613-CE74-49B6-0807-44FDBB81D466}"/>
          </ac:spMkLst>
        </pc:spChg>
        <pc:spChg chg="add mod ord">
          <ac:chgData name="Nataliia Chornii (UA)" userId="4e4b8b3d-5f31-49bb-9f80-8a25c04abfff" providerId="ADAL" clId="{EE97D3FE-9ACA-4467-98E5-532EC45D9D1C}" dt="2024-03-04T09:42:35.773" v="19480" actId="164"/>
          <ac:spMkLst>
            <pc:docMk/>
            <pc:sldMk cId="2169785454" sldId="940"/>
            <ac:spMk id="17" creationId="{5F2DE715-FA6F-6E45-9FFA-2E7486865B08}"/>
          </ac:spMkLst>
        </pc:spChg>
        <pc:spChg chg="add mod ord">
          <ac:chgData name="Nataliia Chornii (UA)" userId="4e4b8b3d-5f31-49bb-9f80-8a25c04abfff" providerId="ADAL" clId="{EE97D3FE-9ACA-4467-98E5-532EC45D9D1C}" dt="2024-03-04T09:42:35.773" v="19480" actId="164"/>
          <ac:spMkLst>
            <pc:docMk/>
            <pc:sldMk cId="2169785454" sldId="940"/>
            <ac:spMk id="18" creationId="{7F6B9350-8C4F-16C2-68C3-04C074E465CD}"/>
          </ac:spMkLst>
        </pc:spChg>
        <pc:spChg chg="add mod ord">
          <ac:chgData name="Nataliia Chornii (UA)" userId="4e4b8b3d-5f31-49bb-9f80-8a25c04abfff" providerId="ADAL" clId="{EE97D3FE-9ACA-4467-98E5-532EC45D9D1C}" dt="2024-03-04T09:42:35.773" v="19480" actId="164"/>
          <ac:spMkLst>
            <pc:docMk/>
            <pc:sldMk cId="2169785454" sldId="940"/>
            <ac:spMk id="19" creationId="{0C32969B-04D5-8343-4A7B-B432C6962BCE}"/>
          </ac:spMkLst>
        </pc:spChg>
        <pc:spChg chg="add mod">
          <ac:chgData name="Nataliia Chornii (UA)" userId="4e4b8b3d-5f31-49bb-9f80-8a25c04abfff" providerId="ADAL" clId="{EE97D3FE-9ACA-4467-98E5-532EC45D9D1C}" dt="2024-03-11T14:31:30.340" v="24315"/>
          <ac:spMkLst>
            <pc:docMk/>
            <pc:sldMk cId="2169785454" sldId="940"/>
            <ac:spMk id="21" creationId="{5F3D2569-C1F1-791B-F491-08CB63AD8D90}"/>
          </ac:spMkLst>
        </pc:spChg>
        <pc:spChg chg="add del mod">
          <ac:chgData name="Nataliia Chornii (UA)" userId="4e4b8b3d-5f31-49bb-9f80-8a25c04abfff" providerId="ADAL" clId="{EE97D3FE-9ACA-4467-98E5-532EC45D9D1C}" dt="2024-03-04T10:51:30.289" v="20943" actId="478"/>
          <ac:spMkLst>
            <pc:docMk/>
            <pc:sldMk cId="2169785454" sldId="940"/>
            <ac:spMk id="21" creationId="{69BD356E-E224-265B-601A-6CE0453E8B0A}"/>
          </ac:spMkLst>
        </pc:spChg>
        <pc:spChg chg="add del mod modVis">
          <ac:chgData name="Nataliia Chornii (UA)" userId="4e4b8b3d-5f31-49bb-9f80-8a25c04abfff" providerId="ADAL" clId="{EE97D3FE-9ACA-4467-98E5-532EC45D9D1C}" dt="2024-03-11T14:31:35.763" v="24341"/>
          <ac:spMkLst>
            <pc:docMk/>
            <pc:sldMk cId="2169785454" sldId="940"/>
            <ac:spMk id="22" creationId="{7F53DC1C-530F-CC26-9334-7E656C88C4B2}"/>
          </ac:spMkLst>
        </pc:spChg>
        <pc:spChg chg="add del">
          <ac:chgData name="Nataliia Chornii (UA)" userId="4e4b8b3d-5f31-49bb-9f80-8a25c04abfff" providerId="ADAL" clId="{EE97D3FE-9ACA-4467-98E5-532EC45D9D1C}" dt="2024-03-11T15:05:37.111" v="25227" actId="22"/>
          <ac:spMkLst>
            <pc:docMk/>
            <pc:sldMk cId="2169785454" sldId="940"/>
            <ac:spMk id="23" creationId="{1456DA2F-585F-B30F-C38B-2AD5AA992710}"/>
          </ac:spMkLst>
        </pc:spChg>
        <pc:spChg chg="del mod ord">
          <ac:chgData name="Nataliia Chornii (UA)" userId="4e4b8b3d-5f31-49bb-9f80-8a25c04abfff" providerId="ADAL" clId="{EE97D3FE-9ACA-4467-98E5-532EC45D9D1C}" dt="2024-03-11T14:31:32.339" v="24316" actId="478"/>
          <ac:spMkLst>
            <pc:docMk/>
            <pc:sldMk cId="2169785454" sldId="940"/>
            <ac:spMk id="23" creationId="{F0F92295-EBAE-39D7-7494-D9035179A285}"/>
          </ac:spMkLst>
        </pc:spChg>
        <pc:spChg chg="add mod">
          <ac:chgData name="Nataliia Chornii (UA)" userId="4e4b8b3d-5f31-49bb-9f80-8a25c04abfff" providerId="ADAL" clId="{EE97D3FE-9ACA-4467-98E5-532EC45D9D1C}" dt="2024-03-11T15:05:49.557" v="25229" actId="164"/>
          <ac:spMkLst>
            <pc:docMk/>
            <pc:sldMk cId="2169785454" sldId="940"/>
            <ac:spMk id="24" creationId="{623315F2-6F52-7DCB-3A14-620B719AD403}"/>
          </ac:spMkLst>
        </pc:spChg>
        <pc:spChg chg="add del mod ord">
          <ac:chgData name="Nataliia Chornii (UA)" userId="4e4b8b3d-5f31-49bb-9f80-8a25c04abfff" providerId="ADAL" clId="{EE97D3FE-9ACA-4467-98E5-532EC45D9D1C}" dt="2024-03-04T09:42:06.900" v="19419" actId="478"/>
          <ac:spMkLst>
            <pc:docMk/>
            <pc:sldMk cId="2169785454" sldId="940"/>
            <ac:spMk id="24" creationId="{6291F660-4399-3100-7AA6-1A96F2BE2FA0}"/>
          </ac:spMkLst>
        </pc:spChg>
        <pc:spChg chg="add mod">
          <ac:chgData name="Nataliia Chornii (UA)" userId="4e4b8b3d-5f31-49bb-9f80-8a25c04abfff" providerId="ADAL" clId="{EE97D3FE-9ACA-4467-98E5-532EC45D9D1C}" dt="2024-03-11T15:05:49.557" v="25229" actId="164"/>
          <ac:spMkLst>
            <pc:docMk/>
            <pc:sldMk cId="2169785454" sldId="940"/>
            <ac:spMk id="26" creationId="{789BFD32-9DF4-7211-FF14-5948C67BE9BF}"/>
          </ac:spMkLst>
        </pc:spChg>
        <pc:spChg chg="del">
          <ac:chgData name="Nataliia Chornii (UA)" userId="4e4b8b3d-5f31-49bb-9f80-8a25c04abfff" providerId="ADAL" clId="{EE97D3FE-9ACA-4467-98E5-532EC45D9D1C}" dt="2024-03-04T09:41:37.514" v="19350" actId="478"/>
          <ac:spMkLst>
            <pc:docMk/>
            <pc:sldMk cId="2169785454" sldId="940"/>
            <ac:spMk id="26" creationId="{D3B06146-D695-C0D1-DE10-612BD2266EB5}"/>
          </ac:spMkLst>
        </pc:spChg>
        <pc:spChg chg="add mod">
          <ac:chgData name="Nataliia Chornii (UA)" userId="4e4b8b3d-5f31-49bb-9f80-8a25c04abfff" providerId="ADAL" clId="{EE97D3FE-9ACA-4467-98E5-532EC45D9D1C}" dt="2024-03-11T15:05:49.557" v="25229" actId="164"/>
          <ac:spMkLst>
            <pc:docMk/>
            <pc:sldMk cId="2169785454" sldId="940"/>
            <ac:spMk id="27" creationId="{DB36808B-37AC-CFC3-F891-9A73E292254D}"/>
          </ac:spMkLst>
        </pc:spChg>
        <pc:spChg chg="del">
          <ac:chgData name="Nataliia Chornii (UA)" userId="4e4b8b3d-5f31-49bb-9f80-8a25c04abfff" providerId="ADAL" clId="{EE97D3FE-9ACA-4467-98E5-532EC45D9D1C}" dt="2024-03-04T09:41:37.514" v="19350" actId="478"/>
          <ac:spMkLst>
            <pc:docMk/>
            <pc:sldMk cId="2169785454" sldId="940"/>
            <ac:spMk id="28" creationId="{E6632A91-C990-C64C-6F5B-FCB2451BD5A7}"/>
          </ac:spMkLst>
        </pc:spChg>
        <pc:spChg chg="add mod">
          <ac:chgData name="Nataliia Chornii (UA)" userId="4e4b8b3d-5f31-49bb-9f80-8a25c04abfff" providerId="ADAL" clId="{EE97D3FE-9ACA-4467-98E5-532EC45D9D1C}" dt="2024-03-11T15:05:49.557" v="25229" actId="164"/>
          <ac:spMkLst>
            <pc:docMk/>
            <pc:sldMk cId="2169785454" sldId="940"/>
            <ac:spMk id="28" creationId="{F0D577AC-C0DD-B963-55D8-AB496D9A6EA3}"/>
          </ac:spMkLst>
        </pc:spChg>
        <pc:spChg chg="del">
          <ac:chgData name="Nataliia Chornii (UA)" userId="4e4b8b3d-5f31-49bb-9f80-8a25c04abfff" providerId="ADAL" clId="{EE97D3FE-9ACA-4467-98E5-532EC45D9D1C}" dt="2024-03-04T09:41:37.514" v="19350" actId="478"/>
          <ac:spMkLst>
            <pc:docMk/>
            <pc:sldMk cId="2169785454" sldId="940"/>
            <ac:spMk id="29" creationId="{69C14E03-FCEC-D42E-5785-FE3FD67A2269}"/>
          </ac:spMkLst>
        </pc:spChg>
        <pc:spChg chg="add mod">
          <ac:chgData name="Nataliia Chornii (UA)" userId="4e4b8b3d-5f31-49bb-9f80-8a25c04abfff" providerId="ADAL" clId="{EE97D3FE-9ACA-4467-98E5-532EC45D9D1C}" dt="2024-03-11T15:05:49.557" v="25229" actId="164"/>
          <ac:spMkLst>
            <pc:docMk/>
            <pc:sldMk cId="2169785454" sldId="940"/>
            <ac:spMk id="29" creationId="{866A13D6-A565-1519-29DC-4570A5030F54}"/>
          </ac:spMkLst>
        </pc:spChg>
        <pc:spChg chg="add mod">
          <ac:chgData name="Nataliia Chornii (UA)" userId="4e4b8b3d-5f31-49bb-9f80-8a25c04abfff" providerId="ADAL" clId="{EE97D3FE-9ACA-4467-98E5-532EC45D9D1C}" dt="2024-03-11T15:05:49.557" v="25229" actId="164"/>
          <ac:spMkLst>
            <pc:docMk/>
            <pc:sldMk cId="2169785454" sldId="940"/>
            <ac:spMk id="31" creationId="{23D3ECD2-C201-16DB-3C9F-2658698F8C75}"/>
          </ac:spMkLst>
        </pc:spChg>
        <pc:spChg chg="del">
          <ac:chgData name="Nataliia Chornii (UA)" userId="4e4b8b3d-5f31-49bb-9f80-8a25c04abfff" providerId="ADAL" clId="{EE97D3FE-9ACA-4467-98E5-532EC45D9D1C}" dt="2024-03-04T09:41:37.514" v="19350" actId="478"/>
          <ac:spMkLst>
            <pc:docMk/>
            <pc:sldMk cId="2169785454" sldId="940"/>
            <ac:spMk id="32" creationId="{AA14433E-3F38-54C2-3C19-F70FDD5BB4F8}"/>
          </ac:spMkLst>
        </pc:spChg>
        <pc:spChg chg="mod">
          <ac:chgData name="Nataliia Chornii (UA)" userId="4e4b8b3d-5f31-49bb-9f80-8a25c04abfff" providerId="ADAL" clId="{EE97D3FE-9ACA-4467-98E5-532EC45D9D1C}" dt="2024-03-04T10:52:13.777" v="20947" actId="165"/>
          <ac:spMkLst>
            <pc:docMk/>
            <pc:sldMk cId="2169785454" sldId="940"/>
            <ac:spMk id="33" creationId="{B506211A-ECD1-0836-E9FB-F8B570D6B234}"/>
          </ac:spMkLst>
        </pc:spChg>
        <pc:spChg chg="mod">
          <ac:chgData name="Nataliia Chornii (UA)" userId="4e4b8b3d-5f31-49bb-9f80-8a25c04abfff" providerId="ADAL" clId="{EE97D3FE-9ACA-4467-98E5-532EC45D9D1C}" dt="2024-03-04T10:52:13.777" v="20947" actId="165"/>
          <ac:spMkLst>
            <pc:docMk/>
            <pc:sldMk cId="2169785454" sldId="940"/>
            <ac:spMk id="34" creationId="{3B5D66C3-47BC-AE6C-0AE6-55E952D53630}"/>
          </ac:spMkLst>
        </pc:spChg>
        <pc:spChg chg="add mod">
          <ac:chgData name="Nataliia Chornii (UA)" userId="4e4b8b3d-5f31-49bb-9f80-8a25c04abfff" providerId="ADAL" clId="{EE97D3FE-9ACA-4467-98E5-532EC45D9D1C}" dt="2024-03-11T15:05:49.557" v="25229" actId="164"/>
          <ac:spMkLst>
            <pc:docMk/>
            <pc:sldMk cId="2169785454" sldId="940"/>
            <ac:spMk id="35" creationId="{0FA7658D-24D7-DD2A-3B5C-2EB961E76452}"/>
          </ac:spMkLst>
        </pc:spChg>
        <pc:spChg chg="del mod ord">
          <ac:chgData name="Nataliia Chornii (UA)" userId="4e4b8b3d-5f31-49bb-9f80-8a25c04abfff" providerId="ADAL" clId="{EE97D3FE-9ACA-4467-98E5-532EC45D9D1C}" dt="2024-03-04T09:42:02.716" v="19414" actId="478"/>
          <ac:spMkLst>
            <pc:docMk/>
            <pc:sldMk cId="2169785454" sldId="940"/>
            <ac:spMk id="35" creationId="{4F177113-0781-5137-1CD7-3B2F5D62C022}"/>
          </ac:spMkLst>
        </pc:spChg>
        <pc:spChg chg="mod ord">
          <ac:chgData name="Nataliia Chornii (UA)" userId="4e4b8b3d-5f31-49bb-9f80-8a25c04abfff" providerId="ADAL" clId="{EE97D3FE-9ACA-4467-98E5-532EC45D9D1C}" dt="2024-03-04T10:52:18.027" v="20978"/>
          <ac:spMkLst>
            <pc:docMk/>
            <pc:sldMk cId="2169785454" sldId="940"/>
            <ac:spMk id="36" creationId="{A8F39C25-781C-A7DA-387A-D92FCABEE1F5}"/>
          </ac:spMkLst>
        </pc:spChg>
        <pc:spChg chg="add mod">
          <ac:chgData name="Nataliia Chornii (UA)" userId="4e4b8b3d-5f31-49bb-9f80-8a25c04abfff" providerId="ADAL" clId="{EE97D3FE-9ACA-4467-98E5-532EC45D9D1C}" dt="2024-03-11T15:05:49.557" v="25229" actId="164"/>
          <ac:spMkLst>
            <pc:docMk/>
            <pc:sldMk cId="2169785454" sldId="940"/>
            <ac:spMk id="37" creationId="{4B44C252-1706-C652-C65A-EB4314E7E877}"/>
          </ac:spMkLst>
        </pc:spChg>
        <pc:spChg chg="add del mod modVis">
          <ac:chgData name="Nataliia Chornii (UA)" userId="4e4b8b3d-5f31-49bb-9f80-8a25c04abfff" providerId="ADAL" clId="{EE97D3FE-9ACA-4467-98E5-532EC45D9D1C}" dt="2024-03-04T10:52:18.043" v="20996"/>
          <ac:spMkLst>
            <pc:docMk/>
            <pc:sldMk cId="2169785454" sldId="940"/>
            <ac:spMk id="37" creationId="{613DFADF-7668-F78F-201D-C5C26B235BD3}"/>
          </ac:spMkLst>
        </pc:spChg>
        <pc:spChg chg="mod ord">
          <ac:chgData name="Nataliia Chornii (UA)" userId="4e4b8b3d-5f31-49bb-9f80-8a25c04abfff" providerId="ADAL" clId="{EE97D3FE-9ACA-4467-98E5-532EC45D9D1C}" dt="2024-03-04T10:52:18.027" v="20980"/>
          <ac:spMkLst>
            <pc:docMk/>
            <pc:sldMk cId="2169785454" sldId="940"/>
            <ac:spMk id="38" creationId="{7B1F3CCD-2DE1-C2A8-D340-EAF5B3993679}"/>
          </ac:spMkLst>
        </pc:spChg>
        <pc:spChg chg="add mod">
          <ac:chgData name="Nataliia Chornii (UA)" userId="4e4b8b3d-5f31-49bb-9f80-8a25c04abfff" providerId="ADAL" clId="{EE97D3FE-9ACA-4467-98E5-532EC45D9D1C}" dt="2024-03-11T15:07:08.350" v="25259" actId="1076"/>
          <ac:spMkLst>
            <pc:docMk/>
            <pc:sldMk cId="2169785454" sldId="940"/>
            <ac:spMk id="40" creationId="{20C39927-6FEB-B068-6830-6BF11F44CD7D}"/>
          </ac:spMkLst>
        </pc:spChg>
        <pc:spChg chg="add mod">
          <ac:chgData name="Nataliia Chornii (UA)" userId="4e4b8b3d-5f31-49bb-9f80-8a25c04abfff" providerId="ADAL" clId="{EE97D3FE-9ACA-4467-98E5-532EC45D9D1C}" dt="2024-03-11T15:05:49.557" v="25229" actId="164"/>
          <ac:spMkLst>
            <pc:docMk/>
            <pc:sldMk cId="2169785454" sldId="940"/>
            <ac:spMk id="41" creationId="{F2F31BD8-6C48-D35C-4A22-7F8DBA5C5608}"/>
          </ac:spMkLst>
        </pc:spChg>
        <pc:spChg chg="add mod">
          <ac:chgData name="Nataliia Chornii (UA)" userId="4e4b8b3d-5f31-49bb-9f80-8a25c04abfff" providerId="ADAL" clId="{EE97D3FE-9ACA-4467-98E5-532EC45D9D1C}" dt="2024-03-11T15:05:49.557" v="25229" actId="164"/>
          <ac:spMkLst>
            <pc:docMk/>
            <pc:sldMk cId="2169785454" sldId="940"/>
            <ac:spMk id="42" creationId="{DDB1D916-C32E-412D-A58E-73662645E147}"/>
          </ac:spMkLst>
        </pc:spChg>
        <pc:spChg chg="add mod">
          <ac:chgData name="Nataliia Chornii (UA)" userId="4e4b8b3d-5f31-49bb-9f80-8a25c04abfff" providerId="ADAL" clId="{EE97D3FE-9ACA-4467-98E5-532EC45D9D1C}" dt="2024-03-11T15:05:49.557" v="25229" actId="164"/>
          <ac:spMkLst>
            <pc:docMk/>
            <pc:sldMk cId="2169785454" sldId="940"/>
            <ac:spMk id="43" creationId="{E95EAC9C-A9B9-FF4A-889C-830E02093F7D}"/>
          </ac:spMkLst>
        </pc:spChg>
        <pc:spChg chg="add mod">
          <ac:chgData name="Nataliia Chornii (UA)" userId="4e4b8b3d-5f31-49bb-9f80-8a25c04abfff" providerId="ADAL" clId="{EE97D3FE-9ACA-4467-98E5-532EC45D9D1C}" dt="2024-03-11T15:05:49.557" v="25229" actId="164"/>
          <ac:spMkLst>
            <pc:docMk/>
            <pc:sldMk cId="2169785454" sldId="940"/>
            <ac:spMk id="44" creationId="{F5AB462F-2394-54C8-9C39-235643602329}"/>
          </ac:spMkLst>
        </pc:spChg>
        <pc:spChg chg="add mod">
          <ac:chgData name="Nataliia Chornii (UA)" userId="4e4b8b3d-5f31-49bb-9f80-8a25c04abfff" providerId="ADAL" clId="{EE97D3FE-9ACA-4467-98E5-532EC45D9D1C}" dt="2024-03-11T15:05:49.557" v="25229" actId="164"/>
          <ac:spMkLst>
            <pc:docMk/>
            <pc:sldMk cId="2169785454" sldId="940"/>
            <ac:spMk id="45" creationId="{C1B35A28-E4A7-9881-CFA8-DE3E45FAA77E}"/>
          </ac:spMkLst>
        </pc:spChg>
        <pc:spChg chg="mod topLvl">
          <ac:chgData name="Nataliia Chornii (UA)" userId="4e4b8b3d-5f31-49bb-9f80-8a25c04abfff" providerId="ADAL" clId="{EE97D3FE-9ACA-4467-98E5-532EC45D9D1C}" dt="2024-03-11T15:07:56.651" v="25275" actId="12789"/>
          <ac:spMkLst>
            <pc:docMk/>
            <pc:sldMk cId="2169785454" sldId="940"/>
            <ac:spMk id="48" creationId="{A4A1DC63-F989-7DAC-799B-BCA0AFE699E2}"/>
          </ac:spMkLst>
        </pc:spChg>
        <pc:spChg chg="mod topLvl">
          <ac:chgData name="Nataliia Chornii (UA)" userId="4e4b8b3d-5f31-49bb-9f80-8a25c04abfff" providerId="ADAL" clId="{EE97D3FE-9ACA-4467-98E5-532EC45D9D1C}" dt="2024-03-11T15:08:39.175" v="25286" actId="12789"/>
          <ac:spMkLst>
            <pc:docMk/>
            <pc:sldMk cId="2169785454" sldId="940"/>
            <ac:spMk id="49" creationId="{A7A0151E-5B58-8D8A-285E-361B78A9422E}"/>
          </ac:spMkLst>
        </pc:spChg>
        <pc:spChg chg="mod topLvl">
          <ac:chgData name="Nataliia Chornii (UA)" userId="4e4b8b3d-5f31-49bb-9f80-8a25c04abfff" providerId="ADAL" clId="{EE97D3FE-9ACA-4467-98E5-532EC45D9D1C}" dt="2024-03-11T15:08:36.901" v="25285" actId="12789"/>
          <ac:spMkLst>
            <pc:docMk/>
            <pc:sldMk cId="2169785454" sldId="940"/>
            <ac:spMk id="50" creationId="{010CCCE4-E9F2-B809-0C8E-827EF3E5E426}"/>
          </ac:spMkLst>
        </pc:spChg>
        <pc:spChg chg="mod topLvl">
          <ac:chgData name="Nataliia Chornii (UA)" userId="4e4b8b3d-5f31-49bb-9f80-8a25c04abfff" providerId="ADAL" clId="{EE97D3FE-9ACA-4467-98E5-532EC45D9D1C}" dt="2024-03-11T15:08:51.900" v="25292" actId="12789"/>
          <ac:spMkLst>
            <pc:docMk/>
            <pc:sldMk cId="2169785454" sldId="940"/>
            <ac:spMk id="51" creationId="{512D1EAE-F968-7682-ECE5-72B4FFFF85A3}"/>
          </ac:spMkLst>
        </pc:spChg>
        <pc:spChg chg="del mod topLvl">
          <ac:chgData name="Nataliia Chornii (UA)" userId="4e4b8b3d-5f31-49bb-9f80-8a25c04abfff" providerId="ADAL" clId="{EE97D3FE-9ACA-4467-98E5-532EC45D9D1C}" dt="2024-03-11T15:06:11.839" v="25238" actId="478"/>
          <ac:spMkLst>
            <pc:docMk/>
            <pc:sldMk cId="2169785454" sldId="940"/>
            <ac:spMk id="52" creationId="{BE71FAD9-0188-3939-8EC6-9AF4634B81A3}"/>
          </ac:spMkLst>
        </pc:spChg>
        <pc:spChg chg="mod topLvl">
          <ac:chgData name="Nataliia Chornii (UA)" userId="4e4b8b3d-5f31-49bb-9f80-8a25c04abfff" providerId="ADAL" clId="{EE97D3FE-9ACA-4467-98E5-532EC45D9D1C}" dt="2024-03-11T15:07:41.186" v="25267" actId="12789"/>
          <ac:spMkLst>
            <pc:docMk/>
            <pc:sldMk cId="2169785454" sldId="940"/>
            <ac:spMk id="53" creationId="{61E235E7-84ED-A6CC-1651-ABAD842FA0B8}"/>
          </ac:spMkLst>
        </pc:spChg>
        <pc:spChg chg="mod topLvl">
          <ac:chgData name="Nataliia Chornii (UA)" userId="4e4b8b3d-5f31-49bb-9f80-8a25c04abfff" providerId="ADAL" clId="{EE97D3FE-9ACA-4467-98E5-532EC45D9D1C}" dt="2024-03-11T15:06:50.315" v="25250" actId="14100"/>
          <ac:spMkLst>
            <pc:docMk/>
            <pc:sldMk cId="2169785454" sldId="940"/>
            <ac:spMk id="55" creationId="{CAAE35C6-3DA4-1798-DBDE-9C3BD133112C}"/>
          </ac:spMkLst>
        </pc:spChg>
        <pc:spChg chg="mod topLvl">
          <ac:chgData name="Nataliia Chornii (UA)" userId="4e4b8b3d-5f31-49bb-9f80-8a25c04abfff" providerId="ADAL" clId="{EE97D3FE-9ACA-4467-98E5-532EC45D9D1C}" dt="2024-03-11T15:06:46.577" v="25249" actId="165"/>
          <ac:spMkLst>
            <pc:docMk/>
            <pc:sldMk cId="2169785454" sldId="940"/>
            <ac:spMk id="56" creationId="{4BD693FD-7EA4-B359-63B3-1F582FA6A5E1}"/>
          </ac:spMkLst>
        </pc:spChg>
        <pc:spChg chg="mod topLvl">
          <ac:chgData name="Nataliia Chornii (UA)" userId="4e4b8b3d-5f31-49bb-9f80-8a25c04abfff" providerId="ADAL" clId="{EE97D3FE-9ACA-4467-98E5-532EC45D9D1C}" dt="2024-03-11T15:06:46.577" v="25249" actId="165"/>
          <ac:spMkLst>
            <pc:docMk/>
            <pc:sldMk cId="2169785454" sldId="940"/>
            <ac:spMk id="57" creationId="{B8D0412D-A242-A961-6FD5-E5CE9DFA949D}"/>
          </ac:spMkLst>
        </pc:spChg>
        <pc:spChg chg="del mod topLvl">
          <ac:chgData name="Nataliia Chornii (UA)" userId="4e4b8b3d-5f31-49bb-9f80-8a25c04abfff" providerId="ADAL" clId="{EE97D3FE-9ACA-4467-98E5-532EC45D9D1C}" dt="2024-03-11T15:06:12.885" v="25239" actId="478"/>
          <ac:spMkLst>
            <pc:docMk/>
            <pc:sldMk cId="2169785454" sldId="940"/>
            <ac:spMk id="58" creationId="{7C9DE323-7E5A-EA7B-8794-FB0587EF4A3D}"/>
          </ac:spMkLst>
        </pc:spChg>
        <pc:spChg chg="mod topLvl">
          <ac:chgData name="Nataliia Chornii (UA)" userId="4e4b8b3d-5f31-49bb-9f80-8a25c04abfff" providerId="ADAL" clId="{EE97D3FE-9ACA-4467-98E5-532EC45D9D1C}" dt="2024-03-11T15:06:46.577" v="25249" actId="165"/>
          <ac:spMkLst>
            <pc:docMk/>
            <pc:sldMk cId="2169785454" sldId="940"/>
            <ac:spMk id="59" creationId="{548B9B05-848B-0CB7-938A-C340555E2864}"/>
          </ac:spMkLst>
        </pc:spChg>
        <pc:spChg chg="mod topLvl">
          <ac:chgData name="Nataliia Chornii (UA)" userId="4e4b8b3d-5f31-49bb-9f80-8a25c04abfff" providerId="ADAL" clId="{EE97D3FE-9ACA-4467-98E5-532EC45D9D1C}" dt="2024-03-11T15:06:46.577" v="25249" actId="165"/>
          <ac:spMkLst>
            <pc:docMk/>
            <pc:sldMk cId="2169785454" sldId="940"/>
            <ac:spMk id="60" creationId="{A49A4C87-9F67-6768-6AC6-5FBB5DD27C68}"/>
          </ac:spMkLst>
        </pc:spChg>
        <pc:spChg chg="mod topLvl">
          <ac:chgData name="Nataliia Chornii (UA)" userId="4e4b8b3d-5f31-49bb-9f80-8a25c04abfff" providerId="ADAL" clId="{EE97D3FE-9ACA-4467-98E5-532EC45D9D1C}" dt="2024-03-11T15:06:46.577" v="25249" actId="165"/>
          <ac:spMkLst>
            <pc:docMk/>
            <pc:sldMk cId="2169785454" sldId="940"/>
            <ac:spMk id="61" creationId="{B3436993-D048-8EDA-F1FF-E9D38591FEEC}"/>
          </ac:spMkLst>
        </pc:spChg>
        <pc:spChg chg="add mod">
          <ac:chgData name="Nataliia Chornii (UA)" userId="4e4b8b3d-5f31-49bb-9f80-8a25c04abfff" providerId="ADAL" clId="{EE97D3FE-9ACA-4467-98E5-532EC45D9D1C}" dt="2024-03-11T15:07:41.186" v="25267" actId="12789"/>
          <ac:spMkLst>
            <pc:docMk/>
            <pc:sldMk cId="2169785454" sldId="940"/>
            <ac:spMk id="64" creationId="{8AAAF1FD-1289-4D07-6647-2F1F62A6A243}"/>
          </ac:spMkLst>
        </pc:spChg>
        <pc:spChg chg="add mod">
          <ac:chgData name="Nataliia Chornii (UA)" userId="4e4b8b3d-5f31-49bb-9f80-8a25c04abfff" providerId="ADAL" clId="{EE97D3FE-9ACA-4467-98E5-532EC45D9D1C}" dt="2024-03-11T15:07:11.096" v="25260" actId="1076"/>
          <ac:spMkLst>
            <pc:docMk/>
            <pc:sldMk cId="2169785454" sldId="940"/>
            <ac:spMk id="66" creationId="{176904F0-FFB9-5BAF-13F1-EC5C9104D6E0}"/>
          </ac:spMkLst>
        </pc:spChg>
        <pc:spChg chg="add del mod">
          <ac:chgData name="Nataliia Chornii (UA)" userId="4e4b8b3d-5f31-49bb-9f80-8a25c04abfff" providerId="ADAL" clId="{EE97D3FE-9ACA-4467-98E5-532EC45D9D1C}" dt="2024-03-11T15:08:49.627" v="25289" actId="478"/>
          <ac:spMkLst>
            <pc:docMk/>
            <pc:sldMk cId="2169785454" sldId="940"/>
            <ac:spMk id="67" creationId="{7539ED67-557D-BFD6-EA83-7AED4EF81671}"/>
          </ac:spMkLst>
        </pc:spChg>
        <pc:spChg chg="add mod">
          <ac:chgData name="Nataliia Chornii (UA)" userId="4e4b8b3d-5f31-49bb-9f80-8a25c04abfff" providerId="ADAL" clId="{EE97D3FE-9ACA-4467-98E5-532EC45D9D1C}" dt="2024-03-11T15:07:43.617" v="25269" actId="571"/>
          <ac:spMkLst>
            <pc:docMk/>
            <pc:sldMk cId="2169785454" sldId="940"/>
            <ac:spMk id="68" creationId="{670CDCBC-18AA-CC0F-ACF0-E9FD8C8397A6}"/>
          </ac:spMkLst>
        </pc:spChg>
        <pc:spChg chg="add mod">
          <ac:chgData name="Nataliia Chornii (UA)" userId="4e4b8b3d-5f31-49bb-9f80-8a25c04abfff" providerId="ADAL" clId="{EE97D3FE-9ACA-4467-98E5-532EC45D9D1C}" dt="2024-03-11T15:07:56.651" v="25275" actId="12789"/>
          <ac:spMkLst>
            <pc:docMk/>
            <pc:sldMk cId="2169785454" sldId="940"/>
            <ac:spMk id="69" creationId="{06CF4829-D23F-A9B8-E20B-BC6A9BBED4BD}"/>
          </ac:spMkLst>
        </pc:spChg>
        <pc:spChg chg="add mod">
          <ac:chgData name="Nataliia Chornii (UA)" userId="4e4b8b3d-5f31-49bb-9f80-8a25c04abfff" providerId="ADAL" clId="{EE97D3FE-9ACA-4467-98E5-532EC45D9D1C}" dt="2024-03-11T15:08:39.175" v="25286" actId="12789"/>
          <ac:spMkLst>
            <pc:docMk/>
            <pc:sldMk cId="2169785454" sldId="940"/>
            <ac:spMk id="70" creationId="{D0C077BE-209A-E2B3-0FDA-A6FFAB74B3DB}"/>
          </ac:spMkLst>
        </pc:spChg>
        <pc:spChg chg="add mod">
          <ac:chgData name="Nataliia Chornii (UA)" userId="4e4b8b3d-5f31-49bb-9f80-8a25c04abfff" providerId="ADAL" clId="{EE97D3FE-9ACA-4467-98E5-532EC45D9D1C}" dt="2024-03-11T15:08:36.901" v="25285" actId="12789"/>
          <ac:spMkLst>
            <pc:docMk/>
            <pc:sldMk cId="2169785454" sldId="940"/>
            <ac:spMk id="71" creationId="{3D68D09B-FBBB-6CDD-7F30-BA85C9DA4B91}"/>
          </ac:spMkLst>
        </pc:spChg>
        <pc:spChg chg="add del mod">
          <ac:chgData name="Nataliia Chornii (UA)" userId="4e4b8b3d-5f31-49bb-9f80-8a25c04abfff" providerId="ADAL" clId="{EE97D3FE-9ACA-4467-98E5-532EC45D9D1C}" dt="2024-03-11T15:08:49.627" v="25291"/>
          <ac:spMkLst>
            <pc:docMk/>
            <pc:sldMk cId="2169785454" sldId="940"/>
            <ac:spMk id="72" creationId="{6AEF7EC1-2B03-2980-8A43-4233B7D5B889}"/>
          </ac:spMkLst>
        </pc:spChg>
        <pc:spChg chg="add mod">
          <ac:chgData name="Nataliia Chornii (UA)" userId="4e4b8b3d-5f31-49bb-9f80-8a25c04abfff" providerId="ADAL" clId="{EE97D3FE-9ACA-4467-98E5-532EC45D9D1C}" dt="2024-03-11T15:08:51.900" v="25292" actId="12789"/>
          <ac:spMkLst>
            <pc:docMk/>
            <pc:sldMk cId="2169785454" sldId="940"/>
            <ac:spMk id="73" creationId="{5EA1CE50-8C28-1BC6-6E3B-A6077460C743}"/>
          </ac:spMkLst>
        </pc:spChg>
        <pc:grpChg chg="add mod">
          <ac:chgData name="Nataliia Chornii (UA)" userId="4e4b8b3d-5f31-49bb-9f80-8a25c04abfff" providerId="ADAL" clId="{EE97D3FE-9ACA-4467-98E5-532EC45D9D1C}" dt="2024-03-11T14:26:34.588" v="24100"/>
          <ac:grpSpMkLst>
            <pc:docMk/>
            <pc:sldMk cId="2169785454" sldId="940"/>
            <ac:grpSpMk id="5" creationId="{D7F287C2-4448-7719-74D8-2072D2FC122D}"/>
          </ac:grpSpMkLst>
        </pc:grpChg>
        <pc:grpChg chg="add mod ord">
          <ac:chgData name="Nataliia Chornii (UA)" userId="4e4b8b3d-5f31-49bb-9f80-8a25c04abfff" providerId="ADAL" clId="{EE97D3FE-9ACA-4467-98E5-532EC45D9D1C}" dt="2024-03-04T10:52:18.027" v="20976"/>
          <ac:grpSpMkLst>
            <pc:docMk/>
            <pc:sldMk cId="2169785454" sldId="940"/>
            <ac:grpSpMk id="20" creationId="{78FA2CB3-16CD-B6C3-DD78-919997C14242}"/>
          </ac:grpSpMkLst>
        </pc:grpChg>
        <pc:grpChg chg="add del mod">
          <ac:chgData name="Nataliia Chornii (UA)" userId="4e4b8b3d-5f31-49bb-9f80-8a25c04abfff" providerId="ADAL" clId="{EE97D3FE-9ACA-4467-98E5-532EC45D9D1C}" dt="2024-03-04T10:52:13.777" v="20947" actId="165"/>
          <ac:grpSpMkLst>
            <pc:docMk/>
            <pc:sldMk cId="2169785454" sldId="940"/>
            <ac:grpSpMk id="27" creationId="{64D5A355-27DF-6FC5-9637-58EEDA210C1F}"/>
          </ac:grpSpMkLst>
        </pc:grpChg>
        <pc:grpChg chg="mod ord topLvl">
          <ac:chgData name="Nataliia Chornii (UA)" userId="4e4b8b3d-5f31-49bb-9f80-8a25c04abfff" providerId="ADAL" clId="{EE97D3FE-9ACA-4467-98E5-532EC45D9D1C}" dt="2024-03-04T10:52:36.702" v="21007" actId="164"/>
          <ac:grpSpMkLst>
            <pc:docMk/>
            <pc:sldMk cId="2169785454" sldId="940"/>
            <ac:grpSpMk id="30" creationId="{E6A65197-8152-A6D9-2D38-D8A76D8E62A3}"/>
          </ac:grpSpMkLst>
        </pc:grpChg>
        <pc:grpChg chg="add mod">
          <ac:chgData name="Nataliia Chornii (UA)" userId="4e4b8b3d-5f31-49bb-9f80-8a25c04abfff" providerId="ADAL" clId="{EE97D3FE-9ACA-4467-98E5-532EC45D9D1C}" dt="2024-03-04T10:52:36.702" v="21007" actId="164"/>
          <ac:grpSpMkLst>
            <pc:docMk/>
            <pc:sldMk cId="2169785454" sldId="940"/>
            <ac:grpSpMk id="39" creationId="{519A8B8C-D859-24CF-238A-710D6B2C4D35}"/>
          </ac:grpSpMkLst>
        </pc:grpChg>
        <pc:grpChg chg="add del mod">
          <ac:chgData name="Nataliia Chornii (UA)" userId="4e4b8b3d-5f31-49bb-9f80-8a25c04abfff" providerId="ADAL" clId="{EE97D3FE-9ACA-4467-98E5-532EC45D9D1C}" dt="2024-03-11T15:05:52.236" v="25231" actId="478"/>
          <ac:grpSpMkLst>
            <pc:docMk/>
            <pc:sldMk cId="2169785454" sldId="940"/>
            <ac:grpSpMk id="46" creationId="{49FF034F-D22D-D5D6-A0C7-6221CD2CB2D7}"/>
          </ac:grpSpMkLst>
        </pc:grpChg>
        <pc:grpChg chg="add del mod">
          <ac:chgData name="Nataliia Chornii (UA)" userId="4e4b8b3d-5f31-49bb-9f80-8a25c04abfff" providerId="ADAL" clId="{EE97D3FE-9ACA-4467-98E5-532EC45D9D1C}" dt="2024-03-11T15:06:10.285" v="25237" actId="165"/>
          <ac:grpSpMkLst>
            <pc:docMk/>
            <pc:sldMk cId="2169785454" sldId="940"/>
            <ac:grpSpMk id="47" creationId="{7E5C5272-7C05-2630-15EB-BEA5F10C44D1}"/>
          </ac:grpSpMkLst>
        </pc:grpChg>
        <pc:grpChg chg="add del mod">
          <ac:chgData name="Nataliia Chornii (UA)" userId="4e4b8b3d-5f31-49bb-9f80-8a25c04abfff" providerId="ADAL" clId="{EE97D3FE-9ACA-4467-98E5-532EC45D9D1C}" dt="2024-03-11T15:06:46.577" v="25249" actId="165"/>
          <ac:grpSpMkLst>
            <pc:docMk/>
            <pc:sldMk cId="2169785454" sldId="940"/>
            <ac:grpSpMk id="65" creationId="{A925D3D4-BBF1-A8F1-3CEA-88E9BD4E9C6B}"/>
          </ac:grpSpMkLst>
        </pc:grpChg>
        <pc:graphicFrameChg chg="mod">
          <ac:chgData name="Nataliia Chornii (UA)" userId="4e4b8b3d-5f31-49bb-9f80-8a25c04abfff" providerId="ADAL" clId="{EE97D3FE-9ACA-4467-98E5-532EC45D9D1C}" dt="2024-03-11T14:31:35.778" v="24343"/>
          <ac:graphicFrameMkLst>
            <pc:docMk/>
            <pc:sldMk cId="2169785454" sldId="940"/>
            <ac:graphicFrameMk id="9" creationId="{D9E6BB6A-4571-FBF8-9A7D-06ADE4374D4D}"/>
          </ac:graphicFrameMkLst>
        </pc:graphicFrameChg>
        <pc:picChg chg="add mod ord">
          <ac:chgData name="Nataliia Chornii (UA)" userId="4e4b8b3d-5f31-49bb-9f80-8a25c04abfff" providerId="ADAL" clId="{EE97D3FE-9ACA-4467-98E5-532EC45D9D1C}" dt="2024-03-04T10:52:36.702" v="21007" actId="164"/>
          <ac:picMkLst>
            <pc:docMk/>
            <pc:sldMk cId="2169785454" sldId="940"/>
            <ac:picMk id="25" creationId="{CD034C99-3AF5-C1DE-88C9-2001613953C9}"/>
          </ac:picMkLst>
        </pc:picChg>
        <pc:picChg chg="del mod topLvl">
          <ac:chgData name="Nataliia Chornii (UA)" userId="4e4b8b3d-5f31-49bb-9f80-8a25c04abfff" providerId="ADAL" clId="{EE97D3FE-9ACA-4467-98E5-532EC45D9D1C}" dt="2024-03-04T10:52:15.295" v="20948" actId="478"/>
          <ac:picMkLst>
            <pc:docMk/>
            <pc:sldMk cId="2169785454" sldId="940"/>
            <ac:picMk id="31" creationId="{04DF0F3F-6BC5-C87C-CB4D-5F2678473517}"/>
          </ac:picMkLst>
        </pc:picChg>
        <pc:cxnChg chg="add mod">
          <ac:chgData name="Nataliia Chornii (UA)" userId="4e4b8b3d-5f31-49bb-9f80-8a25c04abfff" providerId="ADAL" clId="{EE97D3FE-9ACA-4467-98E5-532EC45D9D1C}" dt="2024-03-11T15:05:52.236" v="25231" actId="478"/>
          <ac:cxnSpMkLst>
            <pc:docMk/>
            <pc:sldMk cId="2169785454" sldId="940"/>
            <ac:cxnSpMk id="32" creationId="{E6505313-3D7B-05F9-2750-821E93655DCD}"/>
          </ac:cxnSpMkLst>
        </pc:cxnChg>
        <pc:cxnChg chg="mod topLvl">
          <ac:chgData name="Nataliia Chornii (UA)" userId="4e4b8b3d-5f31-49bb-9f80-8a25c04abfff" providerId="ADAL" clId="{EE97D3FE-9ACA-4467-98E5-532EC45D9D1C}" dt="2024-03-11T15:06:50.315" v="25250" actId="14100"/>
          <ac:cxnSpMkLst>
            <pc:docMk/>
            <pc:sldMk cId="2169785454" sldId="940"/>
            <ac:cxnSpMk id="54" creationId="{0F3DA636-2777-B2C2-32AD-3AE30818D252}"/>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3:19.363" v="22449"/>
              <pc2:cmMkLst xmlns:pc2="http://schemas.microsoft.com/office/powerpoint/2019/9/main/command">
                <pc:docMk/>
                <pc:sldMk cId="2169785454" sldId="940"/>
                <pc2:cmMk id="{D8D88415-B258-4414-B60D-60263E5E54CC}"/>
              </pc2:cmMkLst>
            </pc226:cmChg>
            <pc226:cmChg xmlns:pc226="http://schemas.microsoft.com/office/powerpoint/2022/06/main/command" chg="mod">
              <pc226:chgData name="Nataliia Chornii (UA)" userId="4e4b8b3d-5f31-49bb-9f80-8a25c04abfff" providerId="ADAL" clId="{EE97D3FE-9ACA-4467-98E5-532EC45D9D1C}" dt="2024-03-01T14:55:58.385" v="15918" actId="2056"/>
              <pc2:cmMkLst xmlns:pc2="http://schemas.microsoft.com/office/powerpoint/2019/9/main/command">
                <pc:docMk/>
                <pc:sldMk cId="2169785454" sldId="940"/>
                <pc2:cmMk id="{BCCDEE57-AEF6-454F-B7D5-2CAD163603F2}"/>
              </pc2:cmMkLst>
            </pc226:cmChg>
            <pc226:cmChg xmlns:pc226="http://schemas.microsoft.com/office/powerpoint/2022/06/main/command" chg="mod">
              <pc226:chgData name="Nataliia Chornii (UA)" userId="4e4b8b3d-5f31-49bb-9f80-8a25c04abfff" providerId="ADAL" clId="{EE97D3FE-9ACA-4467-98E5-532EC45D9D1C}" dt="2024-03-04T12:43:21.603" v="22450"/>
              <pc2:cmMkLst xmlns:pc2="http://schemas.microsoft.com/office/powerpoint/2019/9/main/command">
                <pc:docMk/>
                <pc:sldMk cId="2169785454" sldId="940"/>
                <pc2:cmMk id="{B751C4A5-EDBC-4C47-B97D-33448EC4C89E}"/>
              </pc2:cmMkLst>
            </pc226:cmChg>
            <pc226:cmChg xmlns:pc226="http://schemas.microsoft.com/office/powerpoint/2022/06/main/command" chg="mod">
              <pc226:chgData name="Nataliia Chornii (UA)" userId="4e4b8b3d-5f31-49bb-9f80-8a25c04abfff" providerId="ADAL" clId="{EE97D3FE-9ACA-4467-98E5-532EC45D9D1C}" dt="2024-03-11T15:08:46.863" v="25288"/>
              <pc2:cmMkLst xmlns:pc2="http://schemas.microsoft.com/office/powerpoint/2019/9/main/command">
                <pc:docMk/>
                <pc:sldMk cId="2169785454" sldId="940"/>
                <pc2:cmMk id="{3A4D3BAF-8104-4495-8DE3-4015667E4BE1}"/>
              </pc2:cmMkLst>
            </pc226:cmChg>
          </p:ext>
        </pc:extLst>
      </pc:sldChg>
      <pc:sldChg chg="addSp delSp modSp mod modCm">
        <pc:chgData name="Nataliia Chornii (UA)" userId="4e4b8b3d-5f31-49bb-9f80-8a25c04abfff" providerId="ADAL" clId="{EE97D3FE-9ACA-4467-98E5-532EC45D9D1C}" dt="2024-03-11T14:32:51.218" v="24396" actId="948"/>
        <pc:sldMkLst>
          <pc:docMk/>
          <pc:sldMk cId="4229434319" sldId="941"/>
        </pc:sldMkLst>
        <pc:spChg chg="del mod">
          <ac:chgData name="Nataliia Chornii (UA)" userId="4e4b8b3d-5f31-49bb-9f80-8a25c04abfff" providerId="ADAL" clId="{EE97D3FE-9ACA-4467-98E5-532EC45D9D1C}" dt="2024-03-11T14:31:39.433" v="24345" actId="478"/>
          <ac:spMkLst>
            <pc:docMk/>
            <pc:sldMk cId="4229434319" sldId="941"/>
            <ac:spMk id="2" creationId="{9DF5DEA7-2B62-A714-2DA0-9BA52C8CF43D}"/>
          </ac:spMkLst>
        </pc:spChg>
        <pc:spChg chg="del mod ord">
          <ac:chgData name="Nataliia Chornii (UA)" userId="4e4b8b3d-5f31-49bb-9f80-8a25c04abfff" providerId="ADAL" clId="{EE97D3FE-9ACA-4467-98E5-532EC45D9D1C}" dt="2024-03-04T09:45:22.193" v="19791" actId="478"/>
          <ac:spMkLst>
            <pc:docMk/>
            <pc:sldMk cId="4229434319" sldId="941"/>
            <ac:spMk id="2" creationId="{F6B088C4-896F-0BB6-190E-567264B27E74}"/>
          </ac:spMkLst>
        </pc:spChg>
        <pc:spChg chg="mod ord">
          <ac:chgData name="Nataliia Chornii (UA)" userId="4e4b8b3d-5f31-49bb-9f80-8a25c04abfff" providerId="ADAL" clId="{EE97D3FE-9ACA-4467-98E5-532EC45D9D1C}" dt="2024-03-11T14:32:29.117" v="24383" actId="948"/>
          <ac:spMkLst>
            <pc:docMk/>
            <pc:sldMk cId="4229434319" sldId="941"/>
            <ac:spMk id="3" creationId="{F4CCF02E-F3C4-C376-8F56-61BD85A2E74B}"/>
          </ac:spMkLst>
        </pc:spChg>
        <pc:spChg chg="mod ord">
          <ac:chgData name="Nataliia Chornii (UA)" userId="4e4b8b3d-5f31-49bb-9f80-8a25c04abfff" providerId="ADAL" clId="{EE97D3FE-9ACA-4467-98E5-532EC45D9D1C}" dt="2024-03-04T09:44:33.016" v="19733"/>
          <ac:spMkLst>
            <pc:docMk/>
            <pc:sldMk cId="4229434319" sldId="941"/>
            <ac:spMk id="4" creationId="{872966CD-924A-B939-E655-A6BAF817DCBF}"/>
          </ac:spMkLst>
        </pc:spChg>
        <pc:spChg chg="add mod">
          <ac:chgData name="Nataliia Chornii (UA)" userId="4e4b8b3d-5f31-49bb-9f80-8a25c04abfff" providerId="ADAL" clId="{EE97D3FE-9ACA-4467-98E5-532EC45D9D1C}" dt="2024-03-11T14:26:37.976" v="24101"/>
          <ac:spMkLst>
            <pc:docMk/>
            <pc:sldMk cId="4229434319" sldId="941"/>
            <ac:spMk id="5" creationId="{3EE9A8D7-974A-0CF9-3140-9CBC7B279E05}"/>
          </ac:spMkLst>
        </pc:spChg>
        <pc:spChg chg="add del mod">
          <ac:chgData name="Nataliia Chornii (UA)" userId="4e4b8b3d-5f31-49bb-9f80-8a25c04abfff" providerId="ADAL" clId="{EE97D3FE-9ACA-4467-98E5-532EC45D9D1C}" dt="2024-03-04T09:44:02.664" v="19495" actId="478"/>
          <ac:spMkLst>
            <pc:docMk/>
            <pc:sldMk cId="4229434319" sldId="941"/>
            <ac:spMk id="5" creationId="{FBB42B61-6D4A-4737-1035-0F0F6FDC6CE1}"/>
          </ac:spMkLst>
        </pc:spChg>
        <pc:spChg chg="add mod ord">
          <ac:chgData name="Nataliia Chornii (UA)" userId="4e4b8b3d-5f31-49bb-9f80-8a25c04abfff" providerId="ADAL" clId="{EE97D3FE-9ACA-4467-98E5-532EC45D9D1C}" dt="2024-03-11T14:32:38.380" v="24394" actId="14100"/>
          <ac:spMkLst>
            <pc:docMk/>
            <pc:sldMk cId="4229434319" sldId="941"/>
            <ac:spMk id="6" creationId="{A2BB43A5-DD5D-8646-71E8-1A36915C0B8C}"/>
          </ac:spMkLst>
        </pc:spChg>
        <pc:spChg chg="add mod ord">
          <ac:chgData name="Nataliia Chornii (UA)" userId="4e4b8b3d-5f31-49bb-9f80-8a25c04abfff" providerId="ADAL" clId="{EE97D3FE-9ACA-4467-98E5-532EC45D9D1C}" dt="2024-03-11T14:32:42.125" v="24395" actId="14100"/>
          <ac:spMkLst>
            <pc:docMk/>
            <pc:sldMk cId="4229434319" sldId="941"/>
            <ac:spMk id="7" creationId="{E4EF8F99-6CAF-89D6-2B0A-03C46A8AE78A}"/>
          </ac:spMkLst>
        </pc:spChg>
        <pc:spChg chg="add mod ord">
          <ac:chgData name="Nataliia Chornii (UA)" userId="4e4b8b3d-5f31-49bb-9f80-8a25c04abfff" providerId="ADAL" clId="{EE97D3FE-9ACA-4467-98E5-532EC45D9D1C}" dt="2024-03-11T14:32:42.125" v="24395" actId="14100"/>
          <ac:spMkLst>
            <pc:docMk/>
            <pc:sldMk cId="4229434319" sldId="941"/>
            <ac:spMk id="8" creationId="{0DC07B40-AB81-B121-2741-FD0AC669FE4B}"/>
          </ac:spMkLst>
        </pc:spChg>
        <pc:spChg chg="add mod ord">
          <ac:chgData name="Nataliia Chornii (UA)" userId="4e4b8b3d-5f31-49bb-9f80-8a25c04abfff" providerId="ADAL" clId="{EE97D3FE-9ACA-4467-98E5-532EC45D9D1C}" dt="2024-03-04T09:44:45.241" v="19785" actId="552"/>
          <ac:spMkLst>
            <pc:docMk/>
            <pc:sldMk cId="4229434319" sldId="941"/>
            <ac:spMk id="10" creationId="{FD39E877-8733-6B3A-0736-82AE534CA18E}"/>
          </ac:spMkLst>
        </pc:spChg>
        <pc:spChg chg="add mod ord">
          <ac:chgData name="Nataliia Chornii (UA)" userId="4e4b8b3d-5f31-49bb-9f80-8a25c04abfff" providerId="ADAL" clId="{EE97D3FE-9ACA-4467-98E5-532EC45D9D1C}" dt="2024-03-04T09:44:33.032" v="19741"/>
          <ac:spMkLst>
            <pc:docMk/>
            <pc:sldMk cId="4229434319" sldId="941"/>
            <ac:spMk id="11" creationId="{284EF3B7-0D90-7812-B83D-6F9FB9C16ADE}"/>
          </ac:spMkLst>
        </pc:spChg>
        <pc:spChg chg="add mod ord">
          <ac:chgData name="Nataliia Chornii (UA)" userId="4e4b8b3d-5f31-49bb-9f80-8a25c04abfff" providerId="ADAL" clId="{EE97D3FE-9ACA-4467-98E5-532EC45D9D1C}" dt="2024-03-04T09:44:33.032" v="19743"/>
          <ac:spMkLst>
            <pc:docMk/>
            <pc:sldMk cId="4229434319" sldId="941"/>
            <ac:spMk id="12" creationId="{645AEA1F-484B-9114-07B9-348240688C2A}"/>
          </ac:spMkLst>
        </pc:spChg>
        <pc:spChg chg="add mod ord">
          <ac:chgData name="Nataliia Chornii (UA)" userId="4e4b8b3d-5f31-49bb-9f80-8a25c04abfff" providerId="ADAL" clId="{EE97D3FE-9ACA-4467-98E5-532EC45D9D1C}" dt="2024-03-04T09:44:33.032" v="19745"/>
          <ac:spMkLst>
            <pc:docMk/>
            <pc:sldMk cId="4229434319" sldId="941"/>
            <ac:spMk id="13" creationId="{4D41839D-B245-47A7-C971-A1DF27C69FD1}"/>
          </ac:spMkLst>
        </pc:spChg>
        <pc:spChg chg="add mod ord">
          <ac:chgData name="Nataliia Chornii (UA)" userId="4e4b8b3d-5f31-49bb-9f80-8a25c04abfff" providerId="ADAL" clId="{EE97D3FE-9ACA-4467-98E5-532EC45D9D1C}" dt="2024-03-04T09:44:47.821" v="19786" actId="553"/>
          <ac:spMkLst>
            <pc:docMk/>
            <pc:sldMk cId="4229434319" sldId="941"/>
            <ac:spMk id="14" creationId="{A0CB0E11-2B7E-5E0C-8007-0A75CD1A76D9}"/>
          </ac:spMkLst>
        </pc:spChg>
        <pc:spChg chg="add mod ord">
          <ac:chgData name="Nataliia Chornii (UA)" userId="4e4b8b3d-5f31-49bb-9f80-8a25c04abfff" providerId="ADAL" clId="{EE97D3FE-9ACA-4467-98E5-532EC45D9D1C}" dt="2024-03-04T09:44:33.032" v="19749"/>
          <ac:spMkLst>
            <pc:docMk/>
            <pc:sldMk cId="4229434319" sldId="941"/>
            <ac:spMk id="15" creationId="{B18768A5-110E-10C0-6D3E-DB72A0912CCB}"/>
          </ac:spMkLst>
        </pc:spChg>
        <pc:spChg chg="mod ord">
          <ac:chgData name="Nataliia Chornii (UA)" userId="4e4b8b3d-5f31-49bb-9f80-8a25c04abfff" providerId="ADAL" clId="{EE97D3FE-9ACA-4467-98E5-532EC45D9D1C}" dt="2024-03-11T14:32:51.218" v="24396" actId="948"/>
          <ac:spMkLst>
            <pc:docMk/>
            <pc:sldMk cId="4229434319" sldId="941"/>
            <ac:spMk id="16" creationId="{30819613-CE74-49B6-0807-44FDBB81D466}"/>
          </ac:spMkLst>
        </pc:spChg>
        <pc:spChg chg="add mod ord">
          <ac:chgData name="Nataliia Chornii (UA)" userId="4e4b8b3d-5f31-49bb-9f80-8a25c04abfff" providerId="ADAL" clId="{EE97D3FE-9ACA-4467-98E5-532EC45D9D1C}" dt="2024-03-04T09:44:33.032" v="19751"/>
          <ac:spMkLst>
            <pc:docMk/>
            <pc:sldMk cId="4229434319" sldId="941"/>
            <ac:spMk id="17" creationId="{942F1E49-5A40-BD21-159E-8060CE8FA7BC}"/>
          </ac:spMkLst>
        </pc:spChg>
        <pc:spChg chg="mod ord">
          <ac:chgData name="Nataliia Chornii (UA)" userId="4e4b8b3d-5f31-49bb-9f80-8a25c04abfff" providerId="ADAL" clId="{EE97D3FE-9ACA-4467-98E5-532EC45D9D1C}" dt="2024-03-11T14:32:05.309" v="24377" actId="14100"/>
          <ac:spMkLst>
            <pc:docMk/>
            <pc:sldMk cId="4229434319" sldId="941"/>
            <ac:spMk id="18" creationId="{E1D4AC8F-0322-E8A8-E509-5AF71473A8F4}"/>
          </ac:spMkLst>
        </pc:spChg>
        <pc:spChg chg="add mod ord">
          <ac:chgData name="Nataliia Chornii (UA)" userId="4e4b8b3d-5f31-49bb-9f80-8a25c04abfff" providerId="ADAL" clId="{EE97D3FE-9ACA-4467-98E5-532EC45D9D1C}" dt="2024-03-04T09:44:33.032" v="19753"/>
          <ac:spMkLst>
            <pc:docMk/>
            <pc:sldMk cId="4229434319" sldId="941"/>
            <ac:spMk id="19" creationId="{CF9BE83C-42B3-50C4-4EF0-2F8A69DC017B}"/>
          </ac:spMkLst>
        </pc:spChg>
        <pc:spChg chg="add del mod modVis">
          <ac:chgData name="Nataliia Chornii (UA)" userId="4e4b8b3d-5f31-49bb-9f80-8a25c04abfff" providerId="ADAL" clId="{EE97D3FE-9ACA-4467-98E5-532EC45D9D1C}" dt="2024-03-04T09:44:09.554" v="19528"/>
          <ac:spMkLst>
            <pc:docMk/>
            <pc:sldMk cId="4229434319" sldId="941"/>
            <ac:spMk id="20" creationId="{ED4AE23D-6B7D-6B6A-8C36-FBF0AE57AD49}"/>
          </ac:spMkLst>
        </pc:spChg>
        <pc:spChg chg="add mod">
          <ac:chgData name="Nataliia Chornii (UA)" userId="4e4b8b3d-5f31-49bb-9f80-8a25c04abfff" providerId="ADAL" clId="{EE97D3FE-9ACA-4467-98E5-532EC45D9D1C}" dt="2024-03-11T14:32:30.949" v="24393" actId="553"/>
          <ac:spMkLst>
            <pc:docMk/>
            <pc:sldMk cId="4229434319" sldId="941"/>
            <ac:spMk id="21" creationId="{47F90413-FED8-5E76-8366-C80AC457EE4C}"/>
          </ac:spMkLst>
        </pc:spChg>
        <pc:spChg chg="add del mod modVis">
          <ac:chgData name="Nataliia Chornii (UA)" userId="4e4b8b3d-5f31-49bb-9f80-8a25c04abfff" providerId="ADAL" clId="{EE97D3FE-9ACA-4467-98E5-532EC45D9D1C}" dt="2024-03-04T10:57:03.981" v="21077"/>
          <ac:spMkLst>
            <pc:docMk/>
            <pc:sldMk cId="4229434319" sldId="941"/>
            <ac:spMk id="22" creationId="{5875B8ED-8331-BBD8-91C7-4F41AB2B5540}"/>
          </ac:spMkLst>
        </pc:spChg>
        <pc:spChg chg="mod">
          <ac:chgData name="Nataliia Chornii (UA)" userId="4e4b8b3d-5f31-49bb-9f80-8a25c04abfff" providerId="ADAL" clId="{EE97D3FE-9ACA-4467-98E5-532EC45D9D1C}" dt="2024-03-11T14:26:37.976" v="24101"/>
          <ac:spMkLst>
            <pc:docMk/>
            <pc:sldMk cId="4229434319" sldId="941"/>
            <ac:spMk id="22" creationId="{6DCA2759-BC0C-60B1-0C55-6AB8A16A11B2}"/>
          </ac:spMkLst>
        </pc:spChg>
        <pc:spChg chg="del mod ord">
          <ac:chgData name="Nataliia Chornii (UA)" userId="4e4b8b3d-5f31-49bb-9f80-8a25c04abfff" providerId="ADAL" clId="{EE97D3FE-9ACA-4467-98E5-532EC45D9D1C}" dt="2024-03-11T14:31:49.102" v="24376" actId="478"/>
          <ac:spMkLst>
            <pc:docMk/>
            <pc:sldMk cId="4229434319" sldId="941"/>
            <ac:spMk id="23" creationId="{F0F92295-EBAE-39D7-7494-D9035179A285}"/>
          </ac:spMkLst>
        </pc:spChg>
        <pc:spChg chg="del">
          <ac:chgData name="Nataliia Chornii (UA)" userId="4e4b8b3d-5f31-49bb-9f80-8a25c04abfff" providerId="ADAL" clId="{EE97D3FE-9ACA-4467-98E5-532EC45D9D1C}" dt="2024-03-04T09:43:58.448" v="19492" actId="478"/>
          <ac:spMkLst>
            <pc:docMk/>
            <pc:sldMk cId="4229434319" sldId="941"/>
            <ac:spMk id="24" creationId="{6291F660-4399-3100-7AA6-1A96F2BE2FA0}"/>
          </ac:spMkLst>
        </pc:spChg>
        <pc:spChg chg="mod">
          <ac:chgData name="Nataliia Chornii (UA)" userId="4e4b8b3d-5f31-49bb-9f80-8a25c04abfff" providerId="ADAL" clId="{EE97D3FE-9ACA-4467-98E5-532EC45D9D1C}" dt="2024-03-11T14:26:37.976" v="24101"/>
          <ac:spMkLst>
            <pc:docMk/>
            <pc:sldMk cId="4229434319" sldId="941"/>
            <ac:spMk id="24" creationId="{D6AA42A8-019F-0942-66AC-77CA4B5D951C}"/>
          </ac:spMkLst>
        </pc:spChg>
        <pc:spChg chg="mod">
          <ac:chgData name="Nataliia Chornii (UA)" userId="4e4b8b3d-5f31-49bb-9f80-8a25c04abfff" providerId="ADAL" clId="{EE97D3FE-9ACA-4467-98E5-532EC45D9D1C}" dt="2024-03-11T14:26:37.976" v="24101"/>
          <ac:spMkLst>
            <pc:docMk/>
            <pc:sldMk cId="4229434319" sldId="941"/>
            <ac:spMk id="25" creationId="{5A47F367-68E7-E3E7-60DB-86B0D7DFB740}"/>
          </ac:spMkLst>
        </pc:spChg>
        <pc:spChg chg="del">
          <ac:chgData name="Nataliia Chornii (UA)" userId="4e4b8b3d-5f31-49bb-9f80-8a25c04abfff" providerId="ADAL" clId="{EE97D3FE-9ACA-4467-98E5-532EC45D9D1C}" dt="2024-03-04T09:43:59.126" v="19493" actId="478"/>
          <ac:spMkLst>
            <pc:docMk/>
            <pc:sldMk cId="4229434319" sldId="941"/>
            <ac:spMk id="25" creationId="{5EF755D9-3B19-3121-7148-7B4F37248EA8}"/>
          </ac:spMkLst>
        </pc:spChg>
        <pc:spChg chg="mod">
          <ac:chgData name="Nataliia Chornii (UA)" userId="4e4b8b3d-5f31-49bb-9f80-8a25c04abfff" providerId="ADAL" clId="{EE97D3FE-9ACA-4467-98E5-532EC45D9D1C}" dt="2024-03-11T14:26:37.976" v="24101"/>
          <ac:spMkLst>
            <pc:docMk/>
            <pc:sldMk cId="4229434319" sldId="941"/>
            <ac:spMk id="26" creationId="{6E91B1A6-011A-C8A2-100C-1CBD3D8676F3}"/>
          </ac:spMkLst>
        </pc:spChg>
        <pc:spChg chg="del">
          <ac:chgData name="Nataliia Chornii (UA)" userId="4e4b8b3d-5f31-49bb-9f80-8a25c04abfff" providerId="ADAL" clId="{EE97D3FE-9ACA-4467-98E5-532EC45D9D1C}" dt="2024-03-04T09:43:57.517" v="19491" actId="478"/>
          <ac:spMkLst>
            <pc:docMk/>
            <pc:sldMk cId="4229434319" sldId="941"/>
            <ac:spMk id="26" creationId="{D3B06146-D695-C0D1-DE10-612BD2266EB5}"/>
          </ac:spMkLst>
        </pc:spChg>
        <pc:spChg chg="mod">
          <ac:chgData name="Nataliia Chornii (UA)" userId="4e4b8b3d-5f31-49bb-9f80-8a25c04abfff" providerId="ADAL" clId="{EE97D3FE-9ACA-4467-98E5-532EC45D9D1C}" dt="2024-03-11T14:26:37.976" v="24101"/>
          <ac:spMkLst>
            <pc:docMk/>
            <pc:sldMk cId="4229434319" sldId="941"/>
            <ac:spMk id="27" creationId="{3767178A-9D12-B617-5C43-E145B6E64442}"/>
          </ac:spMkLst>
        </pc:spChg>
        <pc:spChg chg="del">
          <ac:chgData name="Nataliia Chornii (UA)" userId="4e4b8b3d-5f31-49bb-9f80-8a25c04abfff" providerId="ADAL" clId="{EE97D3FE-9ACA-4467-98E5-532EC45D9D1C}" dt="2024-03-04T09:43:57.517" v="19491" actId="478"/>
          <ac:spMkLst>
            <pc:docMk/>
            <pc:sldMk cId="4229434319" sldId="941"/>
            <ac:spMk id="27" creationId="{C67C067A-BA44-E473-03E2-74C4CDD50A4F}"/>
          </ac:spMkLst>
        </pc:spChg>
        <pc:spChg chg="mod">
          <ac:chgData name="Nataliia Chornii (UA)" userId="4e4b8b3d-5f31-49bb-9f80-8a25c04abfff" providerId="ADAL" clId="{EE97D3FE-9ACA-4467-98E5-532EC45D9D1C}" dt="2024-03-11T14:26:37.976" v="24101"/>
          <ac:spMkLst>
            <pc:docMk/>
            <pc:sldMk cId="4229434319" sldId="941"/>
            <ac:spMk id="28" creationId="{7CC82735-8661-F15B-80E1-5083D6501266}"/>
          </ac:spMkLst>
        </pc:spChg>
        <pc:spChg chg="del">
          <ac:chgData name="Nataliia Chornii (UA)" userId="4e4b8b3d-5f31-49bb-9f80-8a25c04abfff" providerId="ADAL" clId="{EE97D3FE-9ACA-4467-98E5-532EC45D9D1C}" dt="2024-03-04T09:43:57.517" v="19491" actId="478"/>
          <ac:spMkLst>
            <pc:docMk/>
            <pc:sldMk cId="4229434319" sldId="941"/>
            <ac:spMk id="28" creationId="{E6632A91-C990-C64C-6F5B-FCB2451BD5A7}"/>
          </ac:spMkLst>
        </pc:spChg>
        <pc:spChg chg="add mod">
          <ac:chgData name="Nataliia Chornii (UA)" userId="4e4b8b3d-5f31-49bb-9f80-8a25c04abfff" providerId="ADAL" clId="{EE97D3FE-9ACA-4467-98E5-532EC45D9D1C}" dt="2024-03-11T14:31:45.107" v="24348"/>
          <ac:spMkLst>
            <pc:docMk/>
            <pc:sldMk cId="4229434319" sldId="941"/>
            <ac:spMk id="29" creationId="{10CF8497-44F6-D4A2-BC21-9718267BF46C}"/>
          </ac:spMkLst>
        </pc:spChg>
        <pc:spChg chg="del">
          <ac:chgData name="Nataliia Chornii (UA)" userId="4e4b8b3d-5f31-49bb-9f80-8a25c04abfff" providerId="ADAL" clId="{EE97D3FE-9ACA-4467-98E5-532EC45D9D1C}" dt="2024-03-04T09:43:57.517" v="19491" actId="478"/>
          <ac:spMkLst>
            <pc:docMk/>
            <pc:sldMk cId="4229434319" sldId="941"/>
            <ac:spMk id="29" creationId="{69C14E03-FCEC-D42E-5785-FE3FD67A2269}"/>
          </ac:spMkLst>
        </pc:spChg>
        <pc:spChg chg="del">
          <ac:chgData name="Nataliia Chornii (UA)" userId="4e4b8b3d-5f31-49bb-9f80-8a25c04abfff" providerId="ADAL" clId="{EE97D3FE-9ACA-4467-98E5-532EC45D9D1C}" dt="2024-03-04T09:43:57.517" v="19491" actId="478"/>
          <ac:spMkLst>
            <pc:docMk/>
            <pc:sldMk cId="4229434319" sldId="941"/>
            <ac:spMk id="30" creationId="{AD97BBB0-7D2A-0CBE-6249-FB26EF157720}"/>
          </ac:spMkLst>
        </pc:spChg>
        <pc:spChg chg="add del mod modVis">
          <ac:chgData name="Nataliia Chornii (UA)" userId="4e4b8b3d-5f31-49bb-9f80-8a25c04abfff" providerId="ADAL" clId="{EE97D3FE-9ACA-4467-98E5-532EC45D9D1C}" dt="2024-03-11T14:31:47.684" v="24373"/>
          <ac:spMkLst>
            <pc:docMk/>
            <pc:sldMk cId="4229434319" sldId="941"/>
            <ac:spMk id="30" creationId="{B24F8582-2ECB-08C5-48BF-0F19D0028727}"/>
          </ac:spMkLst>
        </pc:spChg>
        <pc:spChg chg="add mod">
          <ac:chgData name="Nataliia Chornii (UA)" userId="4e4b8b3d-5f31-49bb-9f80-8a25c04abfff" providerId="ADAL" clId="{EE97D3FE-9ACA-4467-98E5-532EC45D9D1C}" dt="2024-03-11T14:32:30.949" v="24393" actId="553"/>
          <ac:spMkLst>
            <pc:docMk/>
            <pc:sldMk cId="4229434319" sldId="941"/>
            <ac:spMk id="31" creationId="{6C40605B-972D-274D-B9C5-B49D58BC4487}"/>
          </ac:spMkLst>
        </pc:spChg>
        <pc:spChg chg="del">
          <ac:chgData name="Nataliia Chornii (UA)" userId="4e4b8b3d-5f31-49bb-9f80-8a25c04abfff" providerId="ADAL" clId="{EE97D3FE-9ACA-4467-98E5-532EC45D9D1C}" dt="2024-03-04T09:43:57.517" v="19491" actId="478"/>
          <ac:spMkLst>
            <pc:docMk/>
            <pc:sldMk cId="4229434319" sldId="941"/>
            <ac:spMk id="31" creationId="{AE1F2CF7-12B2-2C61-02F4-8E90DCAB95C7}"/>
          </ac:spMkLst>
        </pc:spChg>
        <pc:spChg chg="del">
          <ac:chgData name="Nataliia Chornii (UA)" userId="4e4b8b3d-5f31-49bb-9f80-8a25c04abfff" providerId="ADAL" clId="{EE97D3FE-9ACA-4467-98E5-532EC45D9D1C}" dt="2024-03-04T09:43:57.517" v="19491" actId="478"/>
          <ac:spMkLst>
            <pc:docMk/>
            <pc:sldMk cId="4229434319" sldId="941"/>
            <ac:spMk id="32" creationId="{AA14433E-3F38-54C2-3C19-F70FDD5BB4F8}"/>
          </ac:spMkLst>
        </pc:spChg>
        <pc:spChg chg="del">
          <ac:chgData name="Nataliia Chornii (UA)" userId="4e4b8b3d-5f31-49bb-9f80-8a25c04abfff" providerId="ADAL" clId="{EE97D3FE-9ACA-4467-98E5-532EC45D9D1C}" dt="2024-03-04T09:43:57.517" v="19491" actId="478"/>
          <ac:spMkLst>
            <pc:docMk/>
            <pc:sldMk cId="4229434319" sldId="941"/>
            <ac:spMk id="33" creationId="{F92B9C6C-8C5B-AC82-5DDC-E8DB5ABA08D5}"/>
          </ac:spMkLst>
        </pc:spChg>
        <pc:spChg chg="add del mod">
          <ac:chgData name="Nataliia Chornii (UA)" userId="4e4b8b3d-5f31-49bb-9f80-8a25c04abfff" providerId="ADAL" clId="{EE97D3FE-9ACA-4467-98E5-532EC45D9D1C}" dt="2024-03-04T10:57:29.034" v="21084"/>
          <ac:spMkLst>
            <pc:docMk/>
            <pc:sldMk cId="4229434319" sldId="941"/>
            <ac:spMk id="34" creationId="{8F672AE7-0DDD-3274-E002-1DF4267A07E0}"/>
          </ac:spMkLst>
        </pc:spChg>
        <pc:spChg chg="del mod ord">
          <ac:chgData name="Nataliia Chornii (UA)" userId="4e4b8b3d-5f31-49bb-9f80-8a25c04abfff" providerId="ADAL" clId="{EE97D3FE-9ACA-4467-98E5-532EC45D9D1C}" dt="2024-03-04T09:44:29.004" v="19714" actId="478"/>
          <ac:spMkLst>
            <pc:docMk/>
            <pc:sldMk cId="4229434319" sldId="941"/>
            <ac:spMk id="35" creationId="{4F177113-0781-5137-1CD7-3B2F5D62C022}"/>
          </ac:spMkLst>
        </pc:spChg>
        <pc:spChg chg="mod ord">
          <ac:chgData name="Nataliia Chornii (UA)" userId="4e4b8b3d-5f31-49bb-9f80-8a25c04abfff" providerId="ADAL" clId="{EE97D3FE-9ACA-4467-98E5-532EC45D9D1C}" dt="2024-03-11T14:32:05.309" v="24377" actId="14100"/>
          <ac:spMkLst>
            <pc:docMk/>
            <pc:sldMk cId="4229434319" sldId="941"/>
            <ac:spMk id="36" creationId="{A8F39C25-781C-A7DA-387A-D92FCABEE1F5}"/>
          </ac:spMkLst>
        </pc:spChg>
        <pc:spChg chg="add mod">
          <ac:chgData name="Nataliia Chornii (UA)" userId="4e4b8b3d-5f31-49bb-9f80-8a25c04abfff" providerId="ADAL" clId="{EE97D3FE-9ACA-4467-98E5-532EC45D9D1C}" dt="2024-03-11T14:32:13.392" v="24379" actId="1076"/>
          <ac:spMkLst>
            <pc:docMk/>
            <pc:sldMk cId="4229434319" sldId="941"/>
            <ac:spMk id="37" creationId="{E30F7D34-DADA-8F5C-B87F-33FA0FE4040C}"/>
          </ac:spMkLst>
        </pc:spChg>
        <pc:spChg chg="mod ord">
          <ac:chgData name="Nataliia Chornii (UA)" userId="4e4b8b3d-5f31-49bb-9f80-8a25c04abfff" providerId="ADAL" clId="{EE97D3FE-9ACA-4467-98E5-532EC45D9D1C}" dt="2024-03-11T14:32:05.309" v="24377" actId="14100"/>
          <ac:spMkLst>
            <pc:docMk/>
            <pc:sldMk cId="4229434319" sldId="941"/>
            <ac:spMk id="38" creationId="{7B1F3CCD-2DE1-C2A8-D340-EAF5B3993679}"/>
          </ac:spMkLst>
        </pc:spChg>
        <pc:spChg chg="mod">
          <ac:chgData name="Nataliia Chornii (UA)" userId="4e4b8b3d-5f31-49bb-9f80-8a25c04abfff" providerId="ADAL" clId="{EE97D3FE-9ACA-4467-98E5-532EC45D9D1C}" dt="2024-03-04T11:03:48.197" v="21703"/>
          <ac:spMkLst>
            <pc:docMk/>
            <pc:sldMk cId="4229434319" sldId="941"/>
            <ac:spMk id="40" creationId="{939AFD7E-CE7C-68BB-2CB0-9DE736774427}"/>
          </ac:spMkLst>
        </pc:spChg>
        <pc:spChg chg="mod">
          <ac:chgData name="Nataliia Chornii (UA)" userId="4e4b8b3d-5f31-49bb-9f80-8a25c04abfff" providerId="ADAL" clId="{EE97D3FE-9ACA-4467-98E5-532EC45D9D1C}" dt="2024-03-04T11:03:48.197" v="21703"/>
          <ac:spMkLst>
            <pc:docMk/>
            <pc:sldMk cId="4229434319" sldId="941"/>
            <ac:spMk id="41" creationId="{3CCBB661-91D3-721F-B441-B5554103118F}"/>
          </ac:spMkLst>
        </pc:spChg>
        <pc:spChg chg="mod">
          <ac:chgData name="Nataliia Chornii (UA)" userId="4e4b8b3d-5f31-49bb-9f80-8a25c04abfff" providerId="ADAL" clId="{EE97D3FE-9ACA-4467-98E5-532EC45D9D1C}" dt="2024-03-04T11:03:48.197" v="21703"/>
          <ac:spMkLst>
            <pc:docMk/>
            <pc:sldMk cId="4229434319" sldId="941"/>
            <ac:spMk id="42" creationId="{1C3D77FE-2050-57C5-699B-E23D89EE4D9F}"/>
          </ac:spMkLst>
        </pc:spChg>
        <pc:grpChg chg="add mod">
          <ac:chgData name="Nataliia Chornii (UA)" userId="4e4b8b3d-5f31-49bb-9f80-8a25c04abfff" providerId="ADAL" clId="{EE97D3FE-9ACA-4467-98E5-532EC45D9D1C}" dt="2024-03-11T14:26:37.976" v="24101"/>
          <ac:grpSpMkLst>
            <pc:docMk/>
            <pc:sldMk cId="4229434319" sldId="941"/>
            <ac:grpSpMk id="20" creationId="{1476811F-6F80-556F-F119-B8BF7156FE00}"/>
          </ac:grpSpMkLst>
        </pc:grpChg>
        <pc:grpChg chg="add mod">
          <ac:chgData name="Nataliia Chornii (UA)" userId="4e4b8b3d-5f31-49bb-9f80-8a25c04abfff" providerId="ADAL" clId="{EE97D3FE-9ACA-4467-98E5-532EC45D9D1C}" dt="2024-03-11T14:32:10.174" v="24378" actId="1076"/>
          <ac:grpSpMkLst>
            <pc:docMk/>
            <pc:sldMk cId="4229434319" sldId="941"/>
            <ac:grpSpMk id="39" creationId="{A33A8691-5AD1-2CF8-9C5D-C16FB49C59A3}"/>
          </ac:grpSpMkLst>
        </pc:grpChg>
        <pc:graphicFrameChg chg="mod">
          <ac:chgData name="Nataliia Chornii (UA)" userId="4e4b8b3d-5f31-49bb-9f80-8a25c04abfff" providerId="ADAL" clId="{EE97D3FE-9ACA-4467-98E5-532EC45D9D1C}" dt="2024-03-11T14:32:29.132" v="24391"/>
          <ac:graphicFrameMkLst>
            <pc:docMk/>
            <pc:sldMk cId="4229434319" sldId="941"/>
            <ac:graphicFrameMk id="9" creationId="{D9E6BB6A-4571-FBF8-9A7D-06ADE4374D4D}"/>
          </ac:graphicFrameMkLst>
        </pc:graphicFrame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11T14:31:45.107" v="24348"/>
              <pc2:cmMkLst xmlns:pc2="http://schemas.microsoft.com/office/powerpoint/2019/9/main/command">
                <pc:docMk/>
                <pc:sldMk cId="4229434319" sldId="941"/>
                <pc2:cmMk id="{8590AEC1-A34A-45D3-8F8B-CA9F66F14848}"/>
              </pc2:cmMkLst>
            </pc226:cmChg>
            <pc226:cmChg xmlns:pc226="http://schemas.microsoft.com/office/powerpoint/2022/06/main/command" chg="mod">
              <pc226:chgData name="Nataliia Chornii (UA)" userId="4e4b8b3d-5f31-49bb-9f80-8a25c04abfff" providerId="ADAL" clId="{EE97D3FE-9ACA-4467-98E5-532EC45D9D1C}" dt="2024-03-04T12:43:32.003" v="22452"/>
              <pc2:cmMkLst xmlns:pc2="http://schemas.microsoft.com/office/powerpoint/2019/9/main/command">
                <pc:docMk/>
                <pc:sldMk cId="4229434319" sldId="941"/>
                <pc2:cmMk id="{BDB956F7-3AF8-48A2-B57C-3B87C2A3F5EC}"/>
              </pc2:cmMkLst>
            </pc226:cmChg>
          </p:ext>
        </pc:extLst>
      </pc:sldChg>
      <pc:sldChg chg="addSp delSp modSp mod modCm">
        <pc:chgData name="Nataliia Chornii (UA)" userId="4e4b8b3d-5f31-49bb-9f80-8a25c04abfff" providerId="ADAL" clId="{EE97D3FE-9ACA-4467-98E5-532EC45D9D1C}" dt="2024-03-11T14:33:10.663" v="24478"/>
        <pc:sldMkLst>
          <pc:docMk/>
          <pc:sldMk cId="3615584869" sldId="942"/>
        </pc:sldMkLst>
        <pc:spChg chg="add mod">
          <ac:chgData name="Nataliia Chornii (UA)" userId="4e4b8b3d-5f31-49bb-9f80-8a25c04abfff" providerId="ADAL" clId="{EE97D3FE-9ACA-4467-98E5-532EC45D9D1C}" dt="2024-03-11T14:26:41.150" v="24102"/>
          <ac:spMkLst>
            <pc:docMk/>
            <pc:sldMk cId="3615584869" sldId="942"/>
            <ac:spMk id="2" creationId="{8EE1DE98-DB4B-314F-4BB5-97B8B97A8B14}"/>
          </ac:spMkLst>
        </pc:spChg>
        <pc:spChg chg="del mod ord">
          <ac:chgData name="Nataliia Chornii (UA)" userId="4e4b8b3d-5f31-49bb-9f80-8a25c04abfff" providerId="ADAL" clId="{EE97D3FE-9ACA-4467-98E5-532EC45D9D1C}" dt="2024-03-04T11:02:36.580" v="21702" actId="478"/>
          <ac:spMkLst>
            <pc:docMk/>
            <pc:sldMk cId="3615584869" sldId="942"/>
            <ac:spMk id="2" creationId="{F6B088C4-896F-0BB6-190E-567264B27E74}"/>
          </ac:spMkLst>
        </pc:spChg>
        <pc:spChg chg="mod ord">
          <ac:chgData name="Nataliia Chornii (UA)" userId="4e4b8b3d-5f31-49bb-9f80-8a25c04abfff" providerId="ADAL" clId="{EE97D3FE-9ACA-4467-98E5-532EC45D9D1C}" dt="2024-03-11T14:33:10.630" v="24453" actId="948"/>
          <ac:spMkLst>
            <pc:docMk/>
            <pc:sldMk cId="3615584869" sldId="942"/>
            <ac:spMk id="3" creationId="{F4CCF02E-F3C4-C376-8F56-61BD85A2E74B}"/>
          </ac:spMkLst>
        </pc:spChg>
        <pc:spChg chg="mod ord">
          <ac:chgData name="Nataliia Chornii (UA)" userId="4e4b8b3d-5f31-49bb-9f80-8a25c04abfff" providerId="ADAL" clId="{EE97D3FE-9ACA-4467-98E5-532EC45D9D1C}" dt="2024-03-04T12:33:46.182" v="21751"/>
          <ac:spMkLst>
            <pc:docMk/>
            <pc:sldMk cId="3615584869" sldId="942"/>
            <ac:spMk id="4" creationId="{872966CD-924A-B939-E655-A6BAF817DCBF}"/>
          </ac:spMkLst>
        </pc:spChg>
        <pc:spChg chg="del mod ord">
          <ac:chgData name="Nataliia Chornii (UA)" userId="4e4b8b3d-5f31-49bb-9f80-8a25c04abfff" providerId="ADAL" clId="{EE97D3FE-9ACA-4467-98E5-532EC45D9D1C}" dt="2024-03-04T10:59:46.518" v="21378" actId="478"/>
          <ac:spMkLst>
            <pc:docMk/>
            <pc:sldMk cId="3615584869" sldId="942"/>
            <ac:spMk id="5" creationId="{729A689A-717A-CEB0-A1F7-C7FBD27BC821}"/>
          </ac:spMkLst>
        </pc:spChg>
        <pc:spChg chg="mod ord">
          <ac:chgData name="Nataliia Chornii (UA)" userId="4e4b8b3d-5f31-49bb-9f80-8a25c04abfff" providerId="ADAL" clId="{EE97D3FE-9ACA-4467-98E5-532EC45D9D1C}" dt="2024-03-04T12:34:14.452" v="21824" actId="20577"/>
          <ac:spMkLst>
            <pc:docMk/>
            <pc:sldMk cId="3615584869" sldId="942"/>
            <ac:spMk id="6" creationId="{9FCB5464-71C0-8D26-F8EA-D639E3AD3942}"/>
          </ac:spMkLst>
        </pc:spChg>
        <pc:spChg chg="mod ord">
          <ac:chgData name="Nataliia Chornii (UA)" userId="4e4b8b3d-5f31-49bb-9f80-8a25c04abfff" providerId="ADAL" clId="{EE97D3FE-9ACA-4467-98E5-532EC45D9D1C}" dt="2024-03-04T12:33:46.182" v="21761"/>
          <ac:spMkLst>
            <pc:docMk/>
            <pc:sldMk cId="3615584869" sldId="942"/>
            <ac:spMk id="7" creationId="{131CF737-7F8A-F69F-9074-8E1795165146}"/>
          </ac:spMkLst>
        </pc:spChg>
        <pc:spChg chg="mod ord">
          <ac:chgData name="Nataliia Chornii (UA)" userId="4e4b8b3d-5f31-49bb-9f80-8a25c04abfff" providerId="ADAL" clId="{EE97D3FE-9ACA-4467-98E5-532EC45D9D1C}" dt="2024-03-04T12:33:46.182" v="21763"/>
          <ac:spMkLst>
            <pc:docMk/>
            <pc:sldMk cId="3615584869" sldId="942"/>
            <ac:spMk id="8" creationId="{DE394745-7D20-7CFE-FA0E-311E6546C320}"/>
          </ac:spMkLst>
        </pc:spChg>
        <pc:spChg chg="mod ord">
          <ac:chgData name="Nataliia Chornii (UA)" userId="4e4b8b3d-5f31-49bb-9f80-8a25c04abfff" providerId="ADAL" clId="{EE97D3FE-9ACA-4467-98E5-532EC45D9D1C}" dt="2024-03-04T12:33:46.182" v="21765"/>
          <ac:spMkLst>
            <pc:docMk/>
            <pc:sldMk cId="3615584869" sldId="942"/>
            <ac:spMk id="10" creationId="{CEB10E6B-E2C2-E173-D397-F7696E76B2B3}"/>
          </ac:spMkLst>
        </pc:spChg>
        <pc:spChg chg="del mod ord">
          <ac:chgData name="Nataliia Chornii (UA)" userId="4e4b8b3d-5f31-49bb-9f80-8a25c04abfff" providerId="ADAL" clId="{EE97D3FE-9ACA-4467-98E5-532EC45D9D1C}" dt="2024-03-04T10:59:46.518" v="21378" actId="478"/>
          <ac:spMkLst>
            <pc:docMk/>
            <pc:sldMk cId="3615584869" sldId="942"/>
            <ac:spMk id="11" creationId="{67F9DE6C-0200-93AD-A9AC-A39DC86C8387}"/>
          </ac:spMkLst>
        </pc:spChg>
        <pc:spChg chg="mod">
          <ac:chgData name="Nataliia Chornii (UA)" userId="4e4b8b3d-5f31-49bb-9f80-8a25c04abfff" providerId="ADAL" clId="{EE97D3FE-9ACA-4467-98E5-532EC45D9D1C}" dt="2024-03-11T14:26:41.150" v="24102"/>
          <ac:spMkLst>
            <pc:docMk/>
            <pc:sldMk cId="3615584869" sldId="942"/>
            <ac:spMk id="11" creationId="{FC80916A-4E1C-C852-5A1F-FCD06808413F}"/>
          </ac:spMkLst>
        </pc:spChg>
        <pc:spChg chg="mod ord">
          <ac:chgData name="Nataliia Chornii (UA)" userId="4e4b8b3d-5f31-49bb-9f80-8a25c04abfff" providerId="ADAL" clId="{EE97D3FE-9ACA-4467-98E5-532EC45D9D1C}" dt="2024-03-04T12:34:15.292" v="21825" actId="20577"/>
          <ac:spMkLst>
            <pc:docMk/>
            <pc:sldMk cId="3615584869" sldId="942"/>
            <ac:spMk id="12" creationId="{BCD23311-41AD-9807-EF29-568FF837616E}"/>
          </ac:spMkLst>
        </pc:spChg>
        <pc:spChg chg="mod ord">
          <ac:chgData name="Nataliia Chornii (UA)" userId="4e4b8b3d-5f31-49bb-9f80-8a25c04abfff" providerId="ADAL" clId="{EE97D3FE-9ACA-4467-98E5-532EC45D9D1C}" dt="2024-03-04T12:33:46.182" v="21769"/>
          <ac:spMkLst>
            <pc:docMk/>
            <pc:sldMk cId="3615584869" sldId="942"/>
            <ac:spMk id="13" creationId="{71ED36E5-E465-D1F1-1E45-A8813A4B5D7F}"/>
          </ac:spMkLst>
        </pc:spChg>
        <pc:spChg chg="mod ord">
          <ac:chgData name="Nataliia Chornii (UA)" userId="4e4b8b3d-5f31-49bb-9f80-8a25c04abfff" providerId="ADAL" clId="{EE97D3FE-9ACA-4467-98E5-532EC45D9D1C}" dt="2024-03-04T12:33:46.182" v="21771"/>
          <ac:spMkLst>
            <pc:docMk/>
            <pc:sldMk cId="3615584869" sldId="942"/>
            <ac:spMk id="14" creationId="{259DB89D-0663-813E-2C04-0B4D674C635D}"/>
          </ac:spMkLst>
        </pc:spChg>
        <pc:spChg chg="mod ord">
          <ac:chgData name="Nataliia Chornii (UA)" userId="4e4b8b3d-5f31-49bb-9f80-8a25c04abfff" providerId="ADAL" clId="{EE97D3FE-9ACA-4467-98E5-532EC45D9D1C}" dt="2024-03-04T12:33:46.182" v="21773"/>
          <ac:spMkLst>
            <pc:docMk/>
            <pc:sldMk cId="3615584869" sldId="942"/>
            <ac:spMk id="15" creationId="{CD0345AC-E5CC-E9A5-9519-EA39D36AEABB}"/>
          </ac:spMkLst>
        </pc:spChg>
        <pc:spChg chg="mod ord">
          <ac:chgData name="Nataliia Chornii (UA)" userId="4e4b8b3d-5f31-49bb-9f80-8a25c04abfff" providerId="ADAL" clId="{EE97D3FE-9ACA-4467-98E5-532EC45D9D1C}" dt="2024-03-04T12:33:46.182" v="21753"/>
          <ac:spMkLst>
            <pc:docMk/>
            <pc:sldMk cId="3615584869" sldId="942"/>
            <ac:spMk id="16" creationId="{30819613-CE74-49B6-0807-44FDBB81D466}"/>
          </ac:spMkLst>
        </pc:spChg>
        <pc:spChg chg="mod">
          <ac:chgData name="Nataliia Chornii (UA)" userId="4e4b8b3d-5f31-49bb-9f80-8a25c04abfff" providerId="ADAL" clId="{EE97D3FE-9ACA-4467-98E5-532EC45D9D1C}" dt="2024-03-11T14:26:41.150" v="24102"/>
          <ac:spMkLst>
            <pc:docMk/>
            <pc:sldMk cId="3615584869" sldId="942"/>
            <ac:spMk id="17" creationId="{3CBF9FF9-CE66-F27C-3983-148FD1147DB6}"/>
          </ac:spMkLst>
        </pc:spChg>
        <pc:spChg chg="add del mod ord">
          <ac:chgData name="Nataliia Chornii (UA)" userId="4e4b8b3d-5f31-49bb-9f80-8a25c04abfff" providerId="ADAL" clId="{EE97D3FE-9ACA-4467-98E5-532EC45D9D1C}" dt="2024-03-04T10:59:38.018" v="21285"/>
          <ac:spMkLst>
            <pc:docMk/>
            <pc:sldMk cId="3615584869" sldId="942"/>
            <ac:spMk id="17" creationId="{4AEAFA8B-7A08-BFE4-6643-1938BF8A0884}"/>
          </ac:spMkLst>
        </pc:spChg>
        <pc:spChg chg="mod ord">
          <ac:chgData name="Nataliia Chornii (UA)" userId="4e4b8b3d-5f31-49bb-9f80-8a25c04abfff" providerId="ADAL" clId="{EE97D3FE-9ACA-4467-98E5-532EC45D9D1C}" dt="2024-03-04T12:33:46.182" v="21755"/>
          <ac:spMkLst>
            <pc:docMk/>
            <pc:sldMk cId="3615584869" sldId="942"/>
            <ac:spMk id="18" creationId="{E1D4AC8F-0322-E8A8-E509-5AF71473A8F4}"/>
          </ac:spMkLst>
        </pc:spChg>
        <pc:spChg chg="mod">
          <ac:chgData name="Nataliia Chornii (UA)" userId="4e4b8b3d-5f31-49bb-9f80-8a25c04abfff" providerId="ADAL" clId="{EE97D3FE-9ACA-4467-98E5-532EC45D9D1C}" dt="2024-03-11T14:26:41.150" v="24102"/>
          <ac:spMkLst>
            <pc:docMk/>
            <pc:sldMk cId="3615584869" sldId="942"/>
            <ac:spMk id="19" creationId="{42B06607-CE59-8BC6-31F5-F13D2467D138}"/>
          </ac:spMkLst>
        </pc:spChg>
        <pc:spChg chg="add del mod ord">
          <ac:chgData name="Nataliia Chornii (UA)" userId="4e4b8b3d-5f31-49bb-9f80-8a25c04abfff" providerId="ADAL" clId="{EE97D3FE-9ACA-4467-98E5-532EC45D9D1C}" dt="2024-03-04T10:59:38.018" v="21285"/>
          <ac:spMkLst>
            <pc:docMk/>
            <pc:sldMk cId="3615584869" sldId="942"/>
            <ac:spMk id="19" creationId="{FEE47A33-6503-7BF9-157C-EC426E57E03D}"/>
          </ac:spMkLst>
        </pc:spChg>
        <pc:spChg chg="add del mod ord">
          <ac:chgData name="Nataliia Chornii (UA)" userId="4e4b8b3d-5f31-49bb-9f80-8a25c04abfff" providerId="ADAL" clId="{EE97D3FE-9ACA-4467-98E5-532EC45D9D1C}" dt="2024-03-04T10:59:38.018" v="21285"/>
          <ac:spMkLst>
            <pc:docMk/>
            <pc:sldMk cId="3615584869" sldId="942"/>
            <ac:spMk id="20" creationId="{80BDEFCF-4EB9-9FAC-EFB9-FADB2FC0A438}"/>
          </ac:spMkLst>
        </pc:spChg>
        <pc:spChg chg="mod">
          <ac:chgData name="Nataliia Chornii (UA)" userId="4e4b8b3d-5f31-49bb-9f80-8a25c04abfff" providerId="ADAL" clId="{EE97D3FE-9ACA-4467-98E5-532EC45D9D1C}" dt="2024-03-11T14:26:41.150" v="24102"/>
          <ac:spMkLst>
            <pc:docMk/>
            <pc:sldMk cId="3615584869" sldId="942"/>
            <ac:spMk id="20" creationId="{B964C889-4B51-94FD-4838-B65EE3CC3550}"/>
          </ac:spMkLst>
        </pc:spChg>
        <pc:spChg chg="mod">
          <ac:chgData name="Nataliia Chornii (UA)" userId="4e4b8b3d-5f31-49bb-9f80-8a25c04abfff" providerId="ADAL" clId="{EE97D3FE-9ACA-4467-98E5-532EC45D9D1C}" dt="2024-03-11T14:26:41.150" v="24102"/>
          <ac:spMkLst>
            <pc:docMk/>
            <pc:sldMk cId="3615584869" sldId="942"/>
            <ac:spMk id="21" creationId="{524A36D9-CDA9-267C-D8E2-BF523BC61635}"/>
          </ac:spMkLst>
        </pc:spChg>
        <pc:spChg chg="add del mod ord">
          <ac:chgData name="Nataliia Chornii (UA)" userId="4e4b8b3d-5f31-49bb-9f80-8a25c04abfff" providerId="ADAL" clId="{EE97D3FE-9ACA-4467-98E5-532EC45D9D1C}" dt="2024-03-04T10:59:38.018" v="21285"/>
          <ac:spMkLst>
            <pc:docMk/>
            <pc:sldMk cId="3615584869" sldId="942"/>
            <ac:spMk id="21" creationId="{B4ADCF57-262B-3537-4FC0-8EF66C128EA3}"/>
          </ac:spMkLst>
        </pc:spChg>
        <pc:spChg chg="mod">
          <ac:chgData name="Nataliia Chornii (UA)" userId="4e4b8b3d-5f31-49bb-9f80-8a25c04abfff" providerId="ADAL" clId="{EE97D3FE-9ACA-4467-98E5-532EC45D9D1C}" dt="2024-03-11T14:26:41.150" v="24102"/>
          <ac:spMkLst>
            <pc:docMk/>
            <pc:sldMk cId="3615584869" sldId="942"/>
            <ac:spMk id="22" creationId="{129B7FCA-C72E-91DE-8C50-F8B321431778}"/>
          </ac:spMkLst>
        </pc:spChg>
        <pc:spChg chg="add del mod ord">
          <ac:chgData name="Nataliia Chornii (UA)" userId="4e4b8b3d-5f31-49bb-9f80-8a25c04abfff" providerId="ADAL" clId="{EE97D3FE-9ACA-4467-98E5-532EC45D9D1C}" dt="2024-03-04T10:59:38.018" v="21285"/>
          <ac:spMkLst>
            <pc:docMk/>
            <pc:sldMk cId="3615584869" sldId="942"/>
            <ac:spMk id="22" creationId="{2767FCED-8FF7-3803-1583-919E301D03F9}"/>
          </ac:spMkLst>
        </pc:spChg>
        <pc:spChg chg="del mod ord">
          <ac:chgData name="Nataliia Chornii (UA)" userId="4e4b8b3d-5f31-49bb-9f80-8a25c04abfff" providerId="ADAL" clId="{EE97D3FE-9ACA-4467-98E5-532EC45D9D1C}" dt="2024-03-11T14:33:09.245" v="24451" actId="478"/>
          <ac:spMkLst>
            <pc:docMk/>
            <pc:sldMk cId="3615584869" sldId="942"/>
            <ac:spMk id="23" creationId="{F0F92295-EBAE-39D7-7494-D9035179A285}"/>
          </ac:spMkLst>
        </pc:spChg>
        <pc:spChg chg="del mod ord">
          <ac:chgData name="Nataliia Chornii (UA)" userId="4e4b8b3d-5f31-49bb-9f80-8a25c04abfff" providerId="ADAL" clId="{EE97D3FE-9ACA-4467-98E5-532EC45D9D1C}" dt="2024-03-04T10:59:41.487" v="21288" actId="478"/>
          <ac:spMkLst>
            <pc:docMk/>
            <pc:sldMk cId="3615584869" sldId="942"/>
            <ac:spMk id="24" creationId="{6291F660-4399-3100-7AA6-1A96F2BE2FA0}"/>
          </ac:spMkLst>
        </pc:spChg>
        <pc:spChg chg="add del mod modVis">
          <ac:chgData name="Nataliia Chornii (UA)" userId="4e4b8b3d-5f31-49bb-9f80-8a25c04abfff" providerId="ADAL" clId="{EE97D3FE-9ACA-4467-98E5-532EC45D9D1C}" dt="2024-03-11T14:33:04.447" v="24444" actId="962"/>
          <ac:spMkLst>
            <pc:docMk/>
            <pc:sldMk cId="3615584869" sldId="942"/>
            <ac:spMk id="24" creationId="{CBA35F36-1817-0653-94CE-FD874AC79F6D}"/>
          </ac:spMkLst>
        </pc:spChg>
        <pc:spChg chg="del mod ord">
          <ac:chgData name="Nataliia Chornii (UA)" userId="4e4b8b3d-5f31-49bb-9f80-8a25c04abfff" providerId="ADAL" clId="{EE97D3FE-9ACA-4467-98E5-532EC45D9D1C}" dt="2024-03-04T10:59:40.842" v="21287" actId="478"/>
          <ac:spMkLst>
            <pc:docMk/>
            <pc:sldMk cId="3615584869" sldId="942"/>
            <ac:spMk id="25" creationId="{5EF755D9-3B19-3121-7148-7B4F37248EA8}"/>
          </ac:spMkLst>
        </pc:spChg>
        <pc:spChg chg="add mod">
          <ac:chgData name="Nataliia Chornii (UA)" userId="4e4b8b3d-5f31-49bb-9f80-8a25c04abfff" providerId="ADAL" clId="{EE97D3FE-9ACA-4467-98E5-532EC45D9D1C}" dt="2024-03-11T14:33:06.766" v="24450"/>
          <ac:spMkLst>
            <pc:docMk/>
            <pc:sldMk cId="3615584869" sldId="942"/>
            <ac:spMk id="25" creationId="{75EFC37F-1063-4F82-B810-0A2208C5BE0E}"/>
          </ac:spMkLst>
        </pc:spChg>
        <pc:spChg chg="add del mod modVis">
          <ac:chgData name="Nataliia Chornii (UA)" userId="4e4b8b3d-5f31-49bb-9f80-8a25c04abfff" providerId="ADAL" clId="{EE97D3FE-9ACA-4467-98E5-532EC45D9D1C}" dt="2024-03-11T14:33:10.663" v="24476"/>
          <ac:spMkLst>
            <pc:docMk/>
            <pc:sldMk cId="3615584869" sldId="942"/>
            <ac:spMk id="26" creationId="{20C98FCB-C633-04E7-6FB5-40D178C95063}"/>
          </ac:spMkLst>
        </pc:spChg>
        <pc:spChg chg="del mod ord">
          <ac:chgData name="Nataliia Chornii (UA)" userId="4e4b8b3d-5f31-49bb-9f80-8a25c04abfff" providerId="ADAL" clId="{EE97D3FE-9ACA-4467-98E5-532EC45D9D1C}" dt="2024-03-04T10:59:40.318" v="21286" actId="478"/>
          <ac:spMkLst>
            <pc:docMk/>
            <pc:sldMk cId="3615584869" sldId="942"/>
            <ac:spMk id="26" creationId="{D3B06146-D695-C0D1-DE10-612BD2266EB5}"/>
          </ac:spMkLst>
        </pc:spChg>
        <pc:spChg chg="del mod ord">
          <ac:chgData name="Nataliia Chornii (UA)" userId="4e4b8b3d-5f31-49bb-9f80-8a25c04abfff" providerId="ADAL" clId="{EE97D3FE-9ACA-4467-98E5-532EC45D9D1C}" dt="2024-03-04T10:59:40.318" v="21286" actId="478"/>
          <ac:spMkLst>
            <pc:docMk/>
            <pc:sldMk cId="3615584869" sldId="942"/>
            <ac:spMk id="27" creationId="{C67C067A-BA44-E473-03E2-74C4CDD50A4F}"/>
          </ac:spMkLst>
        </pc:spChg>
        <pc:spChg chg="del mod ord">
          <ac:chgData name="Nataliia Chornii (UA)" userId="4e4b8b3d-5f31-49bb-9f80-8a25c04abfff" providerId="ADAL" clId="{EE97D3FE-9ACA-4467-98E5-532EC45D9D1C}" dt="2024-03-04T10:59:40.318" v="21286" actId="478"/>
          <ac:spMkLst>
            <pc:docMk/>
            <pc:sldMk cId="3615584869" sldId="942"/>
            <ac:spMk id="28" creationId="{E6632A91-C990-C64C-6F5B-FCB2451BD5A7}"/>
          </ac:spMkLst>
        </pc:spChg>
        <pc:spChg chg="del mod ord">
          <ac:chgData name="Nataliia Chornii (UA)" userId="4e4b8b3d-5f31-49bb-9f80-8a25c04abfff" providerId="ADAL" clId="{EE97D3FE-9ACA-4467-98E5-532EC45D9D1C}" dt="2024-03-04T10:59:40.318" v="21286" actId="478"/>
          <ac:spMkLst>
            <pc:docMk/>
            <pc:sldMk cId="3615584869" sldId="942"/>
            <ac:spMk id="29" creationId="{69C14E03-FCEC-D42E-5785-FE3FD67A2269}"/>
          </ac:spMkLst>
        </pc:spChg>
        <pc:spChg chg="del mod ord">
          <ac:chgData name="Nataliia Chornii (UA)" userId="4e4b8b3d-5f31-49bb-9f80-8a25c04abfff" providerId="ADAL" clId="{EE97D3FE-9ACA-4467-98E5-532EC45D9D1C}" dt="2024-03-04T10:59:40.318" v="21286" actId="478"/>
          <ac:spMkLst>
            <pc:docMk/>
            <pc:sldMk cId="3615584869" sldId="942"/>
            <ac:spMk id="30" creationId="{AD97BBB0-7D2A-0CBE-6249-FB26EF157720}"/>
          </ac:spMkLst>
        </pc:spChg>
        <pc:spChg chg="del mod ord">
          <ac:chgData name="Nataliia Chornii (UA)" userId="4e4b8b3d-5f31-49bb-9f80-8a25c04abfff" providerId="ADAL" clId="{EE97D3FE-9ACA-4467-98E5-532EC45D9D1C}" dt="2024-03-04T10:59:40.318" v="21286" actId="478"/>
          <ac:spMkLst>
            <pc:docMk/>
            <pc:sldMk cId="3615584869" sldId="942"/>
            <ac:spMk id="31" creationId="{AE1F2CF7-12B2-2C61-02F4-8E90DCAB95C7}"/>
          </ac:spMkLst>
        </pc:spChg>
        <pc:spChg chg="del mod ord">
          <ac:chgData name="Nataliia Chornii (UA)" userId="4e4b8b3d-5f31-49bb-9f80-8a25c04abfff" providerId="ADAL" clId="{EE97D3FE-9ACA-4467-98E5-532EC45D9D1C}" dt="2024-03-04T10:59:40.318" v="21286" actId="478"/>
          <ac:spMkLst>
            <pc:docMk/>
            <pc:sldMk cId="3615584869" sldId="942"/>
            <ac:spMk id="32" creationId="{AA14433E-3F38-54C2-3C19-F70FDD5BB4F8}"/>
          </ac:spMkLst>
        </pc:spChg>
        <pc:spChg chg="del mod ord">
          <ac:chgData name="Nataliia Chornii (UA)" userId="4e4b8b3d-5f31-49bb-9f80-8a25c04abfff" providerId="ADAL" clId="{EE97D3FE-9ACA-4467-98E5-532EC45D9D1C}" dt="2024-03-04T10:59:40.318" v="21286" actId="478"/>
          <ac:spMkLst>
            <pc:docMk/>
            <pc:sldMk cId="3615584869" sldId="942"/>
            <ac:spMk id="33" creationId="{F92B9C6C-8C5B-AC82-5DDC-E8DB5ABA08D5}"/>
          </ac:spMkLst>
        </pc:spChg>
        <pc:spChg chg="add del mod ord">
          <ac:chgData name="Nataliia Chornii (UA)" userId="4e4b8b3d-5f31-49bb-9f80-8a25c04abfff" providerId="ADAL" clId="{EE97D3FE-9ACA-4467-98E5-532EC45D9D1C}" dt="2024-03-04T10:59:38.018" v="21285"/>
          <ac:spMkLst>
            <pc:docMk/>
            <pc:sldMk cId="3615584869" sldId="942"/>
            <ac:spMk id="34" creationId="{D316F7C6-D3B1-069B-B67B-6F94DF2235A7}"/>
          </ac:spMkLst>
        </pc:spChg>
        <pc:spChg chg="del mod ord">
          <ac:chgData name="Nataliia Chornii (UA)" userId="4e4b8b3d-5f31-49bb-9f80-8a25c04abfff" providerId="ADAL" clId="{EE97D3FE-9ACA-4467-98E5-532EC45D9D1C}" dt="2024-03-04T10:59:46.518" v="21378" actId="478"/>
          <ac:spMkLst>
            <pc:docMk/>
            <pc:sldMk cId="3615584869" sldId="942"/>
            <ac:spMk id="35" creationId="{4F177113-0781-5137-1CD7-3B2F5D62C022}"/>
          </ac:spMkLst>
        </pc:spChg>
        <pc:spChg chg="mod ord">
          <ac:chgData name="Nataliia Chornii (UA)" userId="4e4b8b3d-5f31-49bb-9f80-8a25c04abfff" providerId="ADAL" clId="{EE97D3FE-9ACA-4467-98E5-532EC45D9D1C}" dt="2024-03-04T12:34:14.103" v="21823" actId="20577"/>
          <ac:spMkLst>
            <pc:docMk/>
            <pc:sldMk cId="3615584869" sldId="942"/>
            <ac:spMk id="36" creationId="{A8F39C25-781C-A7DA-387A-D92FCABEE1F5}"/>
          </ac:spMkLst>
        </pc:spChg>
        <pc:spChg chg="add del mod ord">
          <ac:chgData name="Nataliia Chornii (UA)" userId="4e4b8b3d-5f31-49bb-9f80-8a25c04abfff" providerId="ADAL" clId="{EE97D3FE-9ACA-4467-98E5-532EC45D9D1C}" dt="2024-03-04T10:59:38.018" v="21285"/>
          <ac:spMkLst>
            <pc:docMk/>
            <pc:sldMk cId="3615584869" sldId="942"/>
            <ac:spMk id="37" creationId="{3BF9B0ED-A7A5-0F78-B40F-E339612E4F2F}"/>
          </ac:spMkLst>
        </pc:spChg>
        <pc:spChg chg="mod ord">
          <ac:chgData name="Nataliia Chornii (UA)" userId="4e4b8b3d-5f31-49bb-9f80-8a25c04abfff" providerId="ADAL" clId="{EE97D3FE-9ACA-4467-98E5-532EC45D9D1C}" dt="2024-03-04T12:33:46.167" v="21747"/>
          <ac:spMkLst>
            <pc:docMk/>
            <pc:sldMk cId="3615584869" sldId="942"/>
            <ac:spMk id="38" creationId="{7B1F3CCD-2DE1-C2A8-D340-EAF5B3993679}"/>
          </ac:spMkLst>
        </pc:spChg>
        <pc:spChg chg="add del mod ord">
          <ac:chgData name="Nataliia Chornii (UA)" userId="4e4b8b3d-5f31-49bb-9f80-8a25c04abfff" providerId="ADAL" clId="{EE97D3FE-9ACA-4467-98E5-532EC45D9D1C}" dt="2024-03-04T10:59:38.018" v="21285"/>
          <ac:spMkLst>
            <pc:docMk/>
            <pc:sldMk cId="3615584869" sldId="942"/>
            <ac:spMk id="39" creationId="{22D3FE23-29EA-D21A-57D7-BBC31E930A07}"/>
          </ac:spMkLst>
        </pc:spChg>
        <pc:spChg chg="add del mod ord">
          <ac:chgData name="Nataliia Chornii (UA)" userId="4e4b8b3d-5f31-49bb-9f80-8a25c04abfff" providerId="ADAL" clId="{EE97D3FE-9ACA-4467-98E5-532EC45D9D1C}" dt="2024-03-04T10:59:38.018" v="21285"/>
          <ac:spMkLst>
            <pc:docMk/>
            <pc:sldMk cId="3615584869" sldId="942"/>
            <ac:spMk id="40" creationId="{1D703817-7242-94CA-3050-0E8ADCBD9F41}"/>
          </ac:spMkLst>
        </pc:spChg>
        <pc:spChg chg="add del mod ord">
          <ac:chgData name="Nataliia Chornii (UA)" userId="4e4b8b3d-5f31-49bb-9f80-8a25c04abfff" providerId="ADAL" clId="{EE97D3FE-9ACA-4467-98E5-532EC45D9D1C}" dt="2024-03-04T10:59:38.018" v="21285"/>
          <ac:spMkLst>
            <pc:docMk/>
            <pc:sldMk cId="3615584869" sldId="942"/>
            <ac:spMk id="41" creationId="{C3EC5453-F8F2-E969-B933-4B32F4C9C422}"/>
          </ac:spMkLst>
        </pc:spChg>
        <pc:spChg chg="add del mod ord">
          <ac:chgData name="Nataliia Chornii (UA)" userId="4e4b8b3d-5f31-49bb-9f80-8a25c04abfff" providerId="ADAL" clId="{EE97D3FE-9ACA-4467-98E5-532EC45D9D1C}" dt="2024-03-04T10:59:38.018" v="21285"/>
          <ac:spMkLst>
            <pc:docMk/>
            <pc:sldMk cId="3615584869" sldId="942"/>
            <ac:spMk id="42" creationId="{5BAA8165-9AEE-98BC-AB57-AE78D474E8EC}"/>
          </ac:spMkLst>
        </pc:spChg>
        <pc:spChg chg="add del mod ord">
          <ac:chgData name="Nataliia Chornii (UA)" userId="4e4b8b3d-5f31-49bb-9f80-8a25c04abfff" providerId="ADAL" clId="{EE97D3FE-9ACA-4467-98E5-532EC45D9D1C}" dt="2024-03-04T10:59:38.018" v="21285"/>
          <ac:spMkLst>
            <pc:docMk/>
            <pc:sldMk cId="3615584869" sldId="942"/>
            <ac:spMk id="43" creationId="{D8E3C205-14BD-1D14-66F9-CDD4F2B281BE}"/>
          </ac:spMkLst>
        </pc:spChg>
        <pc:spChg chg="add del mod modVis">
          <ac:chgData name="Nataliia Chornii (UA)" userId="4e4b8b3d-5f31-49bb-9f80-8a25c04abfff" providerId="ADAL" clId="{EE97D3FE-9ACA-4467-98E5-532EC45D9D1C}" dt="2024-03-04T10:59:37.767" v="21280"/>
          <ac:spMkLst>
            <pc:docMk/>
            <pc:sldMk cId="3615584869" sldId="942"/>
            <ac:spMk id="44" creationId="{E77BECC6-A0FE-62D5-FB40-4A01457A93AF}"/>
          </ac:spMkLst>
        </pc:spChg>
        <pc:spChg chg="add mod ord">
          <ac:chgData name="Nataliia Chornii (UA)" userId="4e4b8b3d-5f31-49bb-9f80-8a25c04abfff" providerId="ADAL" clId="{EE97D3FE-9ACA-4467-98E5-532EC45D9D1C}" dt="2024-03-04T12:33:46.167" v="21719"/>
          <ac:spMkLst>
            <pc:docMk/>
            <pc:sldMk cId="3615584869" sldId="942"/>
            <ac:spMk id="45" creationId="{ACCF17B9-A116-B3E5-4253-E3D27A07EBE6}"/>
          </ac:spMkLst>
        </pc:spChg>
        <pc:spChg chg="add mod ord">
          <ac:chgData name="Nataliia Chornii (UA)" userId="4e4b8b3d-5f31-49bb-9f80-8a25c04abfff" providerId="ADAL" clId="{EE97D3FE-9ACA-4467-98E5-532EC45D9D1C}" dt="2024-03-04T12:33:46.167" v="21721"/>
          <ac:spMkLst>
            <pc:docMk/>
            <pc:sldMk cId="3615584869" sldId="942"/>
            <ac:spMk id="46" creationId="{B1F489B2-211A-189D-1FC2-52DBCFFFA12A}"/>
          </ac:spMkLst>
        </pc:spChg>
        <pc:spChg chg="add mod ord">
          <ac:chgData name="Nataliia Chornii (UA)" userId="4e4b8b3d-5f31-49bb-9f80-8a25c04abfff" providerId="ADAL" clId="{EE97D3FE-9ACA-4467-98E5-532EC45D9D1C}" dt="2024-03-04T12:33:46.167" v="21725"/>
          <ac:spMkLst>
            <pc:docMk/>
            <pc:sldMk cId="3615584869" sldId="942"/>
            <ac:spMk id="47" creationId="{B2495B1F-472D-0A3B-8475-9C34F129F695}"/>
          </ac:spMkLst>
        </pc:spChg>
        <pc:spChg chg="add mod ord">
          <ac:chgData name="Nataliia Chornii (UA)" userId="4e4b8b3d-5f31-49bb-9f80-8a25c04abfff" providerId="ADAL" clId="{EE97D3FE-9ACA-4467-98E5-532EC45D9D1C}" dt="2024-03-04T12:33:46.167" v="21727"/>
          <ac:spMkLst>
            <pc:docMk/>
            <pc:sldMk cId="3615584869" sldId="942"/>
            <ac:spMk id="48" creationId="{5D5376FA-B5D9-BD4A-2E60-484F85927EC5}"/>
          </ac:spMkLst>
        </pc:spChg>
        <pc:spChg chg="add mod ord">
          <ac:chgData name="Nataliia Chornii (UA)" userId="4e4b8b3d-5f31-49bb-9f80-8a25c04abfff" providerId="ADAL" clId="{EE97D3FE-9ACA-4467-98E5-532EC45D9D1C}" dt="2024-03-04T12:33:46.167" v="21729"/>
          <ac:spMkLst>
            <pc:docMk/>
            <pc:sldMk cId="3615584869" sldId="942"/>
            <ac:spMk id="49" creationId="{C0FB0A2A-8E58-5714-4E5D-483BA9D70A3C}"/>
          </ac:spMkLst>
        </pc:spChg>
        <pc:spChg chg="add mod ord">
          <ac:chgData name="Nataliia Chornii (UA)" userId="4e4b8b3d-5f31-49bb-9f80-8a25c04abfff" providerId="ADAL" clId="{EE97D3FE-9ACA-4467-98E5-532EC45D9D1C}" dt="2024-03-04T12:33:46.167" v="21731"/>
          <ac:spMkLst>
            <pc:docMk/>
            <pc:sldMk cId="3615584869" sldId="942"/>
            <ac:spMk id="50" creationId="{0D2829EB-2DB7-92B6-ED60-5F4CCE5EA10F}"/>
          </ac:spMkLst>
        </pc:spChg>
        <pc:spChg chg="add mod ord">
          <ac:chgData name="Nataliia Chornii (UA)" userId="4e4b8b3d-5f31-49bb-9f80-8a25c04abfff" providerId="ADAL" clId="{EE97D3FE-9ACA-4467-98E5-532EC45D9D1C}" dt="2024-03-04T12:33:46.167" v="21733"/>
          <ac:spMkLst>
            <pc:docMk/>
            <pc:sldMk cId="3615584869" sldId="942"/>
            <ac:spMk id="51" creationId="{06048512-5DC5-9021-22C4-AFCDFDBB09B7}"/>
          </ac:spMkLst>
        </pc:spChg>
        <pc:spChg chg="add mod ord">
          <ac:chgData name="Nataliia Chornii (UA)" userId="4e4b8b3d-5f31-49bb-9f80-8a25c04abfff" providerId="ADAL" clId="{EE97D3FE-9ACA-4467-98E5-532EC45D9D1C}" dt="2024-03-04T12:33:46.167" v="21735"/>
          <ac:spMkLst>
            <pc:docMk/>
            <pc:sldMk cId="3615584869" sldId="942"/>
            <ac:spMk id="52" creationId="{E84079C4-A3E3-E2C1-1A20-FA736957F86A}"/>
          </ac:spMkLst>
        </pc:spChg>
        <pc:spChg chg="add mod ord">
          <ac:chgData name="Nataliia Chornii (UA)" userId="4e4b8b3d-5f31-49bb-9f80-8a25c04abfff" providerId="ADAL" clId="{EE97D3FE-9ACA-4467-98E5-532EC45D9D1C}" dt="2024-03-04T12:33:46.167" v="21737"/>
          <ac:spMkLst>
            <pc:docMk/>
            <pc:sldMk cId="3615584869" sldId="942"/>
            <ac:spMk id="53" creationId="{13A9E587-1DB7-4681-C8DF-047EB324C085}"/>
          </ac:spMkLst>
        </pc:spChg>
        <pc:spChg chg="add mod ord">
          <ac:chgData name="Nataliia Chornii (UA)" userId="4e4b8b3d-5f31-49bb-9f80-8a25c04abfff" providerId="ADAL" clId="{EE97D3FE-9ACA-4467-98E5-532EC45D9D1C}" dt="2024-03-04T12:33:46.167" v="21739"/>
          <ac:spMkLst>
            <pc:docMk/>
            <pc:sldMk cId="3615584869" sldId="942"/>
            <ac:spMk id="54" creationId="{F3BCA6AD-5AB6-7270-4339-1C66A6A7FD37}"/>
          </ac:spMkLst>
        </pc:spChg>
        <pc:spChg chg="add mod ord">
          <ac:chgData name="Nataliia Chornii (UA)" userId="4e4b8b3d-5f31-49bb-9f80-8a25c04abfff" providerId="ADAL" clId="{EE97D3FE-9ACA-4467-98E5-532EC45D9D1C}" dt="2024-03-04T12:33:46.167" v="21741"/>
          <ac:spMkLst>
            <pc:docMk/>
            <pc:sldMk cId="3615584869" sldId="942"/>
            <ac:spMk id="55" creationId="{BFBB300A-2BF9-E2D4-BBEF-173F767980B6}"/>
          </ac:spMkLst>
        </pc:spChg>
        <pc:spChg chg="add mod ord">
          <ac:chgData name="Nataliia Chornii (UA)" userId="4e4b8b3d-5f31-49bb-9f80-8a25c04abfff" providerId="ADAL" clId="{EE97D3FE-9ACA-4467-98E5-532EC45D9D1C}" dt="2024-03-04T12:33:46.167" v="21743"/>
          <ac:spMkLst>
            <pc:docMk/>
            <pc:sldMk cId="3615584869" sldId="942"/>
            <ac:spMk id="56" creationId="{6B255094-3850-7320-5989-3104B5A2D549}"/>
          </ac:spMkLst>
        </pc:spChg>
        <pc:spChg chg="add del mod modVis">
          <ac:chgData name="Nataliia Chornii (UA)" userId="4e4b8b3d-5f31-49bb-9f80-8a25c04abfff" providerId="ADAL" clId="{EE97D3FE-9ACA-4467-98E5-532EC45D9D1C}" dt="2024-03-04T10:59:43.644" v="21375"/>
          <ac:spMkLst>
            <pc:docMk/>
            <pc:sldMk cId="3615584869" sldId="942"/>
            <ac:spMk id="57" creationId="{26BE5E60-1722-7281-4A8B-0FBC491AC5A4}"/>
          </ac:spMkLst>
        </pc:spChg>
        <pc:spChg chg="add del mod ord">
          <ac:chgData name="Nataliia Chornii (UA)" userId="4e4b8b3d-5f31-49bb-9f80-8a25c04abfff" providerId="ADAL" clId="{EE97D3FE-9ACA-4467-98E5-532EC45D9D1C}" dt="2024-03-04T11:01:08.850" v="21551" actId="478"/>
          <ac:spMkLst>
            <pc:docMk/>
            <pc:sldMk cId="3615584869" sldId="942"/>
            <ac:spMk id="58" creationId="{ECE03AC3-16B7-092F-7936-F5D11310E27C}"/>
          </ac:spMkLst>
        </pc:spChg>
        <pc:spChg chg="add del mod">
          <ac:chgData name="Nataliia Chornii (UA)" userId="4e4b8b3d-5f31-49bb-9f80-8a25c04abfff" providerId="ADAL" clId="{EE97D3FE-9ACA-4467-98E5-532EC45D9D1C}" dt="2024-03-04T11:01:08.850" v="21551" actId="478"/>
          <ac:spMkLst>
            <pc:docMk/>
            <pc:sldMk cId="3615584869" sldId="942"/>
            <ac:spMk id="59" creationId="{8BDF2E74-9E2C-0056-AE94-BC522F6BA8A7}"/>
          </ac:spMkLst>
        </pc:spChg>
        <pc:spChg chg="add del mod">
          <ac:chgData name="Nataliia Chornii (UA)" userId="4e4b8b3d-5f31-49bb-9f80-8a25c04abfff" providerId="ADAL" clId="{EE97D3FE-9ACA-4467-98E5-532EC45D9D1C}" dt="2024-03-04T11:01:08.850" v="21551" actId="478"/>
          <ac:spMkLst>
            <pc:docMk/>
            <pc:sldMk cId="3615584869" sldId="942"/>
            <ac:spMk id="60" creationId="{647074C5-E8E8-EFFE-8D6B-49BDB4CADF4E}"/>
          </ac:spMkLst>
        </pc:spChg>
        <pc:spChg chg="add del mod">
          <ac:chgData name="Nataliia Chornii (UA)" userId="4e4b8b3d-5f31-49bb-9f80-8a25c04abfff" providerId="ADAL" clId="{EE97D3FE-9ACA-4467-98E5-532EC45D9D1C}" dt="2024-03-04T11:01:08.850" v="21551" actId="478"/>
          <ac:spMkLst>
            <pc:docMk/>
            <pc:sldMk cId="3615584869" sldId="942"/>
            <ac:spMk id="61" creationId="{3ACA907F-08F0-A691-938B-0C6C07DF5161}"/>
          </ac:spMkLst>
        </pc:spChg>
        <pc:spChg chg="add mod ord">
          <ac:chgData name="Nataliia Chornii (UA)" userId="4e4b8b3d-5f31-49bb-9f80-8a25c04abfff" providerId="ADAL" clId="{EE97D3FE-9ACA-4467-98E5-532EC45D9D1C}" dt="2024-03-04T12:33:46.167" v="21723"/>
          <ac:spMkLst>
            <pc:docMk/>
            <pc:sldMk cId="3615584869" sldId="942"/>
            <ac:spMk id="62" creationId="{8F1ACBBE-C6FA-4666-5248-C1605BDAD626}"/>
          </ac:spMkLst>
        </pc:spChg>
        <pc:spChg chg="mod">
          <ac:chgData name="Nataliia Chornii (UA)" userId="4e4b8b3d-5f31-49bb-9f80-8a25c04abfff" providerId="ADAL" clId="{EE97D3FE-9ACA-4467-98E5-532EC45D9D1C}" dt="2024-03-04T12:34:03.584" v="21820" actId="207"/>
          <ac:spMkLst>
            <pc:docMk/>
            <pc:sldMk cId="3615584869" sldId="942"/>
            <ac:spMk id="64" creationId="{1CC801F4-CCCF-2F7F-84A8-D8E48274A6B6}"/>
          </ac:spMkLst>
        </pc:spChg>
        <pc:spChg chg="mod">
          <ac:chgData name="Nataliia Chornii (UA)" userId="4e4b8b3d-5f31-49bb-9f80-8a25c04abfff" providerId="ADAL" clId="{EE97D3FE-9ACA-4467-98E5-532EC45D9D1C}" dt="2024-03-04T12:34:03.584" v="21820" actId="207"/>
          <ac:spMkLst>
            <pc:docMk/>
            <pc:sldMk cId="3615584869" sldId="942"/>
            <ac:spMk id="65" creationId="{B99D2B3F-B5A9-66C2-038C-63FCE7694E8C}"/>
          </ac:spMkLst>
        </pc:spChg>
        <pc:spChg chg="mod">
          <ac:chgData name="Nataliia Chornii (UA)" userId="4e4b8b3d-5f31-49bb-9f80-8a25c04abfff" providerId="ADAL" clId="{EE97D3FE-9ACA-4467-98E5-532EC45D9D1C}" dt="2024-03-04T12:34:03.584" v="21820" actId="207"/>
          <ac:spMkLst>
            <pc:docMk/>
            <pc:sldMk cId="3615584869" sldId="942"/>
            <ac:spMk id="66" creationId="{E9A57BD3-332B-5C66-9305-4372D5A9EBAD}"/>
          </ac:spMkLst>
        </pc:spChg>
        <pc:spChg chg="mod">
          <ac:chgData name="Nataliia Chornii (UA)" userId="4e4b8b3d-5f31-49bb-9f80-8a25c04abfff" providerId="ADAL" clId="{EE97D3FE-9ACA-4467-98E5-532EC45D9D1C}" dt="2024-03-04T12:34:03.584" v="21820" actId="207"/>
          <ac:spMkLst>
            <pc:docMk/>
            <pc:sldMk cId="3615584869" sldId="942"/>
            <ac:spMk id="67" creationId="{0444D4ED-5289-CCCE-26BB-EBB9153FC084}"/>
          </ac:spMkLst>
        </pc:spChg>
        <pc:spChg chg="mod">
          <ac:chgData name="Nataliia Chornii (UA)" userId="4e4b8b3d-5f31-49bb-9f80-8a25c04abfff" providerId="ADAL" clId="{EE97D3FE-9ACA-4467-98E5-532EC45D9D1C}" dt="2024-03-04T12:34:03.584" v="21820" actId="207"/>
          <ac:spMkLst>
            <pc:docMk/>
            <pc:sldMk cId="3615584869" sldId="942"/>
            <ac:spMk id="68" creationId="{249AEE51-7C5E-6E4F-FABF-864BE9930990}"/>
          </ac:spMkLst>
        </pc:spChg>
        <pc:spChg chg="add mod ord">
          <ac:chgData name="Nataliia Chornii (UA)" userId="4e4b8b3d-5f31-49bb-9f80-8a25c04abfff" providerId="ADAL" clId="{EE97D3FE-9ACA-4467-98E5-532EC45D9D1C}" dt="2024-03-04T12:34:07.388" v="21821" actId="1076"/>
          <ac:spMkLst>
            <pc:docMk/>
            <pc:sldMk cId="3615584869" sldId="942"/>
            <ac:spMk id="69" creationId="{70C81FC0-D8FE-8C2E-F3AD-2F6B9F01C7B1}"/>
          </ac:spMkLst>
        </pc:spChg>
        <pc:spChg chg="mod">
          <ac:chgData name="Nataliia Chornii (UA)" userId="4e4b8b3d-5f31-49bb-9f80-8a25c04abfff" providerId="ADAL" clId="{EE97D3FE-9ACA-4467-98E5-532EC45D9D1C}" dt="2024-03-04T12:33:41.761" v="21714" actId="165"/>
          <ac:spMkLst>
            <pc:docMk/>
            <pc:sldMk cId="3615584869" sldId="942"/>
            <ac:spMk id="75" creationId="{2293C164-5533-AB8F-AC1C-F5597C77B61A}"/>
          </ac:spMkLst>
        </pc:spChg>
        <pc:spChg chg="mod">
          <ac:chgData name="Nataliia Chornii (UA)" userId="4e4b8b3d-5f31-49bb-9f80-8a25c04abfff" providerId="ADAL" clId="{EE97D3FE-9ACA-4467-98E5-532EC45D9D1C}" dt="2024-03-04T12:33:41.761" v="21714" actId="165"/>
          <ac:spMkLst>
            <pc:docMk/>
            <pc:sldMk cId="3615584869" sldId="942"/>
            <ac:spMk id="76" creationId="{2E21B927-F905-2298-4C4A-57D9CB30159F}"/>
          </ac:spMkLst>
        </pc:spChg>
        <pc:grpChg chg="add mod">
          <ac:chgData name="Nataliia Chornii (UA)" userId="4e4b8b3d-5f31-49bb-9f80-8a25c04abfff" providerId="ADAL" clId="{EE97D3FE-9ACA-4467-98E5-532EC45D9D1C}" dt="2024-03-11T14:26:41.150" v="24102"/>
          <ac:grpSpMkLst>
            <pc:docMk/>
            <pc:sldMk cId="3615584869" sldId="942"/>
            <ac:grpSpMk id="5" creationId="{74E10E71-FC9E-C3E7-772E-8D76294CF3F6}"/>
          </ac:grpSpMkLst>
        </pc:grpChg>
        <pc:grpChg chg="add mod ord">
          <ac:chgData name="Nataliia Chornii (UA)" userId="4e4b8b3d-5f31-49bb-9f80-8a25c04abfff" providerId="ADAL" clId="{EE97D3FE-9ACA-4467-98E5-532EC45D9D1C}" dt="2024-03-04T12:34:10.757" v="21822" actId="1076"/>
          <ac:grpSpMkLst>
            <pc:docMk/>
            <pc:sldMk cId="3615584869" sldId="942"/>
            <ac:grpSpMk id="63" creationId="{8E3807C4-D158-E79B-C45B-DD81FB3A492A}"/>
          </ac:grpSpMkLst>
        </pc:grpChg>
        <pc:grpChg chg="add del mod">
          <ac:chgData name="Nataliia Chornii (UA)" userId="4e4b8b3d-5f31-49bb-9f80-8a25c04abfff" providerId="ADAL" clId="{EE97D3FE-9ACA-4467-98E5-532EC45D9D1C}" dt="2024-03-04T12:33:41.761" v="21714" actId="165"/>
          <ac:grpSpMkLst>
            <pc:docMk/>
            <pc:sldMk cId="3615584869" sldId="942"/>
            <ac:grpSpMk id="72" creationId="{7E17D37C-7F12-6CB8-DB8E-AA77102EC4CA}"/>
          </ac:grpSpMkLst>
        </pc:grpChg>
        <pc:grpChg chg="mod ord topLvl">
          <ac:chgData name="Nataliia Chornii (UA)" userId="4e4b8b3d-5f31-49bb-9f80-8a25c04abfff" providerId="ADAL" clId="{EE97D3FE-9ACA-4467-98E5-532EC45D9D1C}" dt="2024-03-04T12:33:56.021" v="21792" actId="164"/>
          <ac:grpSpMkLst>
            <pc:docMk/>
            <pc:sldMk cId="3615584869" sldId="942"/>
            <ac:grpSpMk id="73" creationId="{0C9B8937-54FA-353F-3013-10049A195BD2}"/>
          </ac:grpSpMkLst>
        </pc:grpChg>
        <pc:grpChg chg="add mod">
          <ac:chgData name="Nataliia Chornii (UA)" userId="4e4b8b3d-5f31-49bb-9f80-8a25c04abfff" providerId="ADAL" clId="{EE97D3FE-9ACA-4467-98E5-532EC45D9D1C}" dt="2024-03-04T12:34:00.128" v="21819" actId="553"/>
          <ac:grpSpMkLst>
            <pc:docMk/>
            <pc:sldMk cId="3615584869" sldId="942"/>
            <ac:grpSpMk id="77" creationId="{3E969E2E-7BC0-DAAB-FE4C-9F3B7600F87B}"/>
          </ac:grpSpMkLst>
        </pc:grpChg>
        <pc:graphicFrameChg chg="mod">
          <ac:chgData name="Nataliia Chornii (UA)" userId="4e4b8b3d-5f31-49bb-9f80-8a25c04abfff" providerId="ADAL" clId="{EE97D3FE-9ACA-4467-98E5-532EC45D9D1C}" dt="2024-03-11T14:33:10.663" v="24478"/>
          <ac:graphicFrameMkLst>
            <pc:docMk/>
            <pc:sldMk cId="3615584869" sldId="942"/>
            <ac:graphicFrameMk id="9" creationId="{D9E6BB6A-4571-FBF8-9A7D-06ADE4374D4D}"/>
          </ac:graphicFrameMkLst>
        </pc:graphicFrameChg>
        <pc:picChg chg="add mod ord">
          <ac:chgData name="Nataliia Chornii (UA)" userId="4e4b8b3d-5f31-49bb-9f80-8a25c04abfff" providerId="ADAL" clId="{EE97D3FE-9ACA-4467-98E5-532EC45D9D1C}" dt="2024-03-04T12:33:56.021" v="21792" actId="164"/>
          <ac:picMkLst>
            <pc:docMk/>
            <pc:sldMk cId="3615584869" sldId="942"/>
            <ac:picMk id="71" creationId="{8FF3C6E9-95F2-E3E6-B5F1-78EAF3D46892}"/>
          </ac:picMkLst>
        </pc:picChg>
        <pc:picChg chg="del mod topLvl">
          <ac:chgData name="Nataliia Chornii (UA)" userId="4e4b8b3d-5f31-49bb-9f80-8a25c04abfff" providerId="ADAL" clId="{EE97D3FE-9ACA-4467-98E5-532EC45D9D1C}" dt="2024-03-04T12:33:43.420" v="21715" actId="478"/>
          <ac:picMkLst>
            <pc:docMk/>
            <pc:sldMk cId="3615584869" sldId="942"/>
            <ac:picMk id="74" creationId="{39312CE1-4081-386B-8A10-E905146FCFB9}"/>
          </ac:picMkLst>
        </pc:pic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3:35.379" v="22453"/>
              <pc2:cmMkLst xmlns:pc2="http://schemas.microsoft.com/office/powerpoint/2019/9/main/command">
                <pc:docMk/>
                <pc:sldMk cId="3615584869" sldId="942"/>
                <pc2:cmMk id="{096D112C-449F-4189-90D1-E6E5D7CBF081}"/>
              </pc2:cmMkLst>
            </pc226:cmChg>
            <pc226:cmChg xmlns:pc226="http://schemas.microsoft.com/office/powerpoint/2022/06/main/command" chg="mod">
              <pc226:chgData name="Nataliia Chornii (UA)" userId="4e4b8b3d-5f31-49bb-9f80-8a25c04abfff" providerId="ADAL" clId="{EE97D3FE-9ACA-4467-98E5-532EC45D9D1C}" dt="2024-03-04T12:43:37.399" v="22454"/>
              <pc2:cmMkLst xmlns:pc2="http://schemas.microsoft.com/office/powerpoint/2019/9/main/command">
                <pc:docMk/>
                <pc:sldMk cId="3615584869" sldId="942"/>
                <pc2:cmMk id="{C59F5F95-7CF3-471D-B137-CACBBEBB3858}"/>
              </pc2:cmMkLst>
            </pc226:cmChg>
          </p:ext>
        </pc:extLst>
      </pc:sldChg>
      <pc:sldChg chg="addSp delSp modSp mod">
        <pc:chgData name="Nataliia Chornii (UA)" userId="4e4b8b3d-5f31-49bb-9f80-8a25c04abfff" providerId="ADAL" clId="{EE97D3FE-9ACA-4467-98E5-532EC45D9D1C}" dt="2024-03-11T14:33:23.845" v="24483" actId="14100"/>
        <pc:sldMkLst>
          <pc:docMk/>
          <pc:sldMk cId="256155706" sldId="943"/>
        </pc:sldMkLst>
        <pc:spChg chg="add mod ord">
          <ac:chgData name="Nataliia Chornii (UA)" userId="4e4b8b3d-5f31-49bb-9f80-8a25c04abfff" providerId="ADAL" clId="{EE97D3FE-9ACA-4467-98E5-532EC45D9D1C}" dt="2024-03-04T12:35:51.951" v="21981"/>
          <ac:spMkLst>
            <pc:docMk/>
            <pc:sldMk cId="256155706" sldId="943"/>
            <ac:spMk id="2" creationId="{5F735A8C-4418-CDE7-FDAD-A62BB616594E}"/>
          </ac:spMkLst>
        </pc:spChg>
        <pc:spChg chg="mod ord">
          <ac:chgData name="Nataliia Chornii (UA)" userId="4e4b8b3d-5f31-49bb-9f80-8a25c04abfff" providerId="ADAL" clId="{EE97D3FE-9ACA-4467-98E5-532EC45D9D1C}" dt="2024-03-04T12:35:51.950" v="21961"/>
          <ac:spMkLst>
            <pc:docMk/>
            <pc:sldMk cId="256155706" sldId="943"/>
            <ac:spMk id="3" creationId="{F4CCF02E-F3C4-C376-8F56-61BD85A2E74B}"/>
          </ac:spMkLst>
        </pc:spChg>
        <pc:spChg chg="mod ord">
          <ac:chgData name="Nataliia Chornii (UA)" userId="4e4b8b3d-5f31-49bb-9f80-8a25c04abfff" providerId="ADAL" clId="{EE97D3FE-9ACA-4467-98E5-532EC45D9D1C}" dt="2024-03-04T12:35:51.951" v="21963"/>
          <ac:spMkLst>
            <pc:docMk/>
            <pc:sldMk cId="256155706" sldId="943"/>
            <ac:spMk id="4" creationId="{872966CD-924A-B939-E655-A6BAF817DCBF}"/>
          </ac:spMkLst>
        </pc:spChg>
        <pc:spChg chg="add del mod modVis">
          <ac:chgData name="Nataliia Chornii (UA)" userId="4e4b8b3d-5f31-49bb-9f80-8a25c04abfff" providerId="ADAL" clId="{EE97D3FE-9ACA-4467-98E5-532EC45D9D1C}" dt="2024-03-04T09:50:25.945" v="19900"/>
          <ac:spMkLst>
            <pc:docMk/>
            <pc:sldMk cId="256155706" sldId="943"/>
            <ac:spMk id="5" creationId="{2ECE74C5-72D0-F1F3-65F7-40985BEBC5BC}"/>
          </ac:spMkLst>
        </pc:spChg>
        <pc:spChg chg="add mod">
          <ac:chgData name="Nataliia Chornii (UA)" userId="4e4b8b3d-5f31-49bb-9f80-8a25c04abfff" providerId="ADAL" clId="{EE97D3FE-9ACA-4467-98E5-532EC45D9D1C}" dt="2024-03-11T14:26:42.984" v="24103"/>
          <ac:spMkLst>
            <pc:docMk/>
            <pc:sldMk cId="256155706" sldId="943"/>
            <ac:spMk id="5" creationId="{E51AF134-199A-8F49-D18A-7F7D1C5FFE30}"/>
          </ac:spMkLst>
        </pc:spChg>
        <pc:spChg chg="add del mod ord">
          <ac:chgData name="Nataliia Chornii (UA)" userId="4e4b8b3d-5f31-49bb-9f80-8a25c04abfff" providerId="ADAL" clId="{EE97D3FE-9ACA-4467-98E5-532EC45D9D1C}" dt="2024-03-11T14:33:19.516" v="24482" actId="478"/>
          <ac:spMkLst>
            <pc:docMk/>
            <pc:sldMk cId="256155706" sldId="943"/>
            <ac:spMk id="6" creationId="{898887DF-9190-F283-B120-8AE08B7645FA}"/>
          </ac:spMkLst>
        </pc:spChg>
        <pc:spChg chg="add del mod modVis">
          <ac:chgData name="Nataliia Chornii (UA)" userId="4e4b8b3d-5f31-49bb-9f80-8a25c04abfff" providerId="ADAL" clId="{EE97D3FE-9ACA-4467-98E5-532EC45D9D1C}" dt="2024-03-04T12:35:07.153" v="21887"/>
          <ac:spMkLst>
            <pc:docMk/>
            <pc:sldMk cId="256155706" sldId="943"/>
            <ac:spMk id="7" creationId="{1E72C125-9E9D-2218-F24A-17A8B3C82CC4}"/>
          </ac:spMkLst>
        </pc:spChg>
        <pc:spChg chg="mod ord">
          <ac:chgData name="Nataliia Chornii (UA)" userId="4e4b8b3d-5f31-49bb-9f80-8a25c04abfff" providerId="ADAL" clId="{EE97D3FE-9ACA-4467-98E5-532EC45D9D1C}" dt="2024-03-04T12:35:51.951" v="21979"/>
          <ac:spMkLst>
            <pc:docMk/>
            <pc:sldMk cId="256155706" sldId="943"/>
            <ac:spMk id="8" creationId="{8F84A1C1-A3B2-78F7-2F05-EA937E442831}"/>
          </ac:spMkLst>
        </pc:spChg>
        <pc:spChg chg="del mod">
          <ac:chgData name="Nataliia Chornii (UA)" userId="4e4b8b3d-5f31-49bb-9f80-8a25c04abfff" providerId="ADAL" clId="{EE97D3FE-9ACA-4467-98E5-532EC45D9D1C}" dt="2024-03-04T09:51:00.411" v="19924" actId="478"/>
          <ac:spMkLst>
            <pc:docMk/>
            <pc:sldMk cId="256155706" sldId="943"/>
            <ac:spMk id="10" creationId="{6F55AA3F-6103-110B-C367-10711AC49356}"/>
          </ac:spMkLst>
        </pc:spChg>
        <pc:spChg chg="mod">
          <ac:chgData name="Nataliia Chornii (UA)" userId="4e4b8b3d-5f31-49bb-9f80-8a25c04abfff" providerId="ADAL" clId="{EE97D3FE-9ACA-4467-98E5-532EC45D9D1C}" dt="2024-03-11T14:26:42.984" v="24103"/>
          <ac:spMkLst>
            <pc:docMk/>
            <pc:sldMk cId="256155706" sldId="943"/>
            <ac:spMk id="14" creationId="{A6762951-07B6-0AAC-F12D-7D88CF6C6897}"/>
          </ac:spMkLst>
        </pc:spChg>
        <pc:spChg chg="mod">
          <ac:chgData name="Nataliia Chornii (UA)" userId="4e4b8b3d-5f31-49bb-9f80-8a25c04abfff" providerId="ADAL" clId="{EE97D3FE-9ACA-4467-98E5-532EC45D9D1C}" dt="2024-03-11T14:26:42.984" v="24103"/>
          <ac:spMkLst>
            <pc:docMk/>
            <pc:sldMk cId="256155706" sldId="943"/>
            <ac:spMk id="15" creationId="{CB4D4C84-0ECA-DAC9-DD65-29A9CDDB478F}"/>
          </ac:spMkLst>
        </pc:spChg>
        <pc:spChg chg="mod">
          <ac:chgData name="Nataliia Chornii (UA)" userId="4e4b8b3d-5f31-49bb-9f80-8a25c04abfff" providerId="ADAL" clId="{EE97D3FE-9ACA-4467-98E5-532EC45D9D1C}" dt="2024-03-11T14:26:42.984" v="24103"/>
          <ac:spMkLst>
            <pc:docMk/>
            <pc:sldMk cId="256155706" sldId="943"/>
            <ac:spMk id="16" creationId="{FBA518E8-4406-0B6B-1158-83DDC1A8E03F}"/>
          </ac:spMkLst>
        </pc:spChg>
        <pc:spChg chg="mod">
          <ac:chgData name="Nataliia Chornii (UA)" userId="4e4b8b3d-5f31-49bb-9f80-8a25c04abfff" providerId="ADAL" clId="{EE97D3FE-9ACA-4467-98E5-532EC45D9D1C}" dt="2024-03-11T14:26:42.984" v="24103"/>
          <ac:spMkLst>
            <pc:docMk/>
            <pc:sldMk cId="256155706" sldId="943"/>
            <ac:spMk id="17" creationId="{1D18DEAE-43DF-EB86-A9E9-D5C9A0F87E2F}"/>
          </ac:spMkLst>
        </pc:spChg>
        <pc:spChg chg="mod">
          <ac:chgData name="Nataliia Chornii (UA)" userId="4e4b8b3d-5f31-49bb-9f80-8a25c04abfff" providerId="ADAL" clId="{EE97D3FE-9ACA-4467-98E5-532EC45D9D1C}" dt="2024-03-11T14:26:42.984" v="24103"/>
          <ac:spMkLst>
            <pc:docMk/>
            <pc:sldMk cId="256155706" sldId="943"/>
            <ac:spMk id="18" creationId="{3E053F10-8ED7-0D6B-A7D6-F67BA4BD7FB4}"/>
          </ac:spMkLst>
        </pc:spChg>
        <pc:spChg chg="del">
          <ac:chgData name="Nataliia Chornii (UA)" userId="4e4b8b3d-5f31-49bb-9f80-8a25c04abfff" providerId="ADAL" clId="{EE97D3FE-9ACA-4467-98E5-532EC45D9D1C}" dt="2024-03-04T09:50:49.737" v="19921" actId="478"/>
          <ac:spMkLst>
            <pc:docMk/>
            <pc:sldMk cId="256155706" sldId="943"/>
            <ac:spMk id="19" creationId="{6540A5E1-A41A-D662-410E-E26837FEC171}"/>
          </ac:spMkLst>
        </pc:spChg>
        <pc:spChg chg="mod">
          <ac:chgData name="Nataliia Chornii (UA)" userId="4e4b8b3d-5f31-49bb-9f80-8a25c04abfff" providerId="ADAL" clId="{EE97D3FE-9ACA-4467-98E5-532EC45D9D1C}" dt="2024-03-11T14:26:42.984" v="24103"/>
          <ac:spMkLst>
            <pc:docMk/>
            <pc:sldMk cId="256155706" sldId="943"/>
            <ac:spMk id="19" creationId="{842AEBD7-120B-4F45-9970-41B60894F2AF}"/>
          </ac:spMkLst>
        </pc:spChg>
        <pc:spChg chg="add mod">
          <ac:chgData name="Nataliia Chornii (UA)" userId="4e4b8b3d-5f31-49bb-9f80-8a25c04abfff" providerId="ADAL" clId="{EE97D3FE-9ACA-4467-98E5-532EC45D9D1C}" dt="2024-03-11T14:33:23.845" v="24483" actId="14100"/>
          <ac:spMkLst>
            <pc:docMk/>
            <pc:sldMk cId="256155706" sldId="943"/>
            <ac:spMk id="20" creationId="{94F6B793-48F5-10A3-322F-CA5F3C1F7DBD}"/>
          </ac:spMkLst>
        </pc:spChg>
        <pc:spChg chg="mod ord">
          <ac:chgData name="Nataliia Chornii (UA)" userId="4e4b8b3d-5f31-49bb-9f80-8a25c04abfff" providerId="ADAL" clId="{EE97D3FE-9ACA-4467-98E5-532EC45D9D1C}" dt="2024-03-04T12:35:51.951" v="21985"/>
          <ac:spMkLst>
            <pc:docMk/>
            <pc:sldMk cId="256155706" sldId="943"/>
            <ac:spMk id="25" creationId="{2B261BF4-92C6-462D-AA95-793AE54DD688}"/>
          </ac:spMkLst>
        </pc:spChg>
        <pc:spChg chg="mod ord">
          <ac:chgData name="Nataliia Chornii (UA)" userId="4e4b8b3d-5f31-49bb-9f80-8a25c04abfff" providerId="ADAL" clId="{EE97D3FE-9ACA-4467-98E5-532EC45D9D1C}" dt="2024-03-04T12:35:51.951" v="21965"/>
          <ac:spMkLst>
            <pc:docMk/>
            <pc:sldMk cId="256155706" sldId="943"/>
            <ac:spMk id="26" creationId="{5EC1F9AE-82A4-85FE-592B-EF659F76F7EC}"/>
          </ac:spMkLst>
        </pc:spChg>
        <pc:spChg chg="mod ord">
          <ac:chgData name="Nataliia Chornii (UA)" userId="4e4b8b3d-5f31-49bb-9f80-8a25c04abfff" providerId="ADAL" clId="{EE97D3FE-9ACA-4467-98E5-532EC45D9D1C}" dt="2024-03-04T12:35:51.951" v="21987"/>
          <ac:spMkLst>
            <pc:docMk/>
            <pc:sldMk cId="256155706" sldId="943"/>
            <ac:spMk id="27" creationId="{72D802D4-B169-1594-D931-40179675E33A}"/>
          </ac:spMkLst>
        </pc:spChg>
        <pc:spChg chg="mod ord">
          <ac:chgData name="Nataliia Chornii (UA)" userId="4e4b8b3d-5f31-49bb-9f80-8a25c04abfff" providerId="ADAL" clId="{EE97D3FE-9ACA-4467-98E5-532EC45D9D1C}" dt="2024-03-04T12:35:51.951" v="21967"/>
          <ac:spMkLst>
            <pc:docMk/>
            <pc:sldMk cId="256155706" sldId="943"/>
            <ac:spMk id="29" creationId="{3915AD89-6428-4A75-0915-328643F1703C}"/>
          </ac:spMkLst>
        </pc:spChg>
        <pc:spChg chg="mod ord">
          <ac:chgData name="Nataliia Chornii (UA)" userId="4e4b8b3d-5f31-49bb-9f80-8a25c04abfff" providerId="ADAL" clId="{EE97D3FE-9ACA-4467-98E5-532EC45D9D1C}" dt="2024-03-04T12:35:51.951" v="21969"/>
          <ac:spMkLst>
            <pc:docMk/>
            <pc:sldMk cId="256155706" sldId="943"/>
            <ac:spMk id="30" creationId="{373AB206-F1F0-CC72-8C15-85605D9AF2AC}"/>
          </ac:spMkLst>
        </pc:spChg>
        <pc:spChg chg="mod ord">
          <ac:chgData name="Nataliia Chornii (UA)" userId="4e4b8b3d-5f31-49bb-9f80-8a25c04abfff" providerId="ADAL" clId="{EE97D3FE-9ACA-4467-98E5-532EC45D9D1C}" dt="2024-03-04T12:36:27.623" v="21995" actId="1076"/>
          <ac:spMkLst>
            <pc:docMk/>
            <pc:sldMk cId="256155706" sldId="943"/>
            <ac:spMk id="42" creationId="{50830596-224D-A11D-D251-21B0CA3EB02E}"/>
          </ac:spMkLst>
        </pc:spChg>
        <pc:spChg chg="mod ord">
          <ac:chgData name="Nataliia Chornii (UA)" userId="4e4b8b3d-5f31-49bb-9f80-8a25c04abfff" providerId="ADAL" clId="{EE97D3FE-9ACA-4467-98E5-532EC45D9D1C}" dt="2024-03-04T12:35:16.302" v="21934" actId="164"/>
          <ac:spMkLst>
            <pc:docMk/>
            <pc:sldMk cId="256155706" sldId="943"/>
            <ac:spMk id="44" creationId="{37325A5C-F07F-2313-782A-18E3E98D15F0}"/>
          </ac:spMkLst>
        </pc:spChg>
        <pc:spChg chg="mod ord">
          <ac:chgData name="Nataliia Chornii (UA)" userId="4e4b8b3d-5f31-49bb-9f80-8a25c04abfff" providerId="ADAL" clId="{EE97D3FE-9ACA-4467-98E5-532EC45D9D1C}" dt="2024-03-04T12:35:16.302" v="21934" actId="164"/>
          <ac:spMkLst>
            <pc:docMk/>
            <pc:sldMk cId="256155706" sldId="943"/>
            <ac:spMk id="45" creationId="{5A4A472A-422C-56F4-A0F5-AE422E82D144}"/>
          </ac:spMkLst>
        </pc:spChg>
        <pc:spChg chg="mod ord">
          <ac:chgData name="Nataliia Chornii (UA)" userId="4e4b8b3d-5f31-49bb-9f80-8a25c04abfff" providerId="ADAL" clId="{EE97D3FE-9ACA-4467-98E5-532EC45D9D1C}" dt="2024-03-04T12:35:51.951" v="21971"/>
          <ac:spMkLst>
            <pc:docMk/>
            <pc:sldMk cId="256155706" sldId="943"/>
            <ac:spMk id="46" creationId="{09BF84D6-F468-7005-FAB5-AA0B6AE5CFB4}"/>
          </ac:spMkLst>
        </pc:spChg>
        <pc:spChg chg="mod ord">
          <ac:chgData name="Nataliia Chornii (UA)" userId="4e4b8b3d-5f31-49bb-9f80-8a25c04abfff" providerId="ADAL" clId="{EE97D3FE-9ACA-4467-98E5-532EC45D9D1C}" dt="2024-03-04T12:35:16.302" v="21934" actId="164"/>
          <ac:spMkLst>
            <pc:docMk/>
            <pc:sldMk cId="256155706" sldId="943"/>
            <ac:spMk id="49" creationId="{DED3BED4-139F-CB4F-0A7B-7B90211550F4}"/>
          </ac:spMkLst>
        </pc:spChg>
        <pc:spChg chg="mod ord">
          <ac:chgData name="Nataliia Chornii (UA)" userId="4e4b8b3d-5f31-49bb-9f80-8a25c04abfff" providerId="ADAL" clId="{EE97D3FE-9ACA-4467-98E5-532EC45D9D1C}" dt="2024-03-04T12:35:51.951" v="21973"/>
          <ac:spMkLst>
            <pc:docMk/>
            <pc:sldMk cId="256155706" sldId="943"/>
            <ac:spMk id="50" creationId="{0130363F-7CE7-F3D0-4AB5-F295FAC2DCBC}"/>
          </ac:spMkLst>
        </pc:spChg>
        <pc:spChg chg="mod ord">
          <ac:chgData name="Nataliia Chornii (UA)" userId="4e4b8b3d-5f31-49bb-9f80-8a25c04abfff" providerId="ADAL" clId="{EE97D3FE-9ACA-4467-98E5-532EC45D9D1C}" dt="2024-03-04T12:35:51.951" v="21975"/>
          <ac:spMkLst>
            <pc:docMk/>
            <pc:sldMk cId="256155706" sldId="943"/>
            <ac:spMk id="51" creationId="{AFEB1935-0849-FFDB-14A2-768E555E2F79}"/>
          </ac:spMkLst>
        </pc:spChg>
        <pc:spChg chg="del">
          <ac:chgData name="Nataliia Chornii (UA)" userId="4e4b8b3d-5f31-49bb-9f80-8a25c04abfff" providerId="ADAL" clId="{EE97D3FE-9ACA-4467-98E5-532EC45D9D1C}" dt="2024-03-04T09:50:18.988" v="19870" actId="478"/>
          <ac:spMkLst>
            <pc:docMk/>
            <pc:sldMk cId="256155706" sldId="943"/>
            <ac:spMk id="52" creationId="{C28EBB85-E5E0-FA58-8077-AD15508F23C6}"/>
          </ac:spMkLst>
        </pc:spChg>
        <pc:grpChg chg="add mod ord">
          <ac:chgData name="Nataliia Chornii (UA)" userId="4e4b8b3d-5f31-49bb-9f80-8a25c04abfff" providerId="ADAL" clId="{EE97D3FE-9ACA-4467-98E5-532EC45D9D1C}" dt="2024-03-04T12:35:51.951" v="21989"/>
          <ac:grpSpMkLst>
            <pc:docMk/>
            <pc:sldMk cId="256155706" sldId="943"/>
            <ac:grpSpMk id="9" creationId="{CD2C3658-A1D3-3144-1ED5-F2F246D99B5F}"/>
          </ac:grpSpMkLst>
        </pc:grpChg>
        <pc:grpChg chg="add mod">
          <ac:chgData name="Nataliia Chornii (UA)" userId="4e4b8b3d-5f31-49bb-9f80-8a25c04abfff" providerId="ADAL" clId="{EE97D3FE-9ACA-4467-98E5-532EC45D9D1C}" dt="2024-03-11T14:26:42.984" v="24103"/>
          <ac:grpSpMkLst>
            <pc:docMk/>
            <pc:sldMk cId="256155706" sldId="943"/>
            <ac:grpSpMk id="11" creationId="{E53823CA-7BF7-4DBA-D8C8-B4EF8F5C9FDA}"/>
          </ac:grpSpMkLst>
        </pc:grpChg>
        <pc:graphicFrameChg chg="mod">
          <ac:chgData name="Nataliia Chornii (UA)" userId="4e4b8b3d-5f31-49bb-9f80-8a25c04abfff" providerId="ADAL" clId="{EE97D3FE-9ACA-4467-98E5-532EC45D9D1C}" dt="2024-03-04T12:35:51.951" v="21993"/>
          <ac:graphicFrameMkLst>
            <pc:docMk/>
            <pc:sldMk cId="256155706" sldId="943"/>
            <ac:graphicFrameMk id="12" creationId="{F6E6AF23-7B86-113A-F559-513B41FEC1FE}"/>
          </ac:graphicFrameMkLst>
        </pc:graphicFrameChg>
        <pc:picChg chg="add mod ord">
          <ac:chgData name="Nataliia Chornii (UA)" userId="4e4b8b3d-5f31-49bb-9f80-8a25c04abfff" providerId="ADAL" clId="{EE97D3FE-9ACA-4467-98E5-532EC45D9D1C}" dt="2024-03-04T12:35:51.939" v="21957"/>
          <ac:picMkLst>
            <pc:docMk/>
            <pc:sldMk cId="256155706" sldId="943"/>
            <ac:picMk id="13" creationId="{00A41EEB-AD8A-07E9-A204-094CF7B91A1C}"/>
          </ac:picMkLst>
        </pc:picChg>
        <pc:picChg chg="del mod ord">
          <ac:chgData name="Nataliia Chornii (UA)" userId="4e4b8b3d-5f31-49bb-9f80-8a25c04abfff" providerId="ADAL" clId="{EE97D3FE-9ACA-4467-98E5-532EC45D9D1C}" dt="2024-03-04T12:35:08.020" v="21890" actId="478"/>
          <ac:picMkLst>
            <pc:docMk/>
            <pc:sldMk cId="256155706" sldId="943"/>
            <ac:picMk id="41" creationId="{7CAE88F2-0719-E8A4-5A3E-39E39CF155A6}"/>
          </ac:picMkLst>
        </pc:picChg>
        <pc:cxnChg chg="mod ord">
          <ac:chgData name="Nataliia Chornii (UA)" userId="4e4b8b3d-5f31-49bb-9f80-8a25c04abfff" providerId="ADAL" clId="{EE97D3FE-9ACA-4467-98E5-532EC45D9D1C}" dt="2024-03-04T12:35:51.951" v="21977"/>
          <ac:cxnSpMkLst>
            <pc:docMk/>
            <pc:sldMk cId="256155706" sldId="943"/>
            <ac:cxnSpMk id="53" creationId="{F358E754-064A-5B8C-B2FC-4E612BA07893}"/>
          </ac:cxnSpMkLst>
        </pc:cxnChg>
      </pc:sldChg>
      <pc:sldChg chg="addSp delSp modSp mod modCm">
        <pc:chgData name="Nataliia Chornii (UA)" userId="4e4b8b3d-5f31-49bb-9f80-8a25c04abfff" providerId="ADAL" clId="{EE97D3FE-9ACA-4467-98E5-532EC45D9D1C}" dt="2024-03-11T14:34:05.070" v="25038"/>
        <pc:sldMkLst>
          <pc:docMk/>
          <pc:sldMk cId="2143110826" sldId="944"/>
        </pc:sldMkLst>
        <pc:spChg chg="add mod">
          <ac:chgData name="Nataliia Chornii (UA)" userId="4e4b8b3d-5f31-49bb-9f80-8a25c04abfff" providerId="ADAL" clId="{EE97D3FE-9ACA-4467-98E5-532EC45D9D1C}" dt="2024-03-11T14:27:00.585" v="24111"/>
          <ac:spMkLst>
            <pc:docMk/>
            <pc:sldMk cId="2143110826" sldId="944"/>
            <ac:spMk id="2" creationId="{46DFF4DD-D60C-310F-F629-F4F4D44804C8}"/>
          </ac:spMkLst>
        </pc:spChg>
        <pc:spChg chg="add del mod modVis">
          <ac:chgData name="Nataliia Chornii (UA)" userId="4e4b8b3d-5f31-49bb-9f80-8a25c04abfff" providerId="ADAL" clId="{EE97D3FE-9ACA-4467-98E5-532EC45D9D1C}" dt="2024-03-04T09:51:41.721" v="19999"/>
          <ac:spMkLst>
            <pc:docMk/>
            <pc:sldMk cId="2143110826" sldId="944"/>
            <ac:spMk id="2" creationId="{F73322E0-C28B-48FF-2CC6-213AA6D0ECCE}"/>
          </ac:spMkLst>
        </pc:spChg>
        <pc:spChg chg="mod ord">
          <ac:chgData name="Nataliia Chornii (UA)" userId="4e4b8b3d-5f31-49bb-9f80-8a25c04abfff" providerId="ADAL" clId="{EE97D3FE-9ACA-4467-98E5-532EC45D9D1C}" dt="2024-03-04T12:38:44.226" v="22219"/>
          <ac:spMkLst>
            <pc:docMk/>
            <pc:sldMk cId="2143110826" sldId="944"/>
            <ac:spMk id="3" creationId="{F4CCF02E-F3C4-C376-8F56-61BD85A2E74B}"/>
          </ac:spMkLst>
        </pc:spChg>
        <pc:spChg chg="mod ord">
          <ac:chgData name="Nataliia Chornii (UA)" userId="4e4b8b3d-5f31-49bb-9f80-8a25c04abfff" providerId="ADAL" clId="{EE97D3FE-9ACA-4467-98E5-532EC45D9D1C}" dt="2024-03-04T12:38:44.226" v="22221"/>
          <ac:spMkLst>
            <pc:docMk/>
            <pc:sldMk cId="2143110826" sldId="944"/>
            <ac:spMk id="4" creationId="{872966CD-924A-B939-E655-A6BAF817DCBF}"/>
          </ac:spMkLst>
        </pc:spChg>
        <pc:spChg chg="add del mod modVis">
          <ac:chgData name="Nataliia Chornii (UA)" userId="4e4b8b3d-5f31-49bb-9f80-8a25c04abfff" providerId="ADAL" clId="{EE97D3FE-9ACA-4467-98E5-532EC45D9D1C}" dt="2024-03-04T09:51:43.428" v="20026"/>
          <ac:spMkLst>
            <pc:docMk/>
            <pc:sldMk cId="2143110826" sldId="944"/>
            <ac:spMk id="5" creationId="{7CBB5266-27A1-BD6D-4013-6AF2B0392BA3}"/>
          </ac:spMkLst>
        </pc:spChg>
        <pc:spChg chg="add del mod ord">
          <ac:chgData name="Nataliia Chornii (UA)" userId="4e4b8b3d-5f31-49bb-9f80-8a25c04abfff" providerId="ADAL" clId="{EE97D3FE-9ACA-4467-98E5-532EC45D9D1C}" dt="2024-03-11T14:34:04.784" v="25037" actId="478"/>
          <ac:spMkLst>
            <pc:docMk/>
            <pc:sldMk cId="2143110826" sldId="944"/>
            <ac:spMk id="6" creationId="{F5AA410E-3357-BB30-92B8-F2EA09E4E394}"/>
          </ac:spMkLst>
        </pc:spChg>
        <pc:spChg chg="mod">
          <ac:chgData name="Nataliia Chornii (UA)" userId="4e4b8b3d-5f31-49bb-9f80-8a25c04abfff" providerId="ADAL" clId="{EE97D3FE-9ACA-4467-98E5-532EC45D9D1C}" dt="2024-03-11T14:27:00.585" v="24111"/>
          <ac:spMkLst>
            <pc:docMk/>
            <pc:sldMk cId="2143110826" sldId="944"/>
            <ac:spMk id="7" creationId="{734993F1-E3AF-348A-B3AF-218E94A2F95D}"/>
          </ac:spMkLst>
        </pc:spChg>
        <pc:spChg chg="add del mod modVis">
          <ac:chgData name="Nataliia Chornii (UA)" userId="4e4b8b3d-5f31-49bb-9f80-8a25c04abfff" providerId="ADAL" clId="{EE97D3FE-9ACA-4467-98E5-532EC45D9D1C}" dt="2024-03-04T12:38:29.413" v="22203"/>
          <ac:spMkLst>
            <pc:docMk/>
            <pc:sldMk cId="2143110826" sldId="944"/>
            <ac:spMk id="7" creationId="{ED2B6236-FC43-F510-9C3B-EFB10FFFD9F4}"/>
          </ac:spMkLst>
        </pc:spChg>
        <pc:spChg chg="mod ord">
          <ac:chgData name="Nataliia Chornii (UA)" userId="4e4b8b3d-5f31-49bb-9f80-8a25c04abfff" providerId="ADAL" clId="{EE97D3FE-9ACA-4467-98E5-532EC45D9D1C}" dt="2024-03-04T12:39:15.382" v="22251" actId="14100"/>
          <ac:spMkLst>
            <pc:docMk/>
            <pc:sldMk cId="2143110826" sldId="944"/>
            <ac:spMk id="8" creationId="{8F84A1C1-A3B2-78F7-2F05-EA937E442831}"/>
          </ac:spMkLst>
        </pc:spChg>
        <pc:spChg chg="mod">
          <ac:chgData name="Nataliia Chornii (UA)" userId="4e4b8b3d-5f31-49bb-9f80-8a25c04abfff" providerId="ADAL" clId="{EE97D3FE-9ACA-4467-98E5-532EC45D9D1C}" dt="2024-03-11T14:27:00.585" v="24111"/>
          <ac:spMkLst>
            <pc:docMk/>
            <pc:sldMk cId="2143110826" sldId="944"/>
            <ac:spMk id="9" creationId="{EBD40E3E-6810-BD66-17A6-54FB99CC65D5}"/>
          </ac:spMkLst>
        </pc:spChg>
        <pc:spChg chg="mod">
          <ac:chgData name="Nataliia Chornii (UA)" userId="4e4b8b3d-5f31-49bb-9f80-8a25c04abfff" providerId="ADAL" clId="{EE97D3FE-9ACA-4467-98E5-532EC45D9D1C}" dt="2024-03-11T14:27:00.585" v="24111"/>
          <ac:spMkLst>
            <pc:docMk/>
            <pc:sldMk cId="2143110826" sldId="944"/>
            <ac:spMk id="10" creationId="{56E93E8D-1C75-F314-0F35-BEF8F671E8C3}"/>
          </ac:spMkLst>
        </pc:spChg>
        <pc:spChg chg="del">
          <ac:chgData name="Nataliia Chornii (UA)" userId="4e4b8b3d-5f31-49bb-9f80-8a25c04abfff" providerId="ADAL" clId="{EE97D3FE-9ACA-4467-98E5-532EC45D9D1C}" dt="2024-03-04T09:51:49.881" v="20030" actId="478"/>
          <ac:spMkLst>
            <pc:docMk/>
            <pc:sldMk cId="2143110826" sldId="944"/>
            <ac:spMk id="10" creationId="{6F55AA3F-6103-110B-C367-10711AC49356}"/>
          </ac:spMkLst>
        </pc:spChg>
        <pc:spChg chg="add mod">
          <ac:chgData name="Nataliia Chornii (UA)" userId="4e4b8b3d-5f31-49bb-9f80-8a25c04abfff" providerId="ADAL" clId="{EE97D3FE-9ACA-4467-98E5-532EC45D9D1C}" dt="2024-03-04T12:39:04.755" v="22249" actId="14100"/>
          <ac:spMkLst>
            <pc:docMk/>
            <pc:sldMk cId="2143110826" sldId="944"/>
            <ac:spMk id="13" creationId="{799E30A1-ADE3-D083-090F-C1647AB7B5C5}"/>
          </ac:spMkLst>
        </pc:spChg>
        <pc:spChg chg="add mod">
          <ac:chgData name="Nataliia Chornii (UA)" userId="4e4b8b3d-5f31-49bb-9f80-8a25c04abfff" providerId="ADAL" clId="{EE97D3FE-9ACA-4467-98E5-532EC45D9D1C}" dt="2024-03-04T12:39:10.525" v="22250" actId="1076"/>
          <ac:spMkLst>
            <pc:docMk/>
            <pc:sldMk cId="2143110826" sldId="944"/>
            <ac:spMk id="14" creationId="{292427B9-6E56-4F0D-79C7-17E043506558}"/>
          </ac:spMkLst>
        </pc:spChg>
        <pc:spChg chg="mod">
          <ac:chgData name="Nataliia Chornii (UA)" userId="4e4b8b3d-5f31-49bb-9f80-8a25c04abfff" providerId="ADAL" clId="{EE97D3FE-9ACA-4467-98E5-532EC45D9D1C}" dt="2024-03-04T12:38:54.215" v="22246"/>
          <ac:spMkLst>
            <pc:docMk/>
            <pc:sldMk cId="2143110826" sldId="944"/>
            <ac:spMk id="16" creationId="{C4E3C697-34B5-AF79-CE8B-161F546C2C96}"/>
          </ac:spMkLst>
        </pc:spChg>
        <pc:spChg chg="mod">
          <ac:chgData name="Nataliia Chornii (UA)" userId="4e4b8b3d-5f31-49bb-9f80-8a25c04abfff" providerId="ADAL" clId="{EE97D3FE-9ACA-4467-98E5-532EC45D9D1C}" dt="2024-03-04T12:38:54.215" v="22246"/>
          <ac:spMkLst>
            <pc:docMk/>
            <pc:sldMk cId="2143110826" sldId="944"/>
            <ac:spMk id="17" creationId="{034E459C-1C6F-D20C-CC3C-A54DA127F08F}"/>
          </ac:spMkLst>
        </pc:spChg>
        <pc:spChg chg="mod">
          <ac:chgData name="Nataliia Chornii (UA)" userId="4e4b8b3d-5f31-49bb-9f80-8a25c04abfff" providerId="ADAL" clId="{EE97D3FE-9ACA-4467-98E5-532EC45D9D1C}" dt="2024-03-04T12:38:54.215" v="22246"/>
          <ac:spMkLst>
            <pc:docMk/>
            <pc:sldMk cId="2143110826" sldId="944"/>
            <ac:spMk id="18" creationId="{82F94A97-9D89-A1CA-2D3C-C0AB208BD788}"/>
          </ac:spMkLst>
        </pc:spChg>
        <pc:spChg chg="del">
          <ac:chgData name="Nataliia Chornii (UA)" userId="4e4b8b3d-5f31-49bb-9f80-8a25c04abfff" providerId="ADAL" clId="{EE97D3FE-9ACA-4467-98E5-532EC45D9D1C}" dt="2024-03-04T09:51:49.881" v="20030" actId="478"/>
          <ac:spMkLst>
            <pc:docMk/>
            <pc:sldMk cId="2143110826" sldId="944"/>
            <ac:spMk id="19" creationId="{6540A5E1-A41A-D662-410E-E26837FEC171}"/>
          </ac:spMkLst>
        </pc:spChg>
        <pc:spChg chg="mod">
          <ac:chgData name="Nataliia Chornii (UA)" userId="4e4b8b3d-5f31-49bb-9f80-8a25c04abfff" providerId="ADAL" clId="{EE97D3FE-9ACA-4467-98E5-532EC45D9D1C}" dt="2024-03-11T14:27:00.585" v="24111"/>
          <ac:spMkLst>
            <pc:docMk/>
            <pc:sldMk cId="2143110826" sldId="944"/>
            <ac:spMk id="19" creationId="{C949834F-194F-1DAB-A63F-7FA8295C5D1B}"/>
          </ac:spMkLst>
        </pc:spChg>
        <pc:spChg chg="mod">
          <ac:chgData name="Nataliia Chornii (UA)" userId="4e4b8b3d-5f31-49bb-9f80-8a25c04abfff" providerId="ADAL" clId="{EE97D3FE-9ACA-4467-98E5-532EC45D9D1C}" dt="2024-03-11T14:27:00.585" v="24111"/>
          <ac:spMkLst>
            <pc:docMk/>
            <pc:sldMk cId="2143110826" sldId="944"/>
            <ac:spMk id="20" creationId="{E005B582-F059-6404-9E49-1766590ECB6C}"/>
          </ac:spMkLst>
        </pc:spChg>
        <pc:spChg chg="mod">
          <ac:chgData name="Nataliia Chornii (UA)" userId="4e4b8b3d-5f31-49bb-9f80-8a25c04abfff" providerId="ADAL" clId="{EE97D3FE-9ACA-4467-98E5-532EC45D9D1C}" dt="2024-03-11T14:27:00.585" v="24111"/>
          <ac:spMkLst>
            <pc:docMk/>
            <pc:sldMk cId="2143110826" sldId="944"/>
            <ac:spMk id="21" creationId="{A582AE43-61A9-0413-06DF-4E66A3E74D06}"/>
          </ac:spMkLst>
        </pc:spChg>
        <pc:spChg chg="add mod">
          <ac:chgData name="Nataliia Chornii (UA)" userId="4e4b8b3d-5f31-49bb-9f80-8a25c04abfff" providerId="ADAL" clId="{EE97D3FE-9ACA-4467-98E5-532EC45D9D1C}" dt="2024-03-11T14:34:05.070" v="25038"/>
          <ac:spMkLst>
            <pc:docMk/>
            <pc:sldMk cId="2143110826" sldId="944"/>
            <ac:spMk id="22" creationId="{6192063C-BD57-54A6-422F-DFDD7CA06AEC}"/>
          </ac:spMkLst>
        </pc:spChg>
        <pc:spChg chg="del mod ord">
          <ac:chgData name="Nataliia Chornii (UA)" userId="4e4b8b3d-5f31-49bb-9f80-8a25c04abfff" providerId="ADAL" clId="{EE97D3FE-9ACA-4467-98E5-532EC45D9D1C}" dt="2024-03-04T12:39:00.771" v="22248" actId="478"/>
          <ac:spMkLst>
            <pc:docMk/>
            <pc:sldMk cId="2143110826" sldId="944"/>
            <ac:spMk id="25" creationId="{2B261BF4-92C6-462D-AA95-793AE54DD688}"/>
          </ac:spMkLst>
        </pc:spChg>
        <pc:spChg chg="mod ord">
          <ac:chgData name="Nataliia Chornii (UA)" userId="4e4b8b3d-5f31-49bb-9f80-8a25c04abfff" providerId="ADAL" clId="{EE97D3FE-9ACA-4467-98E5-532EC45D9D1C}" dt="2024-03-04T12:38:44.226" v="22223"/>
          <ac:spMkLst>
            <pc:docMk/>
            <pc:sldMk cId="2143110826" sldId="944"/>
            <ac:spMk id="26" creationId="{5EC1F9AE-82A4-85FE-592B-EF659F76F7EC}"/>
          </ac:spMkLst>
        </pc:spChg>
        <pc:spChg chg="del mod ord">
          <ac:chgData name="Nataliia Chornii (UA)" userId="4e4b8b3d-5f31-49bb-9f80-8a25c04abfff" providerId="ADAL" clId="{EE97D3FE-9ACA-4467-98E5-532EC45D9D1C}" dt="2024-03-04T12:39:00.771" v="22248" actId="478"/>
          <ac:spMkLst>
            <pc:docMk/>
            <pc:sldMk cId="2143110826" sldId="944"/>
            <ac:spMk id="27" creationId="{72D802D4-B169-1594-D931-40179675E33A}"/>
          </ac:spMkLst>
        </pc:spChg>
        <pc:spChg chg="mod ord">
          <ac:chgData name="Nataliia Chornii (UA)" userId="4e4b8b3d-5f31-49bb-9f80-8a25c04abfff" providerId="ADAL" clId="{EE97D3FE-9ACA-4467-98E5-532EC45D9D1C}" dt="2024-03-04T12:38:44.226" v="22227"/>
          <ac:spMkLst>
            <pc:docMk/>
            <pc:sldMk cId="2143110826" sldId="944"/>
            <ac:spMk id="29" creationId="{3915AD89-6428-4A75-0915-328643F1703C}"/>
          </ac:spMkLst>
        </pc:spChg>
        <pc:spChg chg="mod ord">
          <ac:chgData name="Nataliia Chornii (UA)" userId="4e4b8b3d-5f31-49bb-9f80-8a25c04abfff" providerId="ADAL" clId="{EE97D3FE-9ACA-4467-98E5-532EC45D9D1C}" dt="2024-03-04T12:38:44.226" v="22229"/>
          <ac:spMkLst>
            <pc:docMk/>
            <pc:sldMk cId="2143110826" sldId="944"/>
            <ac:spMk id="30" creationId="{373AB206-F1F0-CC72-8C15-85605D9AF2AC}"/>
          </ac:spMkLst>
        </pc:spChg>
        <pc:spChg chg="mod ord">
          <ac:chgData name="Nataliia Chornii (UA)" userId="4e4b8b3d-5f31-49bb-9f80-8a25c04abfff" providerId="ADAL" clId="{EE97D3FE-9ACA-4467-98E5-532EC45D9D1C}" dt="2024-03-04T12:38:44.226" v="22215"/>
          <ac:spMkLst>
            <pc:docMk/>
            <pc:sldMk cId="2143110826" sldId="944"/>
            <ac:spMk id="42" creationId="{50830596-224D-A11D-D251-21B0CA3EB02E}"/>
          </ac:spMkLst>
        </pc:spChg>
        <pc:spChg chg="del mod ord">
          <ac:chgData name="Nataliia Chornii (UA)" userId="4e4b8b3d-5f31-49bb-9f80-8a25c04abfff" providerId="ADAL" clId="{EE97D3FE-9ACA-4467-98E5-532EC45D9D1C}" dt="2024-03-04T12:39:00.771" v="22248" actId="478"/>
          <ac:spMkLst>
            <pc:docMk/>
            <pc:sldMk cId="2143110826" sldId="944"/>
            <ac:spMk id="44" creationId="{37325A5C-F07F-2313-782A-18E3E98D15F0}"/>
          </ac:spMkLst>
        </pc:spChg>
        <pc:spChg chg="del mod ord">
          <ac:chgData name="Nataliia Chornii (UA)" userId="4e4b8b3d-5f31-49bb-9f80-8a25c04abfff" providerId="ADAL" clId="{EE97D3FE-9ACA-4467-98E5-532EC45D9D1C}" dt="2024-03-04T12:39:00.771" v="22248" actId="478"/>
          <ac:spMkLst>
            <pc:docMk/>
            <pc:sldMk cId="2143110826" sldId="944"/>
            <ac:spMk id="45" creationId="{5A4A472A-422C-56F4-A0F5-AE422E82D144}"/>
          </ac:spMkLst>
        </pc:spChg>
        <pc:spChg chg="mod ord">
          <ac:chgData name="Nataliia Chornii (UA)" userId="4e4b8b3d-5f31-49bb-9f80-8a25c04abfff" providerId="ADAL" clId="{EE97D3FE-9ACA-4467-98E5-532EC45D9D1C}" dt="2024-03-04T12:38:44.226" v="22235"/>
          <ac:spMkLst>
            <pc:docMk/>
            <pc:sldMk cId="2143110826" sldId="944"/>
            <ac:spMk id="46" creationId="{09BF84D6-F468-7005-FAB5-AA0B6AE5CFB4}"/>
          </ac:spMkLst>
        </pc:spChg>
        <pc:spChg chg="del mod ord">
          <ac:chgData name="Nataliia Chornii (UA)" userId="4e4b8b3d-5f31-49bb-9f80-8a25c04abfff" providerId="ADAL" clId="{EE97D3FE-9ACA-4467-98E5-532EC45D9D1C}" dt="2024-03-04T12:39:00.771" v="22248" actId="478"/>
          <ac:spMkLst>
            <pc:docMk/>
            <pc:sldMk cId="2143110826" sldId="944"/>
            <ac:spMk id="49" creationId="{DED3BED4-139F-CB4F-0A7B-7B90211550F4}"/>
          </ac:spMkLst>
        </pc:spChg>
        <pc:grpChg chg="add mod">
          <ac:chgData name="Nataliia Chornii (UA)" userId="4e4b8b3d-5f31-49bb-9f80-8a25c04abfff" providerId="ADAL" clId="{EE97D3FE-9ACA-4467-98E5-532EC45D9D1C}" dt="2024-03-11T14:27:00.585" v="24111"/>
          <ac:grpSpMkLst>
            <pc:docMk/>
            <pc:sldMk cId="2143110826" sldId="944"/>
            <ac:grpSpMk id="5" creationId="{3B47246F-6F89-084C-D8A4-3FC2F21CF5AB}"/>
          </ac:grpSpMkLst>
        </pc:grpChg>
        <pc:grpChg chg="add mod">
          <ac:chgData name="Nataliia Chornii (UA)" userId="4e4b8b3d-5f31-49bb-9f80-8a25c04abfff" providerId="ADAL" clId="{EE97D3FE-9ACA-4467-98E5-532EC45D9D1C}" dt="2024-03-04T12:39:10.525" v="22250" actId="1076"/>
          <ac:grpSpMkLst>
            <pc:docMk/>
            <pc:sldMk cId="2143110826" sldId="944"/>
            <ac:grpSpMk id="15" creationId="{32101DD0-0169-5B84-DBC1-4B151DF9F173}"/>
          </ac:grpSpMkLst>
        </pc:grpChg>
        <pc:graphicFrameChg chg="mod">
          <ac:chgData name="Nataliia Chornii (UA)" userId="4e4b8b3d-5f31-49bb-9f80-8a25c04abfff" providerId="ADAL" clId="{EE97D3FE-9ACA-4467-98E5-532EC45D9D1C}" dt="2024-03-04T12:38:44.243" v="22245"/>
          <ac:graphicFrameMkLst>
            <pc:docMk/>
            <pc:sldMk cId="2143110826" sldId="944"/>
            <ac:graphicFrameMk id="12" creationId="{F6E6AF23-7B86-113A-F559-513B41FEC1FE}"/>
          </ac:graphicFrameMkLst>
        </pc:graphicFrameChg>
        <pc:picChg chg="add mod ord modCrop">
          <ac:chgData name="Nataliia Chornii (UA)" userId="4e4b8b3d-5f31-49bb-9f80-8a25c04abfff" providerId="ADAL" clId="{EE97D3FE-9ACA-4467-98E5-532EC45D9D1C}" dt="2024-03-04T12:38:44.226" v="22213"/>
          <ac:picMkLst>
            <pc:docMk/>
            <pc:sldMk cId="2143110826" sldId="944"/>
            <ac:picMk id="11" creationId="{9EDE60FF-A01C-B5B3-CA54-65A5D78E733A}"/>
          </ac:picMkLst>
        </pc:picChg>
        <pc:picChg chg="del mod ord">
          <ac:chgData name="Nataliia Chornii (UA)" userId="4e4b8b3d-5f31-49bb-9f80-8a25c04abfff" providerId="ADAL" clId="{EE97D3FE-9ACA-4467-98E5-532EC45D9D1C}" dt="2024-03-04T12:38:30.302" v="22206" actId="478"/>
          <ac:picMkLst>
            <pc:docMk/>
            <pc:sldMk cId="2143110826" sldId="944"/>
            <ac:picMk id="41" creationId="{7CAE88F2-0719-E8A4-5A3E-39E39CF155A6}"/>
          </ac:picMkLst>
        </pc:pic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3:46.285" v="22456"/>
              <pc2:cmMkLst xmlns:pc2="http://schemas.microsoft.com/office/powerpoint/2019/9/main/command">
                <pc:docMk/>
                <pc:sldMk cId="2143110826" sldId="944"/>
                <pc2:cmMk id="{E4E4028E-C444-4B9A-9707-A02A265366EC}"/>
              </pc2:cmMkLst>
            </pc226:cmChg>
          </p:ext>
        </pc:extLst>
      </pc:sldChg>
      <pc:sldChg chg="addSp delSp modSp mod modCm">
        <pc:chgData name="Nataliia Chornii (UA)" userId="4e4b8b3d-5f31-49bb-9f80-8a25c04abfff" providerId="ADAL" clId="{EE97D3FE-9ACA-4467-98E5-532EC45D9D1C}" dt="2024-03-11T14:34:10.568" v="25040"/>
        <pc:sldMkLst>
          <pc:docMk/>
          <pc:sldMk cId="2603595337" sldId="945"/>
        </pc:sldMkLst>
        <pc:spChg chg="add mod">
          <ac:chgData name="Nataliia Chornii (UA)" userId="4e4b8b3d-5f31-49bb-9f80-8a25c04abfff" providerId="ADAL" clId="{EE97D3FE-9ACA-4467-98E5-532EC45D9D1C}" dt="2024-03-11T14:27:03.935" v="24114"/>
          <ac:spMkLst>
            <pc:docMk/>
            <pc:sldMk cId="2603595337" sldId="945"/>
            <ac:spMk id="2" creationId="{4C2946A7-6CE6-A78A-F248-0C0A646E970B}"/>
          </ac:spMkLst>
        </pc:spChg>
        <pc:spChg chg="add del mod modVis">
          <ac:chgData name="Nataliia Chornii (UA)" userId="4e4b8b3d-5f31-49bb-9f80-8a25c04abfff" providerId="ADAL" clId="{EE97D3FE-9ACA-4467-98E5-532EC45D9D1C}" dt="2024-03-04T09:52:34.380" v="20091"/>
          <ac:spMkLst>
            <pc:docMk/>
            <pc:sldMk cId="2603595337" sldId="945"/>
            <ac:spMk id="2" creationId="{8E7DFB6D-B6F3-B4F0-1121-A2E5F0B55262}"/>
          </ac:spMkLst>
        </pc:spChg>
        <pc:spChg chg="mod ord">
          <ac:chgData name="Nataliia Chornii (UA)" userId="4e4b8b3d-5f31-49bb-9f80-8a25c04abfff" providerId="ADAL" clId="{EE97D3FE-9ACA-4467-98E5-532EC45D9D1C}" dt="2024-03-04T12:55:38.208" v="23197"/>
          <ac:spMkLst>
            <pc:docMk/>
            <pc:sldMk cId="2603595337" sldId="945"/>
            <ac:spMk id="3" creationId="{F4CCF02E-F3C4-C376-8F56-61BD85A2E74B}"/>
          </ac:spMkLst>
        </pc:spChg>
        <pc:spChg chg="mod ord">
          <ac:chgData name="Nataliia Chornii (UA)" userId="4e4b8b3d-5f31-49bb-9f80-8a25c04abfff" providerId="ADAL" clId="{EE97D3FE-9ACA-4467-98E5-532EC45D9D1C}" dt="2024-03-04T12:55:38.208" v="23217"/>
          <ac:spMkLst>
            <pc:docMk/>
            <pc:sldMk cId="2603595337" sldId="945"/>
            <ac:spMk id="4" creationId="{872966CD-924A-B939-E655-A6BAF817DCBF}"/>
          </ac:spMkLst>
        </pc:spChg>
        <pc:spChg chg="add del mod ord">
          <ac:chgData name="Nataliia Chornii (UA)" userId="4e4b8b3d-5f31-49bb-9f80-8a25c04abfff" providerId="ADAL" clId="{EE97D3FE-9ACA-4467-98E5-532EC45D9D1C}" dt="2024-03-11T14:34:10.283" v="25039" actId="478"/>
          <ac:spMkLst>
            <pc:docMk/>
            <pc:sldMk cId="2603595337" sldId="945"/>
            <ac:spMk id="5" creationId="{947D8C6D-59FC-B70D-62E8-4E05ED8582AC}"/>
          </ac:spMkLst>
        </pc:spChg>
        <pc:spChg chg="add mod ord">
          <ac:chgData name="Nataliia Chornii (UA)" userId="4e4b8b3d-5f31-49bb-9f80-8a25c04abfff" providerId="ADAL" clId="{EE97D3FE-9ACA-4467-98E5-532EC45D9D1C}" dt="2024-03-04T12:55:38.208" v="23211"/>
          <ac:spMkLst>
            <pc:docMk/>
            <pc:sldMk cId="2603595337" sldId="945"/>
            <ac:spMk id="6" creationId="{33073C2D-7A64-3891-000E-CBC2D879D3D6}"/>
          </ac:spMkLst>
        </pc:spChg>
        <pc:spChg chg="add mod ord">
          <ac:chgData name="Nataliia Chornii (UA)" userId="4e4b8b3d-5f31-49bb-9f80-8a25c04abfff" providerId="ADAL" clId="{EE97D3FE-9ACA-4467-98E5-532EC45D9D1C}" dt="2024-03-04T12:55:38.208" v="23213"/>
          <ac:spMkLst>
            <pc:docMk/>
            <pc:sldMk cId="2603595337" sldId="945"/>
            <ac:spMk id="7" creationId="{476838B8-1342-3A4D-BDA8-A2B47757767A}"/>
          </ac:spMkLst>
        </pc:spChg>
        <pc:spChg chg="mod ord">
          <ac:chgData name="Nataliia Chornii (UA)" userId="4e4b8b3d-5f31-49bb-9f80-8a25c04abfff" providerId="ADAL" clId="{EE97D3FE-9ACA-4467-98E5-532EC45D9D1C}" dt="2024-03-04T12:55:38.208" v="23207"/>
          <ac:spMkLst>
            <pc:docMk/>
            <pc:sldMk cId="2603595337" sldId="945"/>
            <ac:spMk id="8" creationId="{8F84A1C1-A3B2-78F7-2F05-EA937E442831}"/>
          </ac:spMkLst>
        </pc:spChg>
        <pc:spChg chg="del">
          <ac:chgData name="Nataliia Chornii (UA)" userId="4e4b8b3d-5f31-49bb-9f80-8a25c04abfff" providerId="ADAL" clId="{EE97D3FE-9ACA-4467-98E5-532EC45D9D1C}" dt="2024-03-04T09:52:46.251" v="20106" actId="478"/>
          <ac:spMkLst>
            <pc:docMk/>
            <pc:sldMk cId="2603595337" sldId="945"/>
            <ac:spMk id="10" creationId="{6F55AA3F-6103-110B-C367-10711AC49356}"/>
          </ac:spMkLst>
        </pc:spChg>
        <pc:spChg chg="mod">
          <ac:chgData name="Nataliia Chornii (UA)" userId="4e4b8b3d-5f31-49bb-9f80-8a25c04abfff" providerId="ADAL" clId="{EE97D3FE-9ACA-4467-98E5-532EC45D9D1C}" dt="2024-03-04T12:39:27.719" v="22252"/>
          <ac:spMkLst>
            <pc:docMk/>
            <pc:sldMk cId="2603595337" sldId="945"/>
            <ac:spMk id="11" creationId="{B97EA9FE-6F32-F712-7E51-B2E8E01944AA}"/>
          </ac:spMkLst>
        </pc:spChg>
        <pc:spChg chg="mod">
          <ac:chgData name="Nataliia Chornii (UA)" userId="4e4b8b3d-5f31-49bb-9f80-8a25c04abfff" providerId="ADAL" clId="{EE97D3FE-9ACA-4467-98E5-532EC45D9D1C}" dt="2024-03-04T12:39:27.719" v="22252"/>
          <ac:spMkLst>
            <pc:docMk/>
            <pc:sldMk cId="2603595337" sldId="945"/>
            <ac:spMk id="13" creationId="{CA412EFC-5F90-18DC-6BD2-BA6ECB68F4B4}"/>
          </ac:spMkLst>
        </pc:spChg>
        <pc:spChg chg="mod">
          <ac:chgData name="Nataliia Chornii (UA)" userId="4e4b8b3d-5f31-49bb-9f80-8a25c04abfff" providerId="ADAL" clId="{EE97D3FE-9ACA-4467-98E5-532EC45D9D1C}" dt="2024-03-04T12:39:27.719" v="22252"/>
          <ac:spMkLst>
            <pc:docMk/>
            <pc:sldMk cId="2603595337" sldId="945"/>
            <ac:spMk id="14" creationId="{52E26734-CD51-88AC-27C1-16D226149857}"/>
          </ac:spMkLst>
        </pc:spChg>
        <pc:spChg chg="add del mod modVis">
          <ac:chgData name="Nataliia Chornii (UA)" userId="4e4b8b3d-5f31-49bb-9f80-8a25c04abfff" providerId="ADAL" clId="{EE97D3FE-9ACA-4467-98E5-532EC45D9D1C}" dt="2024-03-04T12:39:54.791" v="22311"/>
          <ac:spMkLst>
            <pc:docMk/>
            <pc:sldMk cId="2603595337" sldId="945"/>
            <ac:spMk id="15" creationId="{293FA15E-F33B-5164-2F95-F4715D8D7172}"/>
          </ac:spMkLst>
        </pc:spChg>
        <pc:spChg chg="mod">
          <ac:chgData name="Nataliia Chornii (UA)" userId="4e4b8b3d-5f31-49bb-9f80-8a25c04abfff" providerId="ADAL" clId="{EE97D3FE-9ACA-4467-98E5-532EC45D9D1C}" dt="2024-03-11T14:27:03.935" v="24114"/>
          <ac:spMkLst>
            <pc:docMk/>
            <pc:sldMk cId="2603595337" sldId="945"/>
            <ac:spMk id="15" creationId="{8626AAF3-EE37-B559-13DA-47AEB3C66E16}"/>
          </ac:spMkLst>
        </pc:spChg>
        <pc:spChg chg="mod">
          <ac:chgData name="Nataliia Chornii (UA)" userId="4e4b8b3d-5f31-49bb-9f80-8a25c04abfff" providerId="ADAL" clId="{EE97D3FE-9ACA-4467-98E5-532EC45D9D1C}" dt="2024-03-11T14:27:03.935" v="24114"/>
          <ac:spMkLst>
            <pc:docMk/>
            <pc:sldMk cId="2603595337" sldId="945"/>
            <ac:spMk id="16" creationId="{487677E6-6A05-EF86-AEA0-9AD7F8B5A731}"/>
          </ac:spMkLst>
        </pc:spChg>
        <pc:spChg chg="add del mod modVis">
          <ac:chgData name="Nataliia Chornii (UA)" userId="4e4b8b3d-5f31-49bb-9f80-8a25c04abfff" providerId="ADAL" clId="{EE97D3FE-9ACA-4467-98E5-532EC45D9D1C}" dt="2024-03-04T12:41:09.467" v="22372"/>
          <ac:spMkLst>
            <pc:docMk/>
            <pc:sldMk cId="2603595337" sldId="945"/>
            <ac:spMk id="18" creationId="{306C8097-DD6C-A92F-16A8-C87D3E59E4E6}"/>
          </ac:spMkLst>
        </pc:spChg>
        <pc:spChg chg="mod">
          <ac:chgData name="Nataliia Chornii (UA)" userId="4e4b8b3d-5f31-49bb-9f80-8a25c04abfff" providerId="ADAL" clId="{EE97D3FE-9ACA-4467-98E5-532EC45D9D1C}" dt="2024-03-11T14:27:03.935" v="24114"/>
          <ac:spMkLst>
            <pc:docMk/>
            <pc:sldMk cId="2603595337" sldId="945"/>
            <ac:spMk id="18" creationId="{719AA84F-CE44-2AF0-0204-74932E375B41}"/>
          </ac:spMkLst>
        </pc:spChg>
        <pc:spChg chg="mod">
          <ac:chgData name="Nataliia Chornii (UA)" userId="4e4b8b3d-5f31-49bb-9f80-8a25c04abfff" providerId="ADAL" clId="{EE97D3FE-9ACA-4467-98E5-532EC45D9D1C}" dt="2024-03-11T14:27:03.935" v="24114"/>
          <ac:spMkLst>
            <pc:docMk/>
            <pc:sldMk cId="2603595337" sldId="945"/>
            <ac:spMk id="19" creationId="{4CB088B6-74E4-B964-527C-CC436014F421}"/>
          </ac:spMkLst>
        </pc:spChg>
        <pc:spChg chg="del">
          <ac:chgData name="Nataliia Chornii (UA)" userId="4e4b8b3d-5f31-49bb-9f80-8a25c04abfff" providerId="ADAL" clId="{EE97D3FE-9ACA-4467-98E5-532EC45D9D1C}" dt="2024-03-04T09:52:46.251" v="20106" actId="478"/>
          <ac:spMkLst>
            <pc:docMk/>
            <pc:sldMk cId="2603595337" sldId="945"/>
            <ac:spMk id="19" creationId="{6540A5E1-A41A-D662-410E-E26837FEC171}"/>
          </ac:spMkLst>
        </pc:spChg>
        <pc:spChg chg="mod">
          <ac:chgData name="Nataliia Chornii (UA)" userId="4e4b8b3d-5f31-49bb-9f80-8a25c04abfff" providerId="ADAL" clId="{EE97D3FE-9ACA-4467-98E5-532EC45D9D1C}" dt="2024-03-11T14:27:03.935" v="24114"/>
          <ac:spMkLst>
            <pc:docMk/>
            <pc:sldMk cId="2603595337" sldId="945"/>
            <ac:spMk id="20" creationId="{84066C92-D081-AF3B-7DE9-E7D3BB477FF7}"/>
          </ac:spMkLst>
        </pc:spChg>
        <pc:spChg chg="add del mod modVis">
          <ac:chgData name="Nataliia Chornii (UA)" userId="4e4b8b3d-5f31-49bb-9f80-8a25c04abfff" providerId="ADAL" clId="{EE97D3FE-9ACA-4467-98E5-532EC45D9D1C}" dt="2024-03-04T12:41:11.511" v="22399"/>
          <ac:spMkLst>
            <pc:docMk/>
            <pc:sldMk cId="2603595337" sldId="945"/>
            <ac:spMk id="20" creationId="{87208DDD-42B5-6A3E-DA13-0890FFA7DFEE}"/>
          </ac:spMkLst>
        </pc:spChg>
        <pc:spChg chg="add del mod modVis">
          <ac:chgData name="Nataliia Chornii (UA)" userId="4e4b8b3d-5f31-49bb-9f80-8a25c04abfff" providerId="ADAL" clId="{EE97D3FE-9ACA-4467-98E5-532EC45D9D1C}" dt="2024-03-04T12:41:12.222" v="22434"/>
          <ac:spMkLst>
            <pc:docMk/>
            <pc:sldMk cId="2603595337" sldId="945"/>
            <ac:spMk id="21" creationId="{235CD11D-C0E0-B646-273F-764088AA7CF8}"/>
          </ac:spMkLst>
        </pc:spChg>
        <pc:spChg chg="mod">
          <ac:chgData name="Nataliia Chornii (UA)" userId="4e4b8b3d-5f31-49bb-9f80-8a25c04abfff" providerId="ADAL" clId="{EE97D3FE-9ACA-4467-98E5-532EC45D9D1C}" dt="2024-03-11T14:27:03.935" v="24114"/>
          <ac:spMkLst>
            <pc:docMk/>
            <pc:sldMk cId="2603595337" sldId="945"/>
            <ac:spMk id="21" creationId="{96BC1103-8FF3-08BA-32E0-C64A13FD8B87}"/>
          </ac:spMkLst>
        </pc:spChg>
        <pc:spChg chg="add mod">
          <ac:chgData name="Nataliia Chornii (UA)" userId="4e4b8b3d-5f31-49bb-9f80-8a25c04abfff" providerId="ADAL" clId="{EE97D3FE-9ACA-4467-98E5-532EC45D9D1C}" dt="2024-03-11T14:34:10.568" v="25040"/>
          <ac:spMkLst>
            <pc:docMk/>
            <pc:sldMk cId="2603595337" sldId="945"/>
            <ac:spMk id="22" creationId="{335F61F5-5C74-1696-932B-44705F59F366}"/>
          </ac:spMkLst>
        </pc:spChg>
        <pc:spChg chg="del mod">
          <ac:chgData name="Nataliia Chornii (UA)" userId="4e4b8b3d-5f31-49bb-9f80-8a25c04abfff" providerId="ADAL" clId="{EE97D3FE-9ACA-4467-98E5-532EC45D9D1C}" dt="2024-03-04T12:39:32.726" v="22254" actId="478"/>
          <ac:spMkLst>
            <pc:docMk/>
            <pc:sldMk cId="2603595337" sldId="945"/>
            <ac:spMk id="25" creationId="{2B261BF4-92C6-462D-AA95-793AE54DD688}"/>
          </ac:spMkLst>
        </pc:spChg>
        <pc:spChg chg="mod ord">
          <ac:chgData name="Nataliia Chornii (UA)" userId="4e4b8b3d-5f31-49bb-9f80-8a25c04abfff" providerId="ADAL" clId="{EE97D3FE-9ACA-4467-98E5-532EC45D9D1C}" dt="2024-03-04T12:55:38.208" v="23199"/>
          <ac:spMkLst>
            <pc:docMk/>
            <pc:sldMk cId="2603595337" sldId="945"/>
            <ac:spMk id="26" creationId="{5EC1F9AE-82A4-85FE-592B-EF659F76F7EC}"/>
          </ac:spMkLst>
        </pc:spChg>
        <pc:spChg chg="del">
          <ac:chgData name="Nataliia Chornii (UA)" userId="4e4b8b3d-5f31-49bb-9f80-8a25c04abfff" providerId="ADAL" clId="{EE97D3FE-9ACA-4467-98E5-532EC45D9D1C}" dt="2024-03-04T12:39:32.726" v="22254" actId="478"/>
          <ac:spMkLst>
            <pc:docMk/>
            <pc:sldMk cId="2603595337" sldId="945"/>
            <ac:spMk id="27" creationId="{72D802D4-B169-1594-D931-40179675E33A}"/>
          </ac:spMkLst>
        </pc:spChg>
        <pc:spChg chg="mod ord">
          <ac:chgData name="Nataliia Chornii (UA)" userId="4e4b8b3d-5f31-49bb-9f80-8a25c04abfff" providerId="ADAL" clId="{EE97D3FE-9ACA-4467-98E5-532EC45D9D1C}" dt="2024-03-04T12:55:38.208" v="23201"/>
          <ac:spMkLst>
            <pc:docMk/>
            <pc:sldMk cId="2603595337" sldId="945"/>
            <ac:spMk id="29" creationId="{3915AD89-6428-4A75-0915-328643F1703C}"/>
          </ac:spMkLst>
        </pc:spChg>
        <pc:spChg chg="mod ord">
          <ac:chgData name="Nataliia Chornii (UA)" userId="4e4b8b3d-5f31-49bb-9f80-8a25c04abfff" providerId="ADAL" clId="{EE97D3FE-9ACA-4467-98E5-532EC45D9D1C}" dt="2024-03-04T12:55:38.208" v="23203"/>
          <ac:spMkLst>
            <pc:docMk/>
            <pc:sldMk cId="2603595337" sldId="945"/>
            <ac:spMk id="30" creationId="{373AB206-F1F0-CC72-8C15-85605D9AF2AC}"/>
          </ac:spMkLst>
        </pc:spChg>
        <pc:spChg chg="mod ord">
          <ac:chgData name="Nataliia Chornii (UA)" userId="4e4b8b3d-5f31-49bb-9f80-8a25c04abfff" providerId="ADAL" clId="{EE97D3FE-9ACA-4467-98E5-532EC45D9D1C}" dt="2024-03-04T12:55:38.208" v="23195"/>
          <ac:spMkLst>
            <pc:docMk/>
            <pc:sldMk cId="2603595337" sldId="945"/>
            <ac:spMk id="42" creationId="{50830596-224D-A11D-D251-21B0CA3EB02E}"/>
          </ac:spMkLst>
        </pc:spChg>
        <pc:spChg chg="del">
          <ac:chgData name="Nataliia Chornii (UA)" userId="4e4b8b3d-5f31-49bb-9f80-8a25c04abfff" providerId="ADAL" clId="{EE97D3FE-9ACA-4467-98E5-532EC45D9D1C}" dt="2024-03-04T12:39:32.726" v="22254" actId="478"/>
          <ac:spMkLst>
            <pc:docMk/>
            <pc:sldMk cId="2603595337" sldId="945"/>
            <ac:spMk id="44" creationId="{37325A5C-F07F-2313-782A-18E3E98D15F0}"/>
          </ac:spMkLst>
        </pc:spChg>
        <pc:spChg chg="del">
          <ac:chgData name="Nataliia Chornii (UA)" userId="4e4b8b3d-5f31-49bb-9f80-8a25c04abfff" providerId="ADAL" clId="{EE97D3FE-9ACA-4467-98E5-532EC45D9D1C}" dt="2024-03-04T12:39:32.726" v="22254" actId="478"/>
          <ac:spMkLst>
            <pc:docMk/>
            <pc:sldMk cId="2603595337" sldId="945"/>
            <ac:spMk id="45" creationId="{5A4A472A-422C-56F4-A0F5-AE422E82D144}"/>
          </ac:spMkLst>
        </pc:spChg>
        <pc:spChg chg="mod ord">
          <ac:chgData name="Nataliia Chornii (UA)" userId="4e4b8b3d-5f31-49bb-9f80-8a25c04abfff" providerId="ADAL" clId="{EE97D3FE-9ACA-4467-98E5-532EC45D9D1C}" dt="2024-03-04T12:55:38.208" v="23205"/>
          <ac:spMkLst>
            <pc:docMk/>
            <pc:sldMk cId="2603595337" sldId="945"/>
            <ac:spMk id="46" creationId="{09BF84D6-F468-7005-FAB5-AA0B6AE5CFB4}"/>
          </ac:spMkLst>
        </pc:spChg>
        <pc:spChg chg="del">
          <ac:chgData name="Nataliia Chornii (UA)" userId="4e4b8b3d-5f31-49bb-9f80-8a25c04abfff" providerId="ADAL" clId="{EE97D3FE-9ACA-4467-98E5-532EC45D9D1C}" dt="2024-03-04T12:39:32.726" v="22254" actId="478"/>
          <ac:spMkLst>
            <pc:docMk/>
            <pc:sldMk cId="2603595337" sldId="945"/>
            <ac:spMk id="49" creationId="{DED3BED4-139F-CB4F-0A7B-7B90211550F4}"/>
          </ac:spMkLst>
        </pc:spChg>
        <pc:grpChg chg="add mod ord">
          <ac:chgData name="Nataliia Chornii (UA)" userId="4e4b8b3d-5f31-49bb-9f80-8a25c04abfff" providerId="ADAL" clId="{EE97D3FE-9ACA-4467-98E5-532EC45D9D1C}" dt="2024-03-04T12:55:38.208" v="23215"/>
          <ac:grpSpMkLst>
            <pc:docMk/>
            <pc:sldMk cId="2603595337" sldId="945"/>
            <ac:grpSpMk id="9" creationId="{05942C02-ABC3-6D55-D5DF-35A9DC4B4128}"/>
          </ac:grpSpMkLst>
        </pc:grpChg>
        <pc:grpChg chg="add mod">
          <ac:chgData name="Nataliia Chornii (UA)" userId="4e4b8b3d-5f31-49bb-9f80-8a25c04abfff" providerId="ADAL" clId="{EE97D3FE-9ACA-4467-98E5-532EC45D9D1C}" dt="2024-03-11T14:27:03.935" v="24114"/>
          <ac:grpSpMkLst>
            <pc:docMk/>
            <pc:sldMk cId="2603595337" sldId="945"/>
            <ac:grpSpMk id="10" creationId="{6B5D52A4-21DD-4358-FD66-F303B98D1CF7}"/>
          </ac:grpSpMkLst>
        </pc:grpChg>
        <pc:graphicFrameChg chg="mod">
          <ac:chgData name="Nataliia Chornii (UA)" userId="4e4b8b3d-5f31-49bb-9f80-8a25c04abfff" providerId="ADAL" clId="{EE97D3FE-9ACA-4467-98E5-532EC45D9D1C}" dt="2024-03-04T12:55:38.208" v="23221"/>
          <ac:graphicFrameMkLst>
            <pc:docMk/>
            <pc:sldMk cId="2603595337" sldId="945"/>
            <ac:graphicFrameMk id="12" creationId="{F6E6AF23-7B86-113A-F559-513B41FEC1FE}"/>
          </ac:graphicFrameMkLst>
        </pc:graphicFrameChg>
        <pc:picChg chg="add mod ord">
          <ac:chgData name="Nataliia Chornii (UA)" userId="4e4b8b3d-5f31-49bb-9f80-8a25c04abfff" providerId="ADAL" clId="{EE97D3FE-9ACA-4467-98E5-532EC45D9D1C}" dt="2024-03-04T12:55:38.208" v="23193"/>
          <ac:picMkLst>
            <pc:docMk/>
            <pc:sldMk cId="2603595337" sldId="945"/>
            <ac:picMk id="17" creationId="{73ED1AF9-9993-177B-EE92-2177C3741411}"/>
          </ac:picMkLst>
        </pc:picChg>
        <pc:picChg chg="del mod ord">
          <ac:chgData name="Nataliia Chornii (UA)" userId="4e4b8b3d-5f31-49bb-9f80-8a25c04abfff" providerId="ADAL" clId="{EE97D3FE-9ACA-4467-98E5-532EC45D9D1C}" dt="2024-03-04T12:39:56.020" v="22314" actId="478"/>
          <ac:picMkLst>
            <pc:docMk/>
            <pc:sldMk cId="2603595337" sldId="945"/>
            <ac:picMk id="41" creationId="{7CAE88F2-0719-E8A4-5A3E-39E39CF155A6}"/>
          </ac:picMkLst>
        </pc:pic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3:49.446" v="22457"/>
              <pc2:cmMkLst xmlns:pc2="http://schemas.microsoft.com/office/powerpoint/2019/9/main/command">
                <pc:docMk/>
                <pc:sldMk cId="2603595337" sldId="945"/>
                <pc2:cmMk id="{D31A62EF-F815-4755-9A6E-9B7E3FAD370D}"/>
              </pc2:cmMkLst>
            </pc226:cmChg>
          </p:ext>
        </pc:extLst>
      </pc:sldChg>
      <pc:sldChg chg="addSp delSp modSp mod modCm">
        <pc:chgData name="Nataliia Chornii (UA)" userId="4e4b8b3d-5f31-49bb-9f80-8a25c04abfff" providerId="ADAL" clId="{EE97D3FE-9ACA-4467-98E5-532EC45D9D1C}" dt="2024-03-11T14:34:21.758" v="25145"/>
        <pc:sldMkLst>
          <pc:docMk/>
          <pc:sldMk cId="3488828484" sldId="946"/>
        </pc:sldMkLst>
        <pc:spChg chg="add mod">
          <ac:chgData name="Nataliia Chornii (UA)" userId="4e4b8b3d-5f31-49bb-9f80-8a25c04abfff" providerId="ADAL" clId="{EE97D3FE-9ACA-4467-98E5-532EC45D9D1C}" dt="2024-03-11T14:27:07.470" v="24117"/>
          <ac:spMkLst>
            <pc:docMk/>
            <pc:sldMk cId="3488828484" sldId="946"/>
            <ac:spMk id="2" creationId="{8119AA81-D51B-6287-E979-F71003D27C65}"/>
          </ac:spMkLst>
        </pc:spChg>
        <pc:spChg chg="add del mod modVis">
          <ac:chgData name="Nataliia Chornii (UA)" userId="4e4b8b3d-5f31-49bb-9f80-8a25c04abfff" providerId="ADAL" clId="{EE97D3FE-9ACA-4467-98E5-532EC45D9D1C}" dt="2024-03-04T12:45:05.473" v="22738"/>
          <ac:spMkLst>
            <pc:docMk/>
            <pc:sldMk cId="3488828484" sldId="946"/>
            <ac:spMk id="2" creationId="{E7A82AF4-B434-559E-C6D6-38053CDB66C2}"/>
          </ac:spMkLst>
        </pc:spChg>
        <pc:spChg chg="mod ord">
          <ac:chgData name="Nataliia Chornii (UA)" userId="4e4b8b3d-5f31-49bb-9f80-8a25c04abfff" providerId="ADAL" clId="{EE97D3FE-9ACA-4467-98E5-532EC45D9D1C}" dt="2024-03-04T12:45:08.529" v="22751"/>
          <ac:spMkLst>
            <pc:docMk/>
            <pc:sldMk cId="3488828484" sldId="946"/>
            <ac:spMk id="3" creationId="{F4CCF02E-F3C4-C376-8F56-61BD85A2E74B}"/>
          </ac:spMkLst>
        </pc:spChg>
        <pc:spChg chg="mod ord">
          <ac:chgData name="Nataliia Chornii (UA)" userId="4e4b8b3d-5f31-49bb-9f80-8a25c04abfff" providerId="ADAL" clId="{EE97D3FE-9ACA-4467-98E5-532EC45D9D1C}" dt="2024-03-04T12:45:08.530" v="22753"/>
          <ac:spMkLst>
            <pc:docMk/>
            <pc:sldMk cId="3488828484" sldId="946"/>
            <ac:spMk id="4" creationId="{872966CD-924A-B939-E655-A6BAF817DCBF}"/>
          </ac:spMkLst>
        </pc:spChg>
        <pc:spChg chg="add mod">
          <ac:chgData name="Nataliia Chornii (UA)" userId="4e4b8b3d-5f31-49bb-9f80-8a25c04abfff" providerId="ADAL" clId="{EE97D3FE-9ACA-4467-98E5-532EC45D9D1C}" dt="2024-03-04T12:47:33.863" v="22819"/>
          <ac:spMkLst>
            <pc:docMk/>
            <pc:sldMk cId="3488828484" sldId="946"/>
            <ac:spMk id="8" creationId="{6FBF7AD7-A09B-9F41-3430-A5D30668AE55}"/>
          </ac:spMkLst>
        </pc:spChg>
        <pc:spChg chg="mod">
          <ac:chgData name="Nataliia Chornii (UA)" userId="4e4b8b3d-5f31-49bb-9f80-8a25c04abfff" providerId="ADAL" clId="{EE97D3FE-9ACA-4467-98E5-532EC45D9D1C}" dt="2024-03-11T14:27:07.470" v="24117"/>
          <ac:spMkLst>
            <pc:docMk/>
            <pc:sldMk cId="3488828484" sldId="946"/>
            <ac:spMk id="9" creationId="{138E77CA-15AE-A5BE-F9CD-B9F34615EEEE}"/>
          </ac:spMkLst>
        </pc:spChg>
        <pc:spChg chg="mod">
          <ac:chgData name="Nataliia Chornii (UA)" userId="4e4b8b3d-5f31-49bb-9f80-8a25c04abfff" providerId="ADAL" clId="{EE97D3FE-9ACA-4467-98E5-532EC45D9D1C}" dt="2024-03-11T14:27:07.470" v="24117"/>
          <ac:spMkLst>
            <pc:docMk/>
            <pc:sldMk cId="3488828484" sldId="946"/>
            <ac:spMk id="10" creationId="{562A3F9A-3726-4F3C-62C4-7B1591D17284}"/>
          </ac:spMkLst>
        </pc:spChg>
        <pc:spChg chg="mod">
          <ac:chgData name="Nataliia Chornii (UA)" userId="4e4b8b3d-5f31-49bb-9f80-8a25c04abfff" providerId="ADAL" clId="{EE97D3FE-9ACA-4467-98E5-532EC45D9D1C}" dt="2024-03-11T14:27:07.470" v="24117"/>
          <ac:spMkLst>
            <pc:docMk/>
            <pc:sldMk cId="3488828484" sldId="946"/>
            <ac:spMk id="11" creationId="{1494F2BC-A9DE-9AB9-E6C6-7C5964DBAEC5}"/>
          </ac:spMkLst>
        </pc:spChg>
        <pc:spChg chg="mod">
          <ac:chgData name="Nataliia Chornii (UA)" userId="4e4b8b3d-5f31-49bb-9f80-8a25c04abfff" providerId="ADAL" clId="{EE97D3FE-9ACA-4467-98E5-532EC45D9D1C}" dt="2024-03-11T14:27:07.470" v="24117"/>
          <ac:spMkLst>
            <pc:docMk/>
            <pc:sldMk cId="3488828484" sldId="946"/>
            <ac:spMk id="13" creationId="{724A6B9E-2A15-82ED-5ECA-5E4D09D34742}"/>
          </ac:spMkLst>
        </pc:spChg>
        <pc:spChg chg="mod">
          <ac:chgData name="Nataliia Chornii (UA)" userId="4e4b8b3d-5f31-49bb-9f80-8a25c04abfff" providerId="ADAL" clId="{EE97D3FE-9ACA-4467-98E5-532EC45D9D1C}" dt="2024-03-11T14:27:07.470" v="24117"/>
          <ac:spMkLst>
            <pc:docMk/>
            <pc:sldMk cId="3488828484" sldId="946"/>
            <ac:spMk id="14" creationId="{F6057FBA-D276-0528-4799-DC958DF34CFC}"/>
          </ac:spMkLst>
        </pc:spChg>
        <pc:spChg chg="mod">
          <ac:chgData name="Nataliia Chornii (UA)" userId="4e4b8b3d-5f31-49bb-9f80-8a25c04abfff" providerId="ADAL" clId="{EE97D3FE-9ACA-4467-98E5-532EC45D9D1C}" dt="2024-03-11T14:27:07.470" v="24117"/>
          <ac:spMkLst>
            <pc:docMk/>
            <pc:sldMk cId="3488828484" sldId="946"/>
            <ac:spMk id="15" creationId="{7250E539-FB31-0BC9-1A68-8D7398F3FF01}"/>
          </ac:spMkLst>
        </pc:spChg>
        <pc:spChg chg="add mod">
          <ac:chgData name="Nataliia Chornii (UA)" userId="4e4b8b3d-5f31-49bb-9f80-8a25c04abfff" providerId="ADAL" clId="{EE97D3FE-9ACA-4467-98E5-532EC45D9D1C}" dt="2024-03-11T14:34:21.758" v="25145"/>
          <ac:spMkLst>
            <pc:docMk/>
            <pc:sldMk cId="3488828484" sldId="946"/>
            <ac:spMk id="16" creationId="{BF1741C3-C6E1-695F-CF3F-D21D1E19FEB8}"/>
          </ac:spMkLst>
        </pc:spChg>
        <pc:spChg chg="mod ord">
          <ac:chgData name="Nataliia Chornii (UA)" userId="4e4b8b3d-5f31-49bb-9f80-8a25c04abfff" providerId="ADAL" clId="{EE97D3FE-9ACA-4467-98E5-532EC45D9D1C}" dt="2024-03-04T12:46:12.595" v="22807" actId="555"/>
          <ac:spMkLst>
            <pc:docMk/>
            <pc:sldMk cId="3488828484" sldId="946"/>
            <ac:spMk id="25" creationId="{2B261BF4-92C6-462D-AA95-793AE54DD688}"/>
          </ac:spMkLst>
        </pc:spChg>
        <pc:spChg chg="mod ord">
          <ac:chgData name="Nataliia Chornii (UA)" userId="4e4b8b3d-5f31-49bb-9f80-8a25c04abfff" providerId="ADAL" clId="{EE97D3FE-9ACA-4467-98E5-532EC45D9D1C}" dt="2024-03-04T12:45:08.530" v="22755"/>
          <ac:spMkLst>
            <pc:docMk/>
            <pc:sldMk cId="3488828484" sldId="946"/>
            <ac:spMk id="26" creationId="{5EC1F9AE-82A4-85FE-592B-EF659F76F7EC}"/>
          </ac:spMkLst>
        </pc:spChg>
        <pc:spChg chg="mod ord">
          <ac:chgData name="Nataliia Chornii (UA)" userId="4e4b8b3d-5f31-49bb-9f80-8a25c04abfff" providerId="ADAL" clId="{EE97D3FE-9ACA-4467-98E5-532EC45D9D1C}" dt="2024-03-04T12:45:08.530" v="22757"/>
          <ac:spMkLst>
            <pc:docMk/>
            <pc:sldMk cId="3488828484" sldId="946"/>
            <ac:spMk id="27" creationId="{72D802D4-B169-1594-D931-40179675E33A}"/>
          </ac:spMkLst>
        </pc:spChg>
        <pc:spChg chg="mod ord">
          <ac:chgData name="Nataliia Chornii (UA)" userId="4e4b8b3d-5f31-49bb-9f80-8a25c04abfff" providerId="ADAL" clId="{EE97D3FE-9ACA-4467-98E5-532EC45D9D1C}" dt="2024-03-04T12:45:08.530" v="22759"/>
          <ac:spMkLst>
            <pc:docMk/>
            <pc:sldMk cId="3488828484" sldId="946"/>
            <ac:spMk id="29" creationId="{3915AD89-6428-4A75-0915-328643F1703C}"/>
          </ac:spMkLst>
        </pc:spChg>
        <pc:spChg chg="mod ord">
          <ac:chgData name="Nataliia Chornii (UA)" userId="4e4b8b3d-5f31-49bb-9f80-8a25c04abfff" providerId="ADAL" clId="{EE97D3FE-9ACA-4467-98E5-532EC45D9D1C}" dt="2024-03-04T12:45:08.530" v="22761"/>
          <ac:spMkLst>
            <pc:docMk/>
            <pc:sldMk cId="3488828484" sldId="946"/>
            <ac:spMk id="30" creationId="{373AB206-F1F0-CC72-8C15-85605D9AF2AC}"/>
          </ac:spMkLst>
        </pc:spChg>
        <pc:spChg chg="mod ord">
          <ac:chgData name="Nataliia Chornii (UA)" userId="4e4b8b3d-5f31-49bb-9f80-8a25c04abfff" providerId="ADAL" clId="{EE97D3FE-9ACA-4467-98E5-532EC45D9D1C}" dt="2024-03-04T12:45:08.514" v="22747"/>
          <ac:spMkLst>
            <pc:docMk/>
            <pc:sldMk cId="3488828484" sldId="946"/>
            <ac:spMk id="42" creationId="{50830596-224D-A11D-D251-21B0CA3EB02E}"/>
          </ac:spMkLst>
        </pc:spChg>
        <pc:spChg chg="mod ord">
          <ac:chgData name="Nataliia Chornii (UA)" userId="4e4b8b3d-5f31-49bb-9f80-8a25c04abfff" providerId="ADAL" clId="{EE97D3FE-9ACA-4467-98E5-532EC45D9D1C}" dt="2024-03-04T12:45:08.530" v="22763"/>
          <ac:spMkLst>
            <pc:docMk/>
            <pc:sldMk cId="3488828484" sldId="946"/>
            <ac:spMk id="44" creationId="{37325A5C-F07F-2313-782A-18E3E98D15F0}"/>
          </ac:spMkLst>
        </pc:spChg>
        <pc:spChg chg="mod ord">
          <ac:chgData name="Nataliia Chornii (UA)" userId="4e4b8b3d-5f31-49bb-9f80-8a25c04abfff" providerId="ADAL" clId="{EE97D3FE-9ACA-4467-98E5-532EC45D9D1C}" dt="2024-03-04T12:45:08.530" v="22765"/>
          <ac:spMkLst>
            <pc:docMk/>
            <pc:sldMk cId="3488828484" sldId="946"/>
            <ac:spMk id="45" creationId="{5A4A472A-422C-56F4-A0F5-AE422E82D144}"/>
          </ac:spMkLst>
        </pc:spChg>
        <pc:spChg chg="mod ord">
          <ac:chgData name="Nataliia Chornii (UA)" userId="4e4b8b3d-5f31-49bb-9f80-8a25c04abfff" providerId="ADAL" clId="{EE97D3FE-9ACA-4467-98E5-532EC45D9D1C}" dt="2024-03-04T12:45:08.530" v="22767"/>
          <ac:spMkLst>
            <pc:docMk/>
            <pc:sldMk cId="3488828484" sldId="946"/>
            <ac:spMk id="46" creationId="{09BF84D6-F468-7005-FAB5-AA0B6AE5CFB4}"/>
          </ac:spMkLst>
        </pc:spChg>
        <pc:spChg chg="mod ord">
          <ac:chgData name="Nataliia Chornii (UA)" userId="4e4b8b3d-5f31-49bb-9f80-8a25c04abfff" providerId="ADAL" clId="{EE97D3FE-9ACA-4467-98E5-532EC45D9D1C}" dt="2024-03-04T12:45:08.530" v="22769"/>
          <ac:spMkLst>
            <pc:docMk/>
            <pc:sldMk cId="3488828484" sldId="946"/>
            <ac:spMk id="49" creationId="{DED3BED4-139F-CB4F-0A7B-7B90211550F4}"/>
          </ac:spMkLst>
        </pc:spChg>
        <pc:spChg chg="mod ord">
          <ac:chgData name="Nataliia Chornii (UA)" userId="4e4b8b3d-5f31-49bb-9f80-8a25c04abfff" providerId="ADAL" clId="{EE97D3FE-9ACA-4467-98E5-532EC45D9D1C}" dt="2024-03-04T12:47:41.806" v="22820" actId="14100"/>
          <ac:spMkLst>
            <pc:docMk/>
            <pc:sldMk cId="3488828484" sldId="946"/>
            <ac:spMk id="50" creationId="{0130363F-7CE7-F3D0-4AB5-F295FAC2DCBC}"/>
          </ac:spMkLst>
        </pc:spChg>
        <pc:spChg chg="mod ord">
          <ac:chgData name="Nataliia Chornii (UA)" userId="4e4b8b3d-5f31-49bb-9f80-8a25c04abfff" providerId="ADAL" clId="{EE97D3FE-9ACA-4467-98E5-532EC45D9D1C}" dt="2024-03-04T12:45:08.530" v="22773"/>
          <ac:spMkLst>
            <pc:docMk/>
            <pc:sldMk cId="3488828484" sldId="946"/>
            <ac:spMk id="51" creationId="{AFEB1935-0849-FFDB-14A2-768E555E2F79}"/>
          </ac:spMkLst>
        </pc:spChg>
        <pc:spChg chg="del mod ord">
          <ac:chgData name="Nataliia Chornii (UA)" userId="4e4b8b3d-5f31-49bb-9f80-8a25c04abfff" providerId="ADAL" clId="{EE97D3FE-9ACA-4467-98E5-532EC45D9D1C}" dt="2024-03-04T12:47:33.513" v="22818" actId="478"/>
          <ac:spMkLst>
            <pc:docMk/>
            <pc:sldMk cId="3488828484" sldId="946"/>
            <ac:spMk id="52" creationId="{C28EBB85-E5E0-FA58-8077-AD15508F23C6}"/>
          </ac:spMkLst>
        </pc:spChg>
        <pc:spChg chg="del mod ord">
          <ac:chgData name="Nataliia Chornii (UA)" userId="4e4b8b3d-5f31-49bb-9f80-8a25c04abfff" providerId="ADAL" clId="{EE97D3FE-9ACA-4467-98E5-532EC45D9D1C}" dt="2024-03-11T14:34:21.488" v="25144" actId="478"/>
          <ac:spMkLst>
            <pc:docMk/>
            <pc:sldMk cId="3488828484" sldId="946"/>
            <ac:spMk id="57" creationId="{E0007A68-F3EF-5218-37FA-972FF8C8BB56}"/>
          </ac:spMkLst>
        </pc:spChg>
        <pc:spChg chg="mod ord">
          <ac:chgData name="Nataliia Chornii (UA)" userId="4e4b8b3d-5f31-49bb-9f80-8a25c04abfff" providerId="ADAL" clId="{EE97D3FE-9ACA-4467-98E5-532EC45D9D1C}" dt="2024-03-04T12:46:15.573" v="22808" actId="164"/>
          <ac:spMkLst>
            <pc:docMk/>
            <pc:sldMk cId="3488828484" sldId="946"/>
            <ac:spMk id="93" creationId="{5A55EC81-0AD5-CE05-4AAF-6599399D9BD3}"/>
          </ac:spMkLst>
        </pc:spChg>
        <pc:spChg chg="mod ord">
          <ac:chgData name="Nataliia Chornii (UA)" userId="4e4b8b3d-5f31-49bb-9f80-8a25c04abfff" providerId="ADAL" clId="{EE97D3FE-9ACA-4467-98E5-532EC45D9D1C}" dt="2024-03-04T12:46:15.573" v="22808" actId="164"/>
          <ac:spMkLst>
            <pc:docMk/>
            <pc:sldMk cId="3488828484" sldId="946"/>
            <ac:spMk id="94" creationId="{2945AFC3-C832-6045-1DDE-A189FFBEDD95}"/>
          </ac:spMkLst>
        </pc:spChg>
        <pc:spChg chg="mod ord">
          <ac:chgData name="Nataliia Chornii (UA)" userId="4e4b8b3d-5f31-49bb-9f80-8a25c04abfff" providerId="ADAL" clId="{EE97D3FE-9ACA-4467-98E5-532EC45D9D1C}" dt="2024-03-04T12:46:15.573" v="22808" actId="164"/>
          <ac:spMkLst>
            <pc:docMk/>
            <pc:sldMk cId="3488828484" sldId="946"/>
            <ac:spMk id="96" creationId="{2A913932-8BE1-F1EB-2C97-BB1A5EF0C629}"/>
          </ac:spMkLst>
        </pc:spChg>
        <pc:spChg chg="mod ord">
          <ac:chgData name="Nataliia Chornii (UA)" userId="4e4b8b3d-5f31-49bb-9f80-8a25c04abfff" providerId="ADAL" clId="{EE97D3FE-9ACA-4467-98E5-532EC45D9D1C}" dt="2024-03-04T12:46:12.595" v="22807" actId="555"/>
          <ac:spMkLst>
            <pc:docMk/>
            <pc:sldMk cId="3488828484" sldId="946"/>
            <ac:spMk id="105" creationId="{C73B42A3-EA68-B90F-A6C9-5F7FF93DD187}"/>
          </ac:spMkLst>
        </pc:spChg>
        <pc:grpChg chg="add mod">
          <ac:chgData name="Nataliia Chornii (UA)" userId="4e4b8b3d-5f31-49bb-9f80-8a25c04abfff" providerId="ADAL" clId="{EE97D3FE-9ACA-4467-98E5-532EC45D9D1C}" dt="2024-03-11T14:27:07.470" v="24117"/>
          <ac:grpSpMkLst>
            <pc:docMk/>
            <pc:sldMk cId="3488828484" sldId="946"/>
            <ac:grpSpMk id="6" creationId="{62E297C8-1F34-0629-6AFB-E8CB4F61BFA0}"/>
          </ac:grpSpMkLst>
        </pc:grpChg>
        <pc:grpChg chg="add mod">
          <ac:chgData name="Nataliia Chornii (UA)" userId="4e4b8b3d-5f31-49bb-9f80-8a25c04abfff" providerId="ADAL" clId="{EE97D3FE-9ACA-4467-98E5-532EC45D9D1C}" dt="2024-03-04T12:46:17.503" v="22809" actId="465"/>
          <ac:grpSpMkLst>
            <pc:docMk/>
            <pc:sldMk cId="3488828484" sldId="946"/>
            <ac:grpSpMk id="7" creationId="{0C7C54A4-AC5D-5A5E-2CED-7EC3CEA9DE86}"/>
          </ac:grpSpMkLst>
        </pc:grpChg>
        <pc:graphicFrameChg chg="mod">
          <ac:chgData name="Nataliia Chornii (UA)" userId="4e4b8b3d-5f31-49bb-9f80-8a25c04abfff" providerId="ADAL" clId="{EE97D3FE-9ACA-4467-98E5-532EC45D9D1C}" dt="2024-03-04T12:45:08.545" v="22793"/>
          <ac:graphicFrameMkLst>
            <pc:docMk/>
            <pc:sldMk cId="3488828484" sldId="946"/>
            <ac:graphicFrameMk id="12" creationId="{F6E6AF23-7B86-113A-F559-513B41FEC1FE}"/>
          </ac:graphicFrameMkLst>
        </pc:graphicFrameChg>
        <pc:picChg chg="add mod ord">
          <ac:chgData name="Nataliia Chornii (UA)" userId="4e4b8b3d-5f31-49bb-9f80-8a25c04abfff" providerId="ADAL" clId="{EE97D3FE-9ACA-4467-98E5-532EC45D9D1C}" dt="2024-03-04T12:45:08.514" v="22745"/>
          <ac:picMkLst>
            <pc:docMk/>
            <pc:sldMk cId="3488828484" sldId="946"/>
            <ac:picMk id="5" creationId="{6C899CEF-87FE-63E9-4F7C-FA60BC973504}"/>
          </ac:picMkLst>
        </pc:picChg>
        <pc:picChg chg="del mod ord">
          <ac:chgData name="Nataliia Chornii (UA)" userId="4e4b8b3d-5f31-49bb-9f80-8a25c04abfff" providerId="ADAL" clId="{EE97D3FE-9ACA-4467-98E5-532EC45D9D1C}" dt="2024-03-04T12:45:06.104" v="22741" actId="478"/>
          <ac:picMkLst>
            <pc:docMk/>
            <pc:sldMk cId="3488828484" sldId="946"/>
            <ac:picMk id="41" creationId="{7CAE88F2-0719-E8A4-5A3E-39E39CF155A6}"/>
          </ac:picMkLst>
        </pc:picChg>
        <pc:cxnChg chg="mod ord">
          <ac:chgData name="Nataliia Chornii (UA)" userId="4e4b8b3d-5f31-49bb-9f80-8a25c04abfff" providerId="ADAL" clId="{EE97D3FE-9ACA-4467-98E5-532EC45D9D1C}" dt="2024-03-04T12:45:08.530" v="22777"/>
          <ac:cxnSpMkLst>
            <pc:docMk/>
            <pc:sldMk cId="3488828484" sldId="946"/>
            <ac:cxnSpMk id="53" creationId="{F358E754-064A-5B8C-B2FC-4E612BA07893}"/>
          </ac:cxnSpMkLst>
        </pc:cxnChg>
        <pc:cxnChg chg="mod ord">
          <ac:chgData name="Nataliia Chornii (UA)" userId="4e4b8b3d-5f31-49bb-9f80-8a25c04abfff" providerId="ADAL" clId="{EE97D3FE-9ACA-4467-98E5-532EC45D9D1C}" dt="2024-03-04T12:46:15.573" v="22808" actId="164"/>
          <ac:cxnSpMkLst>
            <pc:docMk/>
            <pc:sldMk cId="3488828484" sldId="946"/>
            <ac:cxnSpMk id="95" creationId="{D4EEEA95-3B5D-59D7-CC7D-E49C940EDFA8}"/>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55:42.492" v="23222"/>
              <pc2:cmMkLst xmlns:pc2="http://schemas.microsoft.com/office/powerpoint/2019/9/main/command">
                <pc:docMk/>
                <pc:sldMk cId="3488828484" sldId="946"/>
                <pc2:cmMk id="{9B0D3FA9-9E12-42E0-8291-A58BCC6F688A}"/>
              </pc2:cmMkLst>
            </pc226:cmChg>
          </p:ext>
        </pc:extLst>
      </pc:sldChg>
      <pc:sldChg chg="addSp delSp modSp mod modCm">
        <pc:chgData name="Nataliia Chornii (UA)" userId="4e4b8b3d-5f31-49bb-9f80-8a25c04abfff" providerId="ADAL" clId="{EE97D3FE-9ACA-4467-98E5-532EC45D9D1C}" dt="2024-03-11T14:33:32.416" v="24592"/>
        <pc:sldMkLst>
          <pc:docMk/>
          <pc:sldMk cId="3911462717" sldId="947"/>
        </pc:sldMkLst>
        <pc:spChg chg="add mod ord">
          <ac:chgData name="Nataliia Chornii (UA)" userId="4e4b8b3d-5f31-49bb-9f80-8a25c04abfff" providerId="ADAL" clId="{EE97D3FE-9ACA-4467-98E5-532EC45D9D1C}" dt="2024-03-11T14:33:30.376" v="24584"/>
          <ac:spMkLst>
            <pc:docMk/>
            <pc:sldMk cId="3911462717" sldId="947"/>
            <ac:spMk id="2" creationId="{24AE5FB6-090E-5A56-2889-6CE30C616472}"/>
          </ac:spMkLst>
        </pc:spChg>
        <pc:spChg chg="add del mod modVis">
          <ac:chgData name="Nataliia Chornii (UA)" userId="4e4b8b3d-5f31-49bb-9f80-8a25c04abfff" providerId="ADAL" clId="{EE97D3FE-9ACA-4467-98E5-532EC45D9D1C}" dt="2024-03-04T09:51:15.458" v="19955"/>
          <ac:spMkLst>
            <pc:docMk/>
            <pc:sldMk cId="3911462717" sldId="947"/>
            <ac:spMk id="2" creationId="{4EAA36D2-D6FE-FC3B-991A-BB6F7BA811E9}"/>
          </ac:spMkLst>
        </pc:spChg>
        <pc:spChg chg="mod ord">
          <ac:chgData name="Nataliia Chornii (UA)" userId="4e4b8b3d-5f31-49bb-9f80-8a25c04abfff" providerId="ADAL" clId="{EE97D3FE-9ACA-4467-98E5-532EC45D9D1C}" dt="2024-03-11T14:33:30.376" v="24562"/>
          <ac:spMkLst>
            <pc:docMk/>
            <pc:sldMk cId="3911462717" sldId="947"/>
            <ac:spMk id="3" creationId="{F4CCF02E-F3C4-C376-8F56-61BD85A2E74B}"/>
          </ac:spMkLst>
        </pc:spChg>
        <pc:spChg chg="mod ord">
          <ac:chgData name="Nataliia Chornii (UA)" userId="4e4b8b3d-5f31-49bb-9f80-8a25c04abfff" providerId="ADAL" clId="{EE97D3FE-9ACA-4467-98E5-532EC45D9D1C}" dt="2024-03-11T14:33:30.376" v="24564"/>
          <ac:spMkLst>
            <pc:docMk/>
            <pc:sldMk cId="3911462717" sldId="947"/>
            <ac:spMk id="4" creationId="{872966CD-924A-B939-E655-A6BAF817DCBF}"/>
          </ac:spMkLst>
        </pc:spChg>
        <pc:spChg chg="add del mod ord">
          <ac:chgData name="Nataliia Chornii (UA)" userId="4e4b8b3d-5f31-49bb-9f80-8a25c04abfff" providerId="ADAL" clId="{EE97D3FE-9ACA-4467-98E5-532EC45D9D1C}" dt="2024-03-11T14:33:32.113" v="24591" actId="478"/>
          <ac:spMkLst>
            <pc:docMk/>
            <pc:sldMk cId="3911462717" sldId="947"/>
            <ac:spMk id="5" creationId="{B8117B57-8E39-5418-6527-0CB9323D2C76}"/>
          </ac:spMkLst>
        </pc:spChg>
        <pc:spChg chg="add del mod modVis">
          <ac:chgData name="Nataliia Chornii (UA)" userId="4e4b8b3d-5f31-49bb-9f80-8a25c04abfff" providerId="ADAL" clId="{EE97D3FE-9ACA-4467-98E5-532EC45D9D1C}" dt="2024-03-04T12:36:31.479" v="22057"/>
          <ac:spMkLst>
            <pc:docMk/>
            <pc:sldMk cId="3911462717" sldId="947"/>
            <ac:spMk id="6" creationId="{CE999CED-9B2B-0949-798B-4444E0828165}"/>
          </ac:spMkLst>
        </pc:spChg>
        <pc:spChg chg="del mod ord">
          <ac:chgData name="Nataliia Chornii (UA)" userId="4e4b8b3d-5f31-49bb-9f80-8a25c04abfff" providerId="ADAL" clId="{EE97D3FE-9ACA-4467-98E5-532EC45D9D1C}" dt="2024-03-04T12:37:10.343" v="22108" actId="478"/>
          <ac:spMkLst>
            <pc:docMk/>
            <pc:sldMk cId="3911462717" sldId="947"/>
            <ac:spMk id="8" creationId="{8F84A1C1-A3B2-78F7-2F05-EA937E442831}"/>
          </ac:spMkLst>
        </pc:spChg>
        <pc:spChg chg="mod">
          <ac:chgData name="Nataliia Chornii (UA)" userId="4e4b8b3d-5f31-49bb-9f80-8a25c04abfff" providerId="ADAL" clId="{EE97D3FE-9ACA-4467-98E5-532EC45D9D1C}" dt="2024-03-11T14:26:45.247" v="24104"/>
          <ac:spMkLst>
            <pc:docMk/>
            <pc:sldMk cId="3911462717" sldId="947"/>
            <ac:spMk id="8" creationId="{9ADB23DA-EF2A-717B-1AF0-280F3D4A6B56}"/>
          </ac:spMkLst>
        </pc:spChg>
        <pc:spChg chg="add mod ord">
          <ac:chgData name="Nataliia Chornii (UA)" userId="4e4b8b3d-5f31-49bb-9f80-8a25c04abfff" providerId="ADAL" clId="{EE97D3FE-9ACA-4467-98E5-532EC45D9D1C}" dt="2024-03-11T14:33:30.365" v="24554"/>
          <ac:spMkLst>
            <pc:docMk/>
            <pc:sldMk cId="3911462717" sldId="947"/>
            <ac:spMk id="9" creationId="{3C02F18C-4E74-90B5-EC0B-78FCC94453E3}"/>
          </ac:spMkLst>
        </pc:spChg>
        <pc:spChg chg="del">
          <ac:chgData name="Nataliia Chornii (UA)" userId="4e4b8b3d-5f31-49bb-9f80-8a25c04abfff" providerId="ADAL" clId="{EE97D3FE-9ACA-4467-98E5-532EC45D9D1C}" dt="2024-03-04T09:51:33.149" v="19973" actId="478"/>
          <ac:spMkLst>
            <pc:docMk/>
            <pc:sldMk cId="3911462717" sldId="947"/>
            <ac:spMk id="10" creationId="{6F55AA3F-6103-110B-C367-10711AC49356}"/>
          </ac:spMkLst>
        </pc:spChg>
        <pc:spChg chg="mod">
          <ac:chgData name="Nataliia Chornii (UA)" userId="4e4b8b3d-5f31-49bb-9f80-8a25c04abfff" providerId="ADAL" clId="{EE97D3FE-9ACA-4467-98E5-532EC45D9D1C}" dt="2024-03-11T14:26:45.247" v="24104"/>
          <ac:spMkLst>
            <pc:docMk/>
            <pc:sldMk cId="3911462717" sldId="947"/>
            <ac:spMk id="10" creationId="{C7F0FF19-9E2A-12BE-3039-9BFCB0246A00}"/>
          </ac:spMkLst>
        </pc:spChg>
        <pc:spChg chg="add mod ord">
          <ac:chgData name="Nataliia Chornii (UA)" userId="4e4b8b3d-5f31-49bb-9f80-8a25c04abfff" providerId="ADAL" clId="{EE97D3FE-9ACA-4467-98E5-532EC45D9D1C}" dt="2024-03-11T14:33:30.365" v="24556"/>
          <ac:spMkLst>
            <pc:docMk/>
            <pc:sldMk cId="3911462717" sldId="947"/>
            <ac:spMk id="11" creationId="{07889E6A-8E21-2803-30A1-A645AF04340F}"/>
          </ac:spMkLst>
        </pc:spChg>
        <pc:spChg chg="add mod ord">
          <ac:chgData name="Nataliia Chornii (UA)" userId="4e4b8b3d-5f31-49bb-9f80-8a25c04abfff" providerId="ADAL" clId="{EE97D3FE-9ACA-4467-98E5-532EC45D9D1C}" dt="2024-03-11T14:33:30.375" v="24558"/>
          <ac:spMkLst>
            <pc:docMk/>
            <pc:sldMk cId="3911462717" sldId="947"/>
            <ac:spMk id="13" creationId="{10ECE187-B3A4-BDE3-A3F3-430688A0658E}"/>
          </ac:spMkLst>
        </pc:spChg>
        <pc:spChg chg="mod">
          <ac:chgData name="Nataliia Chornii (UA)" userId="4e4b8b3d-5f31-49bb-9f80-8a25c04abfff" providerId="ADAL" clId="{EE97D3FE-9ACA-4467-98E5-532EC45D9D1C}" dt="2024-03-04T12:37:17.533" v="22110"/>
          <ac:spMkLst>
            <pc:docMk/>
            <pc:sldMk cId="3911462717" sldId="947"/>
            <ac:spMk id="15" creationId="{4CB45765-8E44-820A-9E40-C91FDDCB9B97}"/>
          </ac:spMkLst>
        </pc:spChg>
        <pc:spChg chg="mod">
          <ac:chgData name="Nataliia Chornii (UA)" userId="4e4b8b3d-5f31-49bb-9f80-8a25c04abfff" providerId="ADAL" clId="{EE97D3FE-9ACA-4467-98E5-532EC45D9D1C}" dt="2024-03-04T12:37:17.533" v="22110"/>
          <ac:spMkLst>
            <pc:docMk/>
            <pc:sldMk cId="3911462717" sldId="947"/>
            <ac:spMk id="16" creationId="{52A415CE-22D9-E6CE-20F0-E3F689A0DFF5}"/>
          </ac:spMkLst>
        </pc:spChg>
        <pc:spChg chg="mod">
          <ac:chgData name="Nataliia Chornii (UA)" userId="4e4b8b3d-5f31-49bb-9f80-8a25c04abfff" providerId="ADAL" clId="{EE97D3FE-9ACA-4467-98E5-532EC45D9D1C}" dt="2024-03-04T12:37:17.533" v="22110"/>
          <ac:spMkLst>
            <pc:docMk/>
            <pc:sldMk cId="3911462717" sldId="947"/>
            <ac:spMk id="17" creationId="{37C289FF-B8DD-FBCD-F62C-1CC8FAE65FA8}"/>
          </ac:spMkLst>
        </pc:spChg>
        <pc:spChg chg="mod ord">
          <ac:chgData name="Nataliia Chornii (UA)" userId="4e4b8b3d-5f31-49bb-9f80-8a25c04abfff" providerId="ADAL" clId="{EE97D3FE-9ACA-4467-98E5-532EC45D9D1C}" dt="2024-03-11T14:33:30.365" v="24552"/>
          <ac:spMkLst>
            <pc:docMk/>
            <pc:sldMk cId="3911462717" sldId="947"/>
            <ac:spMk id="19" creationId="{2ACC2107-8F44-193D-2F4F-9A72038EFDD4}"/>
          </ac:spMkLst>
        </pc:spChg>
        <pc:spChg chg="del">
          <ac:chgData name="Nataliia Chornii (UA)" userId="4e4b8b3d-5f31-49bb-9f80-8a25c04abfff" providerId="ADAL" clId="{EE97D3FE-9ACA-4467-98E5-532EC45D9D1C}" dt="2024-03-04T09:51:33.149" v="19973" actId="478"/>
          <ac:spMkLst>
            <pc:docMk/>
            <pc:sldMk cId="3911462717" sldId="947"/>
            <ac:spMk id="19" creationId="{6540A5E1-A41A-D662-410E-E26837FEC171}"/>
          </ac:spMkLst>
        </pc:spChg>
        <pc:spChg chg="mod">
          <ac:chgData name="Nataliia Chornii (UA)" userId="4e4b8b3d-5f31-49bb-9f80-8a25c04abfff" providerId="ADAL" clId="{EE97D3FE-9ACA-4467-98E5-532EC45D9D1C}" dt="2024-03-11T14:26:45.247" v="24104"/>
          <ac:spMkLst>
            <pc:docMk/>
            <pc:sldMk cId="3911462717" sldId="947"/>
            <ac:spMk id="20" creationId="{C131FADB-5FB3-430D-4F8B-578C5A96D9AC}"/>
          </ac:spMkLst>
        </pc:spChg>
        <pc:spChg chg="mod">
          <ac:chgData name="Nataliia Chornii (UA)" userId="4e4b8b3d-5f31-49bb-9f80-8a25c04abfff" providerId="ADAL" clId="{EE97D3FE-9ACA-4467-98E5-532EC45D9D1C}" dt="2024-03-11T14:26:45.247" v="24104"/>
          <ac:spMkLst>
            <pc:docMk/>
            <pc:sldMk cId="3911462717" sldId="947"/>
            <ac:spMk id="21" creationId="{69AA4119-A621-A50A-526F-B8D198302189}"/>
          </ac:spMkLst>
        </pc:spChg>
        <pc:spChg chg="mod">
          <ac:chgData name="Nataliia Chornii (UA)" userId="4e4b8b3d-5f31-49bb-9f80-8a25c04abfff" providerId="ADAL" clId="{EE97D3FE-9ACA-4467-98E5-532EC45D9D1C}" dt="2024-03-11T14:26:45.247" v="24104"/>
          <ac:spMkLst>
            <pc:docMk/>
            <pc:sldMk cId="3911462717" sldId="947"/>
            <ac:spMk id="22" creationId="{003222FA-A026-7A44-5307-411F81B97D40}"/>
          </ac:spMkLst>
        </pc:spChg>
        <pc:spChg chg="mod">
          <ac:chgData name="Nataliia Chornii (UA)" userId="4e4b8b3d-5f31-49bb-9f80-8a25c04abfff" providerId="ADAL" clId="{EE97D3FE-9ACA-4467-98E5-532EC45D9D1C}" dt="2024-03-11T14:26:45.247" v="24104"/>
          <ac:spMkLst>
            <pc:docMk/>
            <pc:sldMk cId="3911462717" sldId="947"/>
            <ac:spMk id="23" creationId="{646A3182-E526-CD7C-45F2-518CAB65907B}"/>
          </ac:spMkLst>
        </pc:spChg>
        <pc:spChg chg="add del mod modVis">
          <ac:chgData name="Nataliia Chornii (UA)" userId="4e4b8b3d-5f31-49bb-9f80-8a25c04abfff" providerId="ADAL" clId="{EE97D3FE-9ACA-4467-98E5-532EC45D9D1C}" dt="2024-03-11T14:33:28.926" v="24545"/>
          <ac:spMkLst>
            <pc:docMk/>
            <pc:sldMk cId="3911462717" sldId="947"/>
            <ac:spMk id="24" creationId="{FBC9200D-7227-76CA-8B31-780E2222D831}"/>
          </ac:spMkLst>
        </pc:spChg>
        <pc:spChg chg="del mod ord">
          <ac:chgData name="Nataliia Chornii (UA)" userId="4e4b8b3d-5f31-49bb-9f80-8a25c04abfff" providerId="ADAL" clId="{EE97D3FE-9ACA-4467-98E5-532EC45D9D1C}" dt="2024-03-04T12:37:09.712" v="22107" actId="478"/>
          <ac:spMkLst>
            <pc:docMk/>
            <pc:sldMk cId="3911462717" sldId="947"/>
            <ac:spMk id="25" creationId="{2B261BF4-92C6-462D-AA95-793AE54DD688}"/>
          </ac:spMkLst>
        </pc:spChg>
        <pc:spChg chg="add mod">
          <ac:chgData name="Nataliia Chornii (UA)" userId="4e4b8b3d-5f31-49bb-9f80-8a25c04abfff" providerId="ADAL" clId="{EE97D3FE-9ACA-4467-98E5-532EC45D9D1C}" dt="2024-03-11T14:33:32.416" v="24592"/>
          <ac:spMkLst>
            <pc:docMk/>
            <pc:sldMk cId="3911462717" sldId="947"/>
            <ac:spMk id="25" creationId="{B46CCEA3-3CEB-754E-E543-3FDE1CED38B6}"/>
          </ac:spMkLst>
        </pc:spChg>
        <pc:spChg chg="mod ord">
          <ac:chgData name="Nataliia Chornii (UA)" userId="4e4b8b3d-5f31-49bb-9f80-8a25c04abfff" providerId="ADAL" clId="{EE97D3FE-9ACA-4467-98E5-532EC45D9D1C}" dt="2024-03-11T14:33:30.376" v="24566"/>
          <ac:spMkLst>
            <pc:docMk/>
            <pc:sldMk cId="3911462717" sldId="947"/>
            <ac:spMk id="26" creationId="{5EC1F9AE-82A4-85FE-592B-EF659F76F7EC}"/>
          </ac:spMkLst>
        </pc:spChg>
        <pc:spChg chg="del mod ord">
          <ac:chgData name="Nataliia Chornii (UA)" userId="4e4b8b3d-5f31-49bb-9f80-8a25c04abfff" providerId="ADAL" clId="{EE97D3FE-9ACA-4467-98E5-532EC45D9D1C}" dt="2024-03-04T12:37:09.712" v="22107" actId="478"/>
          <ac:spMkLst>
            <pc:docMk/>
            <pc:sldMk cId="3911462717" sldId="947"/>
            <ac:spMk id="27" creationId="{72D802D4-B169-1594-D931-40179675E33A}"/>
          </ac:spMkLst>
        </pc:spChg>
        <pc:spChg chg="mod ord">
          <ac:chgData name="Nataliia Chornii (UA)" userId="4e4b8b3d-5f31-49bb-9f80-8a25c04abfff" providerId="ADAL" clId="{EE97D3FE-9ACA-4467-98E5-532EC45D9D1C}" dt="2024-03-11T14:33:30.376" v="24568"/>
          <ac:spMkLst>
            <pc:docMk/>
            <pc:sldMk cId="3911462717" sldId="947"/>
            <ac:spMk id="29" creationId="{3915AD89-6428-4A75-0915-328643F1703C}"/>
          </ac:spMkLst>
        </pc:spChg>
        <pc:spChg chg="mod ord">
          <ac:chgData name="Nataliia Chornii (UA)" userId="4e4b8b3d-5f31-49bb-9f80-8a25c04abfff" providerId="ADAL" clId="{EE97D3FE-9ACA-4467-98E5-532EC45D9D1C}" dt="2024-03-11T14:33:30.376" v="24570"/>
          <ac:spMkLst>
            <pc:docMk/>
            <pc:sldMk cId="3911462717" sldId="947"/>
            <ac:spMk id="30" creationId="{373AB206-F1F0-CC72-8C15-85605D9AF2AC}"/>
          </ac:spMkLst>
        </pc:spChg>
        <pc:spChg chg="mod ord">
          <ac:chgData name="Nataliia Chornii (UA)" userId="4e4b8b3d-5f31-49bb-9f80-8a25c04abfff" providerId="ADAL" clId="{EE97D3FE-9ACA-4467-98E5-532EC45D9D1C}" dt="2024-03-04T12:37:18.747" v="22123"/>
          <ac:spMkLst>
            <pc:docMk/>
            <pc:sldMk cId="3911462717" sldId="947"/>
            <ac:spMk id="42" creationId="{50830596-224D-A11D-D251-21B0CA3EB02E}"/>
          </ac:spMkLst>
        </pc:spChg>
        <pc:spChg chg="del mod ord">
          <ac:chgData name="Nataliia Chornii (UA)" userId="4e4b8b3d-5f31-49bb-9f80-8a25c04abfff" providerId="ADAL" clId="{EE97D3FE-9ACA-4467-98E5-532EC45D9D1C}" dt="2024-03-04T12:37:09.712" v="22107" actId="478"/>
          <ac:spMkLst>
            <pc:docMk/>
            <pc:sldMk cId="3911462717" sldId="947"/>
            <ac:spMk id="44" creationId="{37325A5C-F07F-2313-782A-18E3E98D15F0}"/>
          </ac:spMkLst>
        </pc:spChg>
        <pc:spChg chg="del mod ord">
          <ac:chgData name="Nataliia Chornii (UA)" userId="4e4b8b3d-5f31-49bb-9f80-8a25c04abfff" providerId="ADAL" clId="{EE97D3FE-9ACA-4467-98E5-532EC45D9D1C}" dt="2024-03-04T12:37:09.712" v="22107" actId="478"/>
          <ac:spMkLst>
            <pc:docMk/>
            <pc:sldMk cId="3911462717" sldId="947"/>
            <ac:spMk id="45" creationId="{5A4A472A-422C-56F4-A0F5-AE422E82D144}"/>
          </ac:spMkLst>
        </pc:spChg>
        <pc:spChg chg="mod ord">
          <ac:chgData name="Nataliia Chornii (UA)" userId="4e4b8b3d-5f31-49bb-9f80-8a25c04abfff" providerId="ADAL" clId="{EE97D3FE-9ACA-4467-98E5-532EC45D9D1C}" dt="2024-03-11T14:33:30.376" v="24572"/>
          <ac:spMkLst>
            <pc:docMk/>
            <pc:sldMk cId="3911462717" sldId="947"/>
            <ac:spMk id="46" creationId="{09BF84D6-F468-7005-FAB5-AA0B6AE5CFB4}"/>
          </ac:spMkLst>
        </pc:spChg>
        <pc:spChg chg="del mod ord">
          <ac:chgData name="Nataliia Chornii (UA)" userId="4e4b8b3d-5f31-49bb-9f80-8a25c04abfff" providerId="ADAL" clId="{EE97D3FE-9ACA-4467-98E5-532EC45D9D1C}" dt="2024-03-04T12:37:09.712" v="22107" actId="478"/>
          <ac:spMkLst>
            <pc:docMk/>
            <pc:sldMk cId="3911462717" sldId="947"/>
            <ac:spMk id="49" creationId="{DED3BED4-139F-CB4F-0A7B-7B90211550F4}"/>
          </ac:spMkLst>
        </pc:spChg>
        <pc:spChg chg="mod ord">
          <ac:chgData name="Nataliia Chornii (UA)" userId="4e4b8b3d-5f31-49bb-9f80-8a25c04abfff" providerId="ADAL" clId="{EE97D3FE-9ACA-4467-98E5-532EC45D9D1C}" dt="2024-03-11T14:33:30.376" v="24574"/>
          <ac:spMkLst>
            <pc:docMk/>
            <pc:sldMk cId="3911462717" sldId="947"/>
            <ac:spMk id="50" creationId="{0130363F-7CE7-F3D0-4AB5-F295FAC2DCBC}"/>
          </ac:spMkLst>
        </pc:spChg>
        <pc:spChg chg="mod ord">
          <ac:chgData name="Nataliia Chornii (UA)" userId="4e4b8b3d-5f31-49bb-9f80-8a25c04abfff" providerId="ADAL" clId="{EE97D3FE-9ACA-4467-98E5-532EC45D9D1C}" dt="2024-03-11T14:33:30.376" v="24576"/>
          <ac:spMkLst>
            <pc:docMk/>
            <pc:sldMk cId="3911462717" sldId="947"/>
            <ac:spMk id="51" creationId="{AFEB1935-0849-FFDB-14A2-768E555E2F79}"/>
          </ac:spMkLst>
        </pc:spChg>
        <pc:spChg chg="mod ord">
          <ac:chgData name="Nataliia Chornii (UA)" userId="4e4b8b3d-5f31-49bb-9f80-8a25c04abfff" providerId="ADAL" clId="{EE97D3FE-9ACA-4467-98E5-532EC45D9D1C}" dt="2024-03-11T14:33:30.376" v="24578"/>
          <ac:spMkLst>
            <pc:docMk/>
            <pc:sldMk cId="3911462717" sldId="947"/>
            <ac:spMk id="52" creationId="{C28EBB85-E5E0-FA58-8077-AD15508F23C6}"/>
          </ac:spMkLst>
        </pc:spChg>
        <pc:grpChg chg="add mod ord">
          <ac:chgData name="Nataliia Chornii (UA)" userId="4e4b8b3d-5f31-49bb-9f80-8a25c04abfff" providerId="ADAL" clId="{EE97D3FE-9ACA-4467-98E5-532EC45D9D1C}" dt="2024-03-11T14:33:30.376" v="24586"/>
          <ac:grpSpMkLst>
            <pc:docMk/>
            <pc:sldMk cId="3911462717" sldId="947"/>
            <ac:grpSpMk id="6" creationId="{9D6FD2AF-19F3-66C4-F8C2-5CDFD4721E92}"/>
          </ac:grpSpMkLst>
        </pc:grpChg>
        <pc:grpChg chg="add mod ord">
          <ac:chgData name="Nataliia Chornii (UA)" userId="4e4b8b3d-5f31-49bb-9f80-8a25c04abfff" providerId="ADAL" clId="{EE97D3FE-9ACA-4467-98E5-532EC45D9D1C}" dt="2024-03-11T14:33:30.376" v="24560"/>
          <ac:grpSpMkLst>
            <pc:docMk/>
            <pc:sldMk cId="3911462717" sldId="947"/>
            <ac:grpSpMk id="14" creationId="{267418C2-6F99-A659-AB11-419EED1354F6}"/>
          </ac:grpSpMkLst>
        </pc:grpChg>
        <pc:graphicFrameChg chg="mod">
          <ac:chgData name="Nataliia Chornii (UA)" userId="4e4b8b3d-5f31-49bb-9f80-8a25c04abfff" providerId="ADAL" clId="{EE97D3FE-9ACA-4467-98E5-532EC45D9D1C}" dt="2024-03-11T14:33:30.376" v="24590"/>
          <ac:graphicFrameMkLst>
            <pc:docMk/>
            <pc:sldMk cId="3911462717" sldId="947"/>
            <ac:graphicFrameMk id="12" creationId="{F6E6AF23-7B86-113A-F559-513B41FEC1FE}"/>
          </ac:graphicFrameMkLst>
        </pc:graphicFrameChg>
        <pc:picChg chg="add mod ord">
          <ac:chgData name="Nataliia Chornii (UA)" userId="4e4b8b3d-5f31-49bb-9f80-8a25c04abfff" providerId="ADAL" clId="{EE97D3FE-9ACA-4467-98E5-532EC45D9D1C}" dt="2024-03-04T12:37:18.747" v="22121"/>
          <ac:picMkLst>
            <pc:docMk/>
            <pc:sldMk cId="3911462717" sldId="947"/>
            <ac:picMk id="7" creationId="{69E92208-2175-97C9-FE3E-BD01D2A19E7C}"/>
          </ac:picMkLst>
        </pc:picChg>
        <pc:picChg chg="mod ord">
          <ac:chgData name="Nataliia Chornii (UA)" userId="4e4b8b3d-5f31-49bb-9f80-8a25c04abfff" providerId="ADAL" clId="{EE97D3FE-9ACA-4467-98E5-532EC45D9D1C}" dt="2024-03-11T14:33:30.365" v="24550"/>
          <ac:picMkLst>
            <pc:docMk/>
            <pc:sldMk cId="3911462717" sldId="947"/>
            <ac:picMk id="18" creationId="{31E2A41D-B0CE-CD93-AA46-61D03886A5D4}"/>
          </ac:picMkLst>
        </pc:picChg>
        <pc:picChg chg="del mod ord">
          <ac:chgData name="Nataliia Chornii (UA)" userId="4e4b8b3d-5f31-49bb-9f80-8a25c04abfff" providerId="ADAL" clId="{EE97D3FE-9ACA-4467-98E5-532EC45D9D1C}" dt="2024-03-04T12:36:32.364" v="22060" actId="478"/>
          <ac:picMkLst>
            <pc:docMk/>
            <pc:sldMk cId="3911462717" sldId="947"/>
            <ac:picMk id="41" creationId="{7CAE88F2-0719-E8A4-5A3E-39E39CF155A6}"/>
          </ac:picMkLst>
        </pc:picChg>
        <pc:cxnChg chg="mod ord">
          <ac:chgData name="Nataliia Chornii (UA)" userId="4e4b8b3d-5f31-49bb-9f80-8a25c04abfff" providerId="ADAL" clId="{EE97D3FE-9ACA-4467-98E5-532EC45D9D1C}" dt="2024-03-11T14:33:30.376" v="24580"/>
          <ac:cxnSpMkLst>
            <pc:docMk/>
            <pc:sldMk cId="3911462717" sldId="947"/>
            <ac:cxnSpMk id="53" creationId="{F358E754-064A-5B8C-B2FC-4E612BA07893}"/>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37:10.343" v="22109" actId="2056"/>
              <pc2:cmMkLst xmlns:pc2="http://schemas.microsoft.com/office/powerpoint/2019/9/main/command">
                <pc:docMk/>
                <pc:sldMk cId="3911462717" sldId="947"/>
                <pc2:cmMk id="{1428E94F-96AA-42F8-9E12-E7A740490D75}"/>
              </pc2:cmMkLst>
            </pc226:cmChg>
            <pc226:cmChg xmlns:pc226="http://schemas.microsoft.com/office/powerpoint/2022/06/main/command" chg="mod">
              <pc226:chgData name="Nataliia Chornii (UA)" userId="4e4b8b3d-5f31-49bb-9f80-8a25c04abfff" providerId="ADAL" clId="{EE97D3FE-9ACA-4467-98E5-532EC45D9D1C}" dt="2024-03-04T12:43:43.349" v="22455"/>
              <pc2:cmMkLst xmlns:pc2="http://schemas.microsoft.com/office/powerpoint/2019/9/main/command">
                <pc:docMk/>
                <pc:sldMk cId="3911462717" sldId="947"/>
                <pc2:cmMk id="{D2F35169-2A6E-4E13-94B9-C14E9BF125FE}"/>
              </pc2:cmMkLst>
            </pc226:cmChg>
          </p:ext>
        </pc:extLst>
      </pc:sldChg>
      <pc:sldChg chg="addSp delSp modSp mod">
        <pc:chgData name="Nataliia Chornii (UA)" userId="4e4b8b3d-5f31-49bb-9f80-8a25c04abfff" providerId="ADAL" clId="{EE97D3FE-9ACA-4467-98E5-532EC45D9D1C}" dt="2024-03-11T14:29:16.145" v="24225" actId="3064"/>
        <pc:sldMkLst>
          <pc:docMk/>
          <pc:sldMk cId="2283029669" sldId="948"/>
        </pc:sldMkLst>
        <pc:spChg chg="add mod">
          <ac:chgData name="Nataliia Chornii (UA)" userId="4e4b8b3d-5f31-49bb-9f80-8a25c04abfff" providerId="ADAL" clId="{EE97D3FE-9ACA-4467-98E5-532EC45D9D1C}" dt="2024-03-11T14:25:46.526" v="24081"/>
          <ac:spMkLst>
            <pc:docMk/>
            <pc:sldMk cId="2283029669" sldId="948"/>
            <ac:spMk id="3" creationId="{DEB29C57-B3A6-0F16-06E0-A838D8AD6848}"/>
          </ac:spMkLst>
        </pc:spChg>
        <pc:spChg chg="add del mod">
          <ac:chgData name="Nataliia Chornii (UA)" userId="4e4b8b3d-5f31-49bb-9f80-8a25c04abfff" providerId="ADAL" clId="{EE97D3FE-9ACA-4467-98E5-532EC45D9D1C}" dt="2024-03-04T08:45:08.814" v="17471" actId="478"/>
          <ac:spMkLst>
            <pc:docMk/>
            <pc:sldMk cId="2283029669" sldId="948"/>
            <ac:spMk id="5" creationId="{54E9F46C-C337-CDFD-9999-38FB836E6C22}"/>
          </ac:spMkLst>
        </pc:spChg>
        <pc:spChg chg="mod">
          <ac:chgData name="Nataliia Chornii (UA)" userId="4e4b8b3d-5f31-49bb-9f80-8a25c04abfff" providerId="ADAL" clId="{EE97D3FE-9ACA-4467-98E5-532EC45D9D1C}" dt="2024-03-11T14:25:46.526" v="24081"/>
          <ac:spMkLst>
            <pc:docMk/>
            <pc:sldMk cId="2283029669" sldId="948"/>
            <ac:spMk id="8" creationId="{9AB39B80-FB13-C108-9FCE-6A09DE2A0B5B}"/>
          </ac:spMkLst>
        </pc:spChg>
        <pc:spChg chg="mod">
          <ac:chgData name="Nataliia Chornii (UA)" userId="4e4b8b3d-5f31-49bb-9f80-8a25c04abfff" providerId="ADAL" clId="{EE97D3FE-9ACA-4467-98E5-532EC45D9D1C}" dt="2024-03-11T14:25:46.526" v="24081"/>
          <ac:spMkLst>
            <pc:docMk/>
            <pc:sldMk cId="2283029669" sldId="948"/>
            <ac:spMk id="10" creationId="{AA558F08-C79B-9E0D-0BB9-38AC90A156BC}"/>
          </ac:spMkLst>
        </pc:spChg>
        <pc:spChg chg="mod">
          <ac:chgData name="Nataliia Chornii (UA)" userId="4e4b8b3d-5f31-49bb-9f80-8a25c04abfff" providerId="ADAL" clId="{EE97D3FE-9ACA-4467-98E5-532EC45D9D1C}" dt="2024-03-11T14:29:06.957" v="24211" actId="948"/>
          <ac:spMkLst>
            <pc:docMk/>
            <pc:sldMk cId="2283029669" sldId="948"/>
            <ac:spMk id="16" creationId="{B71E2857-B3F3-7914-9BA0-B8B78513021C}"/>
          </ac:spMkLst>
        </pc:spChg>
        <pc:spChg chg="mod">
          <ac:chgData name="Nataliia Chornii (UA)" userId="4e4b8b3d-5f31-49bb-9f80-8a25c04abfff" providerId="ADAL" clId="{EE97D3FE-9ACA-4467-98E5-532EC45D9D1C}" dt="2024-03-11T14:25:46.526" v="24081"/>
          <ac:spMkLst>
            <pc:docMk/>
            <pc:sldMk cId="2283029669" sldId="948"/>
            <ac:spMk id="18" creationId="{C90B21C6-CC72-EE27-D43C-90B75D8A3304}"/>
          </ac:spMkLst>
        </pc:spChg>
        <pc:spChg chg="del mod">
          <ac:chgData name="Nataliia Chornii (UA)" userId="4e4b8b3d-5f31-49bb-9f80-8a25c04abfff" providerId="ADAL" clId="{EE97D3FE-9ACA-4467-98E5-532EC45D9D1C}" dt="2024-03-04T09:16:05.605" v="18560" actId="478"/>
          <ac:spMkLst>
            <pc:docMk/>
            <pc:sldMk cId="2283029669" sldId="948"/>
            <ac:spMk id="18" creationId="{D51AA6A0-2863-BFDE-A808-1CE0E6EC7241}"/>
          </ac:spMkLst>
        </pc:spChg>
        <pc:spChg chg="add del mod modVis">
          <ac:chgData name="Nataliia Chornii (UA)" userId="4e4b8b3d-5f31-49bb-9f80-8a25c04abfff" providerId="ADAL" clId="{EE97D3FE-9ACA-4467-98E5-532EC45D9D1C}" dt="2024-03-04T09:49:31.752" v="19867"/>
          <ac:spMkLst>
            <pc:docMk/>
            <pc:sldMk cId="2283029669" sldId="948"/>
            <ac:spMk id="19" creationId="{19EE2867-B312-C47A-5FD1-7343AAC3CE5A}"/>
          </ac:spMkLst>
        </pc:spChg>
        <pc:spChg chg="mod">
          <ac:chgData name="Nataliia Chornii (UA)" userId="4e4b8b3d-5f31-49bb-9f80-8a25c04abfff" providerId="ADAL" clId="{EE97D3FE-9ACA-4467-98E5-532EC45D9D1C}" dt="2024-03-11T14:25:46.526" v="24081"/>
          <ac:spMkLst>
            <pc:docMk/>
            <pc:sldMk cId="2283029669" sldId="948"/>
            <ac:spMk id="19" creationId="{AB312CB2-1A52-F735-8EA4-317EA8C56F3D}"/>
          </ac:spMkLst>
        </pc:spChg>
        <pc:spChg chg="mod">
          <ac:chgData name="Nataliia Chornii (UA)" userId="4e4b8b3d-5f31-49bb-9f80-8a25c04abfff" providerId="ADAL" clId="{EE97D3FE-9ACA-4467-98E5-532EC45D9D1C}" dt="2024-03-11T14:25:46.526" v="24081"/>
          <ac:spMkLst>
            <pc:docMk/>
            <pc:sldMk cId="2283029669" sldId="948"/>
            <ac:spMk id="22" creationId="{F708EE9F-7490-D53C-2407-B8890BFC5C47}"/>
          </ac:spMkLst>
        </pc:spChg>
        <pc:spChg chg="mod">
          <ac:chgData name="Nataliia Chornii (UA)" userId="4e4b8b3d-5f31-49bb-9f80-8a25c04abfff" providerId="ADAL" clId="{EE97D3FE-9ACA-4467-98E5-532EC45D9D1C}" dt="2024-03-11T14:25:46.526" v="24081"/>
          <ac:spMkLst>
            <pc:docMk/>
            <pc:sldMk cId="2283029669" sldId="948"/>
            <ac:spMk id="24" creationId="{FF99211D-77E2-53B2-627D-825A663153BA}"/>
          </ac:spMkLst>
        </pc:spChg>
        <pc:spChg chg="add del mod">
          <ac:chgData name="Nataliia Chornii (UA)" userId="4e4b8b3d-5f31-49bb-9f80-8a25c04abfff" providerId="ADAL" clId="{EE97D3FE-9ACA-4467-98E5-532EC45D9D1C}" dt="2024-03-11T14:29:00.850" v="24178"/>
          <ac:spMkLst>
            <pc:docMk/>
            <pc:sldMk cId="2283029669" sldId="948"/>
            <ac:spMk id="28" creationId="{E9936484-16E9-E542-7E6D-FA0BB2C427A1}"/>
          </ac:spMkLst>
        </pc:spChg>
        <pc:spChg chg="add del mod">
          <ac:chgData name="Nataliia Chornii (UA)" userId="4e4b8b3d-5f31-49bb-9f80-8a25c04abfff" providerId="ADAL" clId="{EE97D3FE-9ACA-4467-98E5-532EC45D9D1C}" dt="2024-03-11T14:29:11.229" v="24222" actId="478"/>
          <ac:spMkLst>
            <pc:docMk/>
            <pc:sldMk cId="2283029669" sldId="948"/>
            <ac:spMk id="31" creationId="{ECBE7280-30C2-6F23-F5F0-C1ED3E4EB2A3}"/>
          </ac:spMkLst>
        </pc:spChg>
        <pc:spChg chg="add del mod modVis">
          <ac:chgData name="Nataliia Chornii (UA)" userId="4e4b8b3d-5f31-49bb-9f80-8a25c04abfff" providerId="ADAL" clId="{EE97D3FE-9ACA-4467-98E5-532EC45D9D1C}" dt="2024-03-11T14:29:06.123" v="24208"/>
          <ac:spMkLst>
            <pc:docMk/>
            <pc:sldMk cId="2283029669" sldId="948"/>
            <ac:spMk id="32" creationId="{5BE12966-50CB-A3EA-41E7-175D7964A043}"/>
          </ac:spMkLst>
        </pc:spChg>
        <pc:spChg chg="mod">
          <ac:chgData name="Nataliia Chornii (UA)" userId="4e4b8b3d-5f31-49bb-9f80-8a25c04abfff" providerId="ADAL" clId="{EE97D3FE-9ACA-4467-98E5-532EC45D9D1C}" dt="2024-03-11T14:29:16.145" v="24225" actId="3064"/>
          <ac:spMkLst>
            <pc:docMk/>
            <pc:sldMk cId="2283029669" sldId="948"/>
            <ac:spMk id="57" creationId="{E0007A68-F3EF-5218-37FA-972FF8C8BB56}"/>
          </ac:spMkLst>
        </pc:spChg>
        <pc:grpChg chg="add mod">
          <ac:chgData name="Nataliia Chornii (UA)" userId="4e4b8b3d-5f31-49bb-9f80-8a25c04abfff" providerId="ADAL" clId="{EE97D3FE-9ACA-4467-98E5-532EC45D9D1C}" dt="2024-03-11T14:25:46.526" v="24081"/>
          <ac:grpSpMkLst>
            <pc:docMk/>
            <pc:sldMk cId="2283029669" sldId="948"/>
            <ac:grpSpMk id="5" creationId="{D6D9967E-4934-823C-73A7-1C53EB9D1479}"/>
          </ac:grpSpMkLst>
        </pc:grpChg>
        <pc:graphicFrameChg chg="mod">
          <ac:chgData name="Nataliia Chornii (UA)" userId="4e4b8b3d-5f31-49bb-9f80-8a25c04abfff" providerId="ADAL" clId="{EE97D3FE-9ACA-4467-98E5-532EC45D9D1C}" dt="2024-03-11T14:29:06.957" v="24219"/>
          <ac:graphicFrameMkLst>
            <pc:docMk/>
            <pc:sldMk cId="2283029669" sldId="948"/>
            <ac:graphicFrameMk id="12" creationId="{F6E6AF23-7B86-113A-F559-513B41FEC1FE}"/>
          </ac:graphicFrameMkLst>
        </pc:graphicFrameChg>
      </pc:sldChg>
      <pc:sldChg chg="addSp delSp modSp mod modCm">
        <pc:chgData name="Nataliia Chornii (UA)" userId="4e4b8b3d-5f31-49bb-9f80-8a25c04abfff" providerId="ADAL" clId="{EE97D3FE-9ACA-4467-98E5-532EC45D9D1C}" dt="2024-03-11T14:34:23.778" v="25147"/>
        <pc:sldMkLst>
          <pc:docMk/>
          <pc:sldMk cId="3348140347" sldId="949"/>
        </pc:sldMkLst>
        <pc:spChg chg="del">
          <ac:chgData name="Nataliia Chornii (UA)" userId="4e4b8b3d-5f31-49bb-9f80-8a25c04abfff" providerId="ADAL" clId="{EE97D3FE-9ACA-4467-98E5-532EC45D9D1C}" dt="2024-03-04T12:44:08.079" v="22459" actId="478"/>
          <ac:spMkLst>
            <pc:docMk/>
            <pc:sldMk cId="3348140347" sldId="949"/>
            <ac:spMk id="2" creationId="{D4E26663-5B37-5DAA-CC19-B616D98179BA}"/>
          </ac:spMkLst>
        </pc:spChg>
        <pc:spChg chg="add mod">
          <ac:chgData name="Nataliia Chornii (UA)" userId="4e4b8b3d-5f31-49bb-9f80-8a25c04abfff" providerId="ADAL" clId="{EE97D3FE-9ACA-4467-98E5-532EC45D9D1C}" dt="2024-03-11T14:27:08.995" v="24118"/>
          <ac:spMkLst>
            <pc:docMk/>
            <pc:sldMk cId="3348140347" sldId="949"/>
            <ac:spMk id="2" creationId="{F69F0BF9-AAD3-9A06-76E6-3497DDEAE858}"/>
          </ac:spMkLst>
        </pc:spChg>
        <pc:spChg chg="mod ord">
          <ac:chgData name="Nataliia Chornii (UA)" userId="4e4b8b3d-5f31-49bb-9f80-8a25c04abfff" providerId="ADAL" clId="{EE97D3FE-9ACA-4467-98E5-532EC45D9D1C}" dt="2024-03-04T12:45:02.004" v="22666"/>
          <ac:spMkLst>
            <pc:docMk/>
            <pc:sldMk cId="3348140347" sldId="949"/>
            <ac:spMk id="3" creationId="{F4CCF02E-F3C4-C376-8F56-61BD85A2E74B}"/>
          </ac:spMkLst>
        </pc:spChg>
        <pc:spChg chg="mod ord">
          <ac:chgData name="Nataliia Chornii (UA)" userId="4e4b8b3d-5f31-49bb-9f80-8a25c04abfff" providerId="ADAL" clId="{EE97D3FE-9ACA-4467-98E5-532EC45D9D1C}" dt="2024-03-04T12:45:02.004" v="22666"/>
          <ac:spMkLst>
            <pc:docMk/>
            <pc:sldMk cId="3348140347" sldId="949"/>
            <ac:spMk id="4" creationId="{872966CD-924A-B939-E655-A6BAF817DCBF}"/>
          </ac:spMkLst>
        </pc:spChg>
        <pc:spChg chg="add del mod modVis">
          <ac:chgData name="Nataliia Chornii (UA)" userId="4e4b8b3d-5f31-49bb-9f80-8a25c04abfff" providerId="ADAL" clId="{EE97D3FE-9ACA-4467-98E5-532EC45D9D1C}" dt="2024-03-04T12:44:37.756" v="22529"/>
          <ac:spMkLst>
            <pc:docMk/>
            <pc:sldMk cId="3348140347" sldId="949"/>
            <ac:spMk id="5" creationId="{224F9A81-FC62-6027-9139-E1F90310582C}"/>
          </ac:spMkLst>
        </pc:spChg>
        <pc:spChg chg="mod">
          <ac:chgData name="Nataliia Chornii (UA)" userId="4e4b8b3d-5f31-49bb-9f80-8a25c04abfff" providerId="ADAL" clId="{EE97D3FE-9ACA-4467-98E5-532EC45D9D1C}" dt="2024-03-11T14:27:08.995" v="24118"/>
          <ac:spMkLst>
            <pc:docMk/>
            <pc:sldMk cId="3348140347" sldId="949"/>
            <ac:spMk id="6" creationId="{FC125066-8A61-DC86-A174-109347BF8DA3}"/>
          </ac:spMkLst>
        </pc:spChg>
        <pc:spChg chg="mod">
          <ac:chgData name="Nataliia Chornii (UA)" userId="4e4b8b3d-5f31-49bb-9f80-8a25c04abfff" providerId="ADAL" clId="{EE97D3FE-9ACA-4467-98E5-532EC45D9D1C}" dt="2024-03-11T14:27:08.995" v="24118"/>
          <ac:spMkLst>
            <pc:docMk/>
            <pc:sldMk cId="3348140347" sldId="949"/>
            <ac:spMk id="8" creationId="{926FFAB9-EC68-28FC-623B-90DBD1D46E4D}"/>
          </ac:spMkLst>
        </pc:spChg>
        <pc:spChg chg="mod">
          <ac:chgData name="Nataliia Chornii (UA)" userId="4e4b8b3d-5f31-49bb-9f80-8a25c04abfff" providerId="ADAL" clId="{EE97D3FE-9ACA-4467-98E5-532EC45D9D1C}" dt="2024-03-11T14:27:08.995" v="24118"/>
          <ac:spMkLst>
            <pc:docMk/>
            <pc:sldMk cId="3348140347" sldId="949"/>
            <ac:spMk id="9" creationId="{8A01913B-6832-DB99-A933-4C73FD3C2545}"/>
          </ac:spMkLst>
        </pc:spChg>
        <pc:spChg chg="mod">
          <ac:chgData name="Nataliia Chornii (UA)" userId="4e4b8b3d-5f31-49bb-9f80-8a25c04abfff" providerId="ADAL" clId="{EE97D3FE-9ACA-4467-98E5-532EC45D9D1C}" dt="2024-03-04T12:46:52.267" v="22810"/>
          <ac:spMkLst>
            <pc:docMk/>
            <pc:sldMk cId="3348140347" sldId="949"/>
            <ac:spMk id="9" creationId="{E54B7E55-B130-5B76-9C30-FB942F9A2E7E}"/>
          </ac:spMkLst>
        </pc:spChg>
        <pc:spChg chg="mod">
          <ac:chgData name="Nataliia Chornii (UA)" userId="4e4b8b3d-5f31-49bb-9f80-8a25c04abfff" providerId="ADAL" clId="{EE97D3FE-9ACA-4467-98E5-532EC45D9D1C}" dt="2024-03-04T12:46:52.267" v="22810"/>
          <ac:spMkLst>
            <pc:docMk/>
            <pc:sldMk cId="3348140347" sldId="949"/>
            <ac:spMk id="10" creationId="{3050E39F-8175-9CDA-7CF6-0BDE0935DB3A}"/>
          </ac:spMkLst>
        </pc:spChg>
        <pc:spChg chg="mod">
          <ac:chgData name="Nataliia Chornii (UA)" userId="4e4b8b3d-5f31-49bb-9f80-8a25c04abfff" providerId="ADAL" clId="{EE97D3FE-9ACA-4467-98E5-532EC45D9D1C}" dt="2024-03-11T14:27:08.995" v="24118"/>
          <ac:spMkLst>
            <pc:docMk/>
            <pc:sldMk cId="3348140347" sldId="949"/>
            <ac:spMk id="10" creationId="{A583EFCF-EE05-96D6-8CAD-99FB76975FA4}"/>
          </ac:spMkLst>
        </pc:spChg>
        <pc:spChg chg="mod">
          <ac:chgData name="Nataliia Chornii (UA)" userId="4e4b8b3d-5f31-49bb-9f80-8a25c04abfff" providerId="ADAL" clId="{EE97D3FE-9ACA-4467-98E5-532EC45D9D1C}" dt="2024-03-11T14:27:08.995" v="24118"/>
          <ac:spMkLst>
            <pc:docMk/>
            <pc:sldMk cId="3348140347" sldId="949"/>
            <ac:spMk id="11" creationId="{FE070BB9-5F9C-B94C-D3CB-FE9C4544CF63}"/>
          </ac:spMkLst>
        </pc:spChg>
        <pc:spChg chg="mod">
          <ac:chgData name="Nataliia Chornii (UA)" userId="4e4b8b3d-5f31-49bb-9f80-8a25c04abfff" providerId="ADAL" clId="{EE97D3FE-9ACA-4467-98E5-532EC45D9D1C}" dt="2024-03-11T14:27:08.995" v="24118"/>
          <ac:spMkLst>
            <pc:docMk/>
            <pc:sldMk cId="3348140347" sldId="949"/>
            <ac:spMk id="13" creationId="{3CD3D153-F6CF-B29C-5F22-C316424BBA70}"/>
          </ac:spMkLst>
        </pc:spChg>
        <pc:spChg chg="mod">
          <ac:chgData name="Nataliia Chornii (UA)" userId="4e4b8b3d-5f31-49bb-9f80-8a25c04abfff" providerId="ADAL" clId="{EE97D3FE-9ACA-4467-98E5-532EC45D9D1C}" dt="2024-03-04T12:46:52.267" v="22810"/>
          <ac:spMkLst>
            <pc:docMk/>
            <pc:sldMk cId="3348140347" sldId="949"/>
            <ac:spMk id="13" creationId="{FD55B7BA-AF6C-1D49-5F72-AAD2675639EE}"/>
          </ac:spMkLst>
        </pc:spChg>
        <pc:spChg chg="add mod">
          <ac:chgData name="Nataliia Chornii (UA)" userId="4e4b8b3d-5f31-49bb-9f80-8a25c04abfff" providerId="ADAL" clId="{EE97D3FE-9ACA-4467-98E5-532EC45D9D1C}" dt="2024-03-11T14:34:23.778" v="25147"/>
          <ac:spMkLst>
            <pc:docMk/>
            <pc:sldMk cId="3348140347" sldId="949"/>
            <ac:spMk id="14" creationId="{AD929018-A929-271D-5396-EDF420D00373}"/>
          </ac:spMkLst>
        </pc:spChg>
        <pc:spChg chg="add del mod">
          <ac:chgData name="Nataliia Chornii (UA)" userId="4e4b8b3d-5f31-49bb-9f80-8a25c04abfff" providerId="ADAL" clId="{EE97D3FE-9ACA-4467-98E5-532EC45D9D1C}" dt="2024-03-04T12:46:52.913" v="22811"/>
          <ac:spMkLst>
            <pc:docMk/>
            <pc:sldMk cId="3348140347" sldId="949"/>
            <ac:spMk id="14" creationId="{D359B4D6-6BE2-73C5-87E4-5219F03286BA}"/>
          </ac:spMkLst>
        </pc:spChg>
        <pc:spChg chg="mod">
          <ac:chgData name="Nataliia Chornii (UA)" userId="4e4b8b3d-5f31-49bb-9f80-8a25c04abfff" providerId="ADAL" clId="{EE97D3FE-9ACA-4467-98E5-532EC45D9D1C}" dt="2024-03-04T12:46:55.091" v="22813"/>
          <ac:spMkLst>
            <pc:docMk/>
            <pc:sldMk cId="3348140347" sldId="949"/>
            <ac:spMk id="16" creationId="{4046BDB3-E253-8BFD-2151-3E03E762683F}"/>
          </ac:spMkLst>
        </pc:spChg>
        <pc:spChg chg="mod">
          <ac:chgData name="Nataliia Chornii (UA)" userId="4e4b8b3d-5f31-49bb-9f80-8a25c04abfff" providerId="ADAL" clId="{EE97D3FE-9ACA-4467-98E5-532EC45D9D1C}" dt="2024-03-04T12:46:55.091" v="22813"/>
          <ac:spMkLst>
            <pc:docMk/>
            <pc:sldMk cId="3348140347" sldId="949"/>
            <ac:spMk id="17" creationId="{2BFEA0FA-7858-44EE-3DCB-707FD55F7536}"/>
          </ac:spMkLst>
        </pc:spChg>
        <pc:spChg chg="mod">
          <ac:chgData name="Nataliia Chornii (UA)" userId="4e4b8b3d-5f31-49bb-9f80-8a25c04abfff" providerId="ADAL" clId="{EE97D3FE-9ACA-4467-98E5-532EC45D9D1C}" dt="2024-03-04T12:46:55.091" v="22813"/>
          <ac:spMkLst>
            <pc:docMk/>
            <pc:sldMk cId="3348140347" sldId="949"/>
            <ac:spMk id="19" creationId="{33EBC432-067D-3BCB-9AA9-3595C9D40E3B}"/>
          </ac:spMkLst>
        </pc:spChg>
        <pc:spChg chg="add mod">
          <ac:chgData name="Nataliia Chornii (UA)" userId="4e4b8b3d-5f31-49bb-9f80-8a25c04abfff" providerId="ADAL" clId="{EE97D3FE-9ACA-4467-98E5-532EC45D9D1C}" dt="2024-03-04T12:46:57.816" v="22814"/>
          <ac:spMkLst>
            <pc:docMk/>
            <pc:sldMk cId="3348140347" sldId="949"/>
            <ac:spMk id="20" creationId="{04029E51-5EF1-9C93-D407-F81D35CB5DE0}"/>
          </ac:spMkLst>
        </pc:spChg>
        <pc:spChg chg="mod ord">
          <ac:chgData name="Nataliia Chornii (UA)" userId="4e4b8b3d-5f31-49bb-9f80-8a25c04abfff" providerId="ADAL" clId="{EE97D3FE-9ACA-4467-98E5-532EC45D9D1C}" dt="2024-03-04T12:45:02.004" v="22666"/>
          <ac:spMkLst>
            <pc:docMk/>
            <pc:sldMk cId="3348140347" sldId="949"/>
            <ac:spMk id="25" creationId="{2B261BF4-92C6-462D-AA95-793AE54DD688}"/>
          </ac:spMkLst>
        </pc:spChg>
        <pc:spChg chg="mod ord">
          <ac:chgData name="Nataliia Chornii (UA)" userId="4e4b8b3d-5f31-49bb-9f80-8a25c04abfff" providerId="ADAL" clId="{EE97D3FE-9ACA-4467-98E5-532EC45D9D1C}" dt="2024-03-04T12:45:02.004" v="22666"/>
          <ac:spMkLst>
            <pc:docMk/>
            <pc:sldMk cId="3348140347" sldId="949"/>
            <ac:spMk id="26" creationId="{5EC1F9AE-82A4-85FE-592B-EF659F76F7EC}"/>
          </ac:spMkLst>
        </pc:spChg>
        <pc:spChg chg="mod ord">
          <ac:chgData name="Nataliia Chornii (UA)" userId="4e4b8b3d-5f31-49bb-9f80-8a25c04abfff" providerId="ADAL" clId="{EE97D3FE-9ACA-4467-98E5-532EC45D9D1C}" dt="2024-03-04T12:45:02.004" v="22666"/>
          <ac:spMkLst>
            <pc:docMk/>
            <pc:sldMk cId="3348140347" sldId="949"/>
            <ac:spMk id="27" creationId="{72D802D4-B169-1594-D931-40179675E33A}"/>
          </ac:spMkLst>
        </pc:spChg>
        <pc:spChg chg="mod ord">
          <ac:chgData name="Nataliia Chornii (UA)" userId="4e4b8b3d-5f31-49bb-9f80-8a25c04abfff" providerId="ADAL" clId="{EE97D3FE-9ACA-4467-98E5-532EC45D9D1C}" dt="2024-03-04T12:45:02.004" v="22666"/>
          <ac:spMkLst>
            <pc:docMk/>
            <pc:sldMk cId="3348140347" sldId="949"/>
            <ac:spMk id="29" creationId="{3915AD89-6428-4A75-0915-328643F1703C}"/>
          </ac:spMkLst>
        </pc:spChg>
        <pc:spChg chg="mod ord">
          <ac:chgData name="Nataliia Chornii (UA)" userId="4e4b8b3d-5f31-49bb-9f80-8a25c04abfff" providerId="ADAL" clId="{EE97D3FE-9ACA-4467-98E5-532EC45D9D1C}" dt="2024-03-04T12:45:02.004" v="22666"/>
          <ac:spMkLst>
            <pc:docMk/>
            <pc:sldMk cId="3348140347" sldId="949"/>
            <ac:spMk id="30" creationId="{373AB206-F1F0-CC72-8C15-85605D9AF2AC}"/>
          </ac:spMkLst>
        </pc:spChg>
        <pc:spChg chg="mod ord">
          <ac:chgData name="Nataliia Chornii (UA)" userId="4e4b8b3d-5f31-49bb-9f80-8a25c04abfff" providerId="ADAL" clId="{EE97D3FE-9ACA-4467-98E5-532EC45D9D1C}" dt="2024-03-04T12:45:02.004" v="22666"/>
          <ac:spMkLst>
            <pc:docMk/>
            <pc:sldMk cId="3348140347" sldId="949"/>
            <ac:spMk id="42" creationId="{50830596-224D-A11D-D251-21B0CA3EB02E}"/>
          </ac:spMkLst>
        </pc:spChg>
        <pc:spChg chg="mod ord">
          <ac:chgData name="Nataliia Chornii (UA)" userId="4e4b8b3d-5f31-49bb-9f80-8a25c04abfff" providerId="ADAL" clId="{EE97D3FE-9ACA-4467-98E5-532EC45D9D1C}" dt="2024-03-04T12:45:02.004" v="22666"/>
          <ac:spMkLst>
            <pc:docMk/>
            <pc:sldMk cId="3348140347" sldId="949"/>
            <ac:spMk id="44" creationId="{37325A5C-F07F-2313-782A-18E3E98D15F0}"/>
          </ac:spMkLst>
        </pc:spChg>
        <pc:spChg chg="mod ord">
          <ac:chgData name="Nataliia Chornii (UA)" userId="4e4b8b3d-5f31-49bb-9f80-8a25c04abfff" providerId="ADAL" clId="{EE97D3FE-9ACA-4467-98E5-532EC45D9D1C}" dt="2024-03-04T12:45:02.004" v="22666"/>
          <ac:spMkLst>
            <pc:docMk/>
            <pc:sldMk cId="3348140347" sldId="949"/>
            <ac:spMk id="45" creationId="{5A4A472A-422C-56F4-A0F5-AE422E82D144}"/>
          </ac:spMkLst>
        </pc:spChg>
        <pc:spChg chg="mod ord">
          <ac:chgData name="Nataliia Chornii (UA)" userId="4e4b8b3d-5f31-49bb-9f80-8a25c04abfff" providerId="ADAL" clId="{EE97D3FE-9ACA-4467-98E5-532EC45D9D1C}" dt="2024-03-04T12:45:02.004" v="22666"/>
          <ac:spMkLst>
            <pc:docMk/>
            <pc:sldMk cId="3348140347" sldId="949"/>
            <ac:spMk id="46" creationId="{09BF84D6-F468-7005-FAB5-AA0B6AE5CFB4}"/>
          </ac:spMkLst>
        </pc:spChg>
        <pc:spChg chg="mod ord">
          <ac:chgData name="Nataliia Chornii (UA)" userId="4e4b8b3d-5f31-49bb-9f80-8a25c04abfff" providerId="ADAL" clId="{EE97D3FE-9ACA-4467-98E5-532EC45D9D1C}" dt="2024-03-04T12:45:02.004" v="22666"/>
          <ac:spMkLst>
            <pc:docMk/>
            <pc:sldMk cId="3348140347" sldId="949"/>
            <ac:spMk id="49" creationId="{DED3BED4-139F-CB4F-0A7B-7B90211550F4}"/>
          </ac:spMkLst>
        </pc:spChg>
        <pc:spChg chg="mod ord">
          <ac:chgData name="Nataliia Chornii (UA)" userId="4e4b8b3d-5f31-49bb-9f80-8a25c04abfff" providerId="ADAL" clId="{EE97D3FE-9ACA-4467-98E5-532EC45D9D1C}" dt="2024-03-04T12:45:02.004" v="22666"/>
          <ac:spMkLst>
            <pc:docMk/>
            <pc:sldMk cId="3348140347" sldId="949"/>
            <ac:spMk id="50" creationId="{0130363F-7CE7-F3D0-4AB5-F295FAC2DCBC}"/>
          </ac:spMkLst>
        </pc:spChg>
        <pc:spChg chg="mod ord">
          <ac:chgData name="Nataliia Chornii (UA)" userId="4e4b8b3d-5f31-49bb-9f80-8a25c04abfff" providerId="ADAL" clId="{EE97D3FE-9ACA-4467-98E5-532EC45D9D1C}" dt="2024-03-04T12:45:02.004" v="22666"/>
          <ac:spMkLst>
            <pc:docMk/>
            <pc:sldMk cId="3348140347" sldId="949"/>
            <ac:spMk id="51" creationId="{AFEB1935-0849-FFDB-14A2-768E555E2F79}"/>
          </ac:spMkLst>
        </pc:spChg>
        <pc:spChg chg="mod ord">
          <ac:chgData name="Nataliia Chornii (UA)" userId="4e4b8b3d-5f31-49bb-9f80-8a25c04abfff" providerId="ADAL" clId="{EE97D3FE-9ACA-4467-98E5-532EC45D9D1C}" dt="2024-03-04T12:45:02.004" v="22666"/>
          <ac:spMkLst>
            <pc:docMk/>
            <pc:sldMk cId="3348140347" sldId="949"/>
            <ac:spMk id="52" creationId="{C28EBB85-E5E0-FA58-8077-AD15508F23C6}"/>
          </ac:spMkLst>
        </pc:spChg>
        <pc:spChg chg="del mod ord">
          <ac:chgData name="Nataliia Chornii (UA)" userId="4e4b8b3d-5f31-49bb-9f80-8a25c04abfff" providerId="ADAL" clId="{EE97D3FE-9ACA-4467-98E5-532EC45D9D1C}" dt="2024-03-11T14:34:23.493" v="25146" actId="478"/>
          <ac:spMkLst>
            <pc:docMk/>
            <pc:sldMk cId="3348140347" sldId="949"/>
            <ac:spMk id="57" creationId="{E0007A68-F3EF-5218-37FA-972FF8C8BB56}"/>
          </ac:spMkLst>
        </pc:spChg>
        <pc:spChg chg="del mod ord">
          <ac:chgData name="Nataliia Chornii (UA)" userId="4e4b8b3d-5f31-49bb-9f80-8a25c04abfff" providerId="ADAL" clId="{EE97D3FE-9ACA-4467-98E5-532EC45D9D1C}" dt="2024-03-04T12:47:00.038" v="22815" actId="478"/>
          <ac:spMkLst>
            <pc:docMk/>
            <pc:sldMk cId="3348140347" sldId="949"/>
            <ac:spMk id="93" creationId="{5A55EC81-0AD5-CE05-4AAF-6599399D9BD3}"/>
          </ac:spMkLst>
        </pc:spChg>
        <pc:spChg chg="del mod ord">
          <ac:chgData name="Nataliia Chornii (UA)" userId="4e4b8b3d-5f31-49bb-9f80-8a25c04abfff" providerId="ADAL" clId="{EE97D3FE-9ACA-4467-98E5-532EC45D9D1C}" dt="2024-03-04T12:47:00.038" v="22815" actId="478"/>
          <ac:spMkLst>
            <pc:docMk/>
            <pc:sldMk cId="3348140347" sldId="949"/>
            <ac:spMk id="94" creationId="{2945AFC3-C832-6045-1DDE-A189FFBEDD95}"/>
          </ac:spMkLst>
        </pc:spChg>
        <pc:spChg chg="del mod ord">
          <ac:chgData name="Nataliia Chornii (UA)" userId="4e4b8b3d-5f31-49bb-9f80-8a25c04abfff" providerId="ADAL" clId="{EE97D3FE-9ACA-4467-98E5-532EC45D9D1C}" dt="2024-03-04T12:47:00.038" v="22815" actId="478"/>
          <ac:spMkLst>
            <pc:docMk/>
            <pc:sldMk cId="3348140347" sldId="949"/>
            <ac:spMk id="96" creationId="{2A913932-8BE1-F1EB-2C97-BB1A5EF0C629}"/>
          </ac:spMkLst>
        </pc:spChg>
        <pc:spChg chg="del mod ord">
          <ac:chgData name="Nataliia Chornii (UA)" userId="4e4b8b3d-5f31-49bb-9f80-8a25c04abfff" providerId="ADAL" clId="{EE97D3FE-9ACA-4467-98E5-532EC45D9D1C}" dt="2024-03-04T12:47:00.038" v="22815" actId="478"/>
          <ac:spMkLst>
            <pc:docMk/>
            <pc:sldMk cId="3348140347" sldId="949"/>
            <ac:spMk id="105" creationId="{C73B42A3-EA68-B90F-A6C9-5F7FF93DD187}"/>
          </ac:spMkLst>
        </pc:spChg>
        <pc:grpChg chg="add mod">
          <ac:chgData name="Nataliia Chornii (UA)" userId="4e4b8b3d-5f31-49bb-9f80-8a25c04abfff" providerId="ADAL" clId="{EE97D3FE-9ACA-4467-98E5-532EC45D9D1C}" dt="2024-03-11T14:27:08.995" v="24118"/>
          <ac:grpSpMkLst>
            <pc:docMk/>
            <pc:sldMk cId="3348140347" sldId="949"/>
            <ac:grpSpMk id="5" creationId="{9B2150F9-9046-4A7E-FAB3-7BDBCD9D3E8B}"/>
          </ac:grpSpMkLst>
        </pc:grpChg>
        <pc:grpChg chg="add del mod">
          <ac:chgData name="Nataliia Chornii (UA)" userId="4e4b8b3d-5f31-49bb-9f80-8a25c04abfff" providerId="ADAL" clId="{EE97D3FE-9ACA-4467-98E5-532EC45D9D1C}" dt="2024-03-04T12:46:52.913" v="22811"/>
          <ac:grpSpMkLst>
            <pc:docMk/>
            <pc:sldMk cId="3348140347" sldId="949"/>
            <ac:grpSpMk id="8" creationId="{8A9FF5B4-5E38-1357-EE25-73C9F5C682A9}"/>
          </ac:grpSpMkLst>
        </pc:grpChg>
        <pc:grpChg chg="add mod">
          <ac:chgData name="Nataliia Chornii (UA)" userId="4e4b8b3d-5f31-49bb-9f80-8a25c04abfff" providerId="ADAL" clId="{EE97D3FE-9ACA-4467-98E5-532EC45D9D1C}" dt="2024-03-04T12:46:55.091" v="22813"/>
          <ac:grpSpMkLst>
            <pc:docMk/>
            <pc:sldMk cId="3348140347" sldId="949"/>
            <ac:grpSpMk id="15" creationId="{764141E3-6172-5063-0EBA-FCD008CF118B}"/>
          </ac:grpSpMkLst>
        </pc:grpChg>
        <pc:graphicFrameChg chg="mod">
          <ac:chgData name="Nataliia Chornii (UA)" userId="4e4b8b3d-5f31-49bb-9f80-8a25c04abfff" providerId="ADAL" clId="{EE97D3FE-9ACA-4467-98E5-532EC45D9D1C}" dt="2024-03-04T12:45:02.020" v="22668"/>
          <ac:graphicFrameMkLst>
            <pc:docMk/>
            <pc:sldMk cId="3348140347" sldId="949"/>
            <ac:graphicFrameMk id="12" creationId="{F6E6AF23-7B86-113A-F559-513B41FEC1FE}"/>
          </ac:graphicFrameMkLst>
        </pc:graphicFrameChg>
        <pc:picChg chg="add mod ord modCrop">
          <ac:chgData name="Nataliia Chornii (UA)" userId="4e4b8b3d-5f31-49bb-9f80-8a25c04abfff" providerId="ADAL" clId="{EE97D3FE-9ACA-4467-98E5-532EC45D9D1C}" dt="2024-03-04T12:45:02.004" v="22666"/>
          <ac:picMkLst>
            <pc:docMk/>
            <pc:sldMk cId="3348140347" sldId="949"/>
            <ac:picMk id="7" creationId="{682B30C0-2899-633D-5FC2-D8B001DCB0F0}"/>
          </ac:picMkLst>
        </pc:picChg>
        <pc:picChg chg="del mod ord">
          <ac:chgData name="Nataliia Chornii (UA)" userId="4e4b8b3d-5f31-49bb-9f80-8a25c04abfff" providerId="ADAL" clId="{EE97D3FE-9ACA-4467-98E5-532EC45D9D1C}" dt="2024-03-04T12:44:38.908" v="22532" actId="478"/>
          <ac:picMkLst>
            <pc:docMk/>
            <pc:sldMk cId="3348140347" sldId="949"/>
            <ac:picMk id="41" creationId="{7CAE88F2-0719-E8A4-5A3E-39E39CF155A6}"/>
          </ac:picMkLst>
        </pc:picChg>
        <pc:cxnChg chg="mod">
          <ac:chgData name="Nataliia Chornii (UA)" userId="4e4b8b3d-5f31-49bb-9f80-8a25c04abfff" providerId="ADAL" clId="{EE97D3FE-9ACA-4467-98E5-532EC45D9D1C}" dt="2024-03-04T12:46:52.267" v="22810"/>
          <ac:cxnSpMkLst>
            <pc:docMk/>
            <pc:sldMk cId="3348140347" sldId="949"/>
            <ac:cxnSpMk id="11" creationId="{B8269F3D-B1AF-33C5-9172-1739E9FF221C}"/>
          </ac:cxnSpMkLst>
        </pc:cxnChg>
        <pc:cxnChg chg="mod">
          <ac:chgData name="Nataliia Chornii (UA)" userId="4e4b8b3d-5f31-49bb-9f80-8a25c04abfff" providerId="ADAL" clId="{EE97D3FE-9ACA-4467-98E5-532EC45D9D1C}" dt="2024-03-04T12:46:55.091" v="22813"/>
          <ac:cxnSpMkLst>
            <pc:docMk/>
            <pc:sldMk cId="3348140347" sldId="949"/>
            <ac:cxnSpMk id="18" creationId="{CD669445-24C9-E4F7-38D8-E8D2515193DB}"/>
          </ac:cxnSpMkLst>
        </pc:cxnChg>
        <pc:cxnChg chg="mod ord">
          <ac:chgData name="Nataliia Chornii (UA)" userId="4e4b8b3d-5f31-49bb-9f80-8a25c04abfff" providerId="ADAL" clId="{EE97D3FE-9ACA-4467-98E5-532EC45D9D1C}" dt="2024-03-04T12:45:02.004" v="22666"/>
          <ac:cxnSpMkLst>
            <pc:docMk/>
            <pc:sldMk cId="3348140347" sldId="949"/>
            <ac:cxnSpMk id="53" creationId="{F358E754-064A-5B8C-B2FC-4E612BA07893}"/>
          </ac:cxnSpMkLst>
        </pc:cxnChg>
        <pc:cxnChg chg="del mod ord">
          <ac:chgData name="Nataliia Chornii (UA)" userId="4e4b8b3d-5f31-49bb-9f80-8a25c04abfff" providerId="ADAL" clId="{EE97D3FE-9ACA-4467-98E5-532EC45D9D1C}" dt="2024-03-04T12:47:00.038" v="22815" actId="478"/>
          <ac:cxnSpMkLst>
            <pc:docMk/>
            <pc:sldMk cId="3348140347" sldId="949"/>
            <ac:cxnSpMk id="95" creationId="{D4EEEA95-3B5D-59D7-CC7D-E49C940EDFA8}"/>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55:48.419" v="23223"/>
              <pc2:cmMkLst xmlns:pc2="http://schemas.microsoft.com/office/powerpoint/2019/9/main/command">
                <pc:docMk/>
                <pc:sldMk cId="3348140347" sldId="949"/>
                <pc2:cmMk id="{1510FCDF-9D49-464C-8CED-B27D3E158178}"/>
              </pc2:cmMkLst>
            </pc226:cmChg>
          </p:ext>
        </pc:extLst>
      </pc:sldChg>
      <pc:sldChg chg="addSp delSp modSp mod modCm">
        <pc:chgData name="Nataliia Chornii (UA)" userId="4e4b8b3d-5f31-49bb-9f80-8a25c04abfff" providerId="ADAL" clId="{EE97D3FE-9ACA-4467-98E5-532EC45D9D1C}" dt="2024-03-11T14:34:26.888" v="25149"/>
        <pc:sldMkLst>
          <pc:docMk/>
          <pc:sldMk cId="201777098" sldId="950"/>
        </pc:sldMkLst>
        <pc:spChg chg="add mod ord">
          <ac:chgData name="Nataliia Chornii (UA)" userId="4e4b8b3d-5f31-49bb-9f80-8a25c04abfff" providerId="ADAL" clId="{EE97D3FE-9ACA-4467-98E5-532EC45D9D1C}" dt="2024-03-04T12:53:57.774" v="23155"/>
          <ac:spMkLst>
            <pc:docMk/>
            <pc:sldMk cId="201777098" sldId="950"/>
            <ac:spMk id="2" creationId="{C3F516C4-CBBA-ADF7-B862-CB2C85E36114}"/>
          </ac:spMkLst>
        </pc:spChg>
        <pc:spChg chg="mod ord">
          <ac:chgData name="Nataliia Chornii (UA)" userId="4e4b8b3d-5f31-49bb-9f80-8a25c04abfff" providerId="ADAL" clId="{EE97D3FE-9ACA-4467-98E5-532EC45D9D1C}" dt="2024-03-04T12:53:57.758" v="23133"/>
          <ac:spMkLst>
            <pc:docMk/>
            <pc:sldMk cId="201777098" sldId="950"/>
            <ac:spMk id="3" creationId="{F4CCF02E-F3C4-C376-8F56-61BD85A2E74B}"/>
          </ac:spMkLst>
        </pc:spChg>
        <pc:spChg chg="mod ord">
          <ac:chgData name="Nataliia Chornii (UA)" userId="4e4b8b3d-5f31-49bb-9f80-8a25c04abfff" providerId="ADAL" clId="{EE97D3FE-9ACA-4467-98E5-532EC45D9D1C}" dt="2024-03-04T12:53:57.758" v="23135"/>
          <ac:spMkLst>
            <pc:docMk/>
            <pc:sldMk cId="201777098" sldId="950"/>
            <ac:spMk id="4" creationId="{872966CD-924A-B939-E655-A6BAF817DCBF}"/>
          </ac:spMkLst>
        </pc:spChg>
        <pc:spChg chg="add mod">
          <ac:chgData name="Nataliia Chornii (UA)" userId="4e4b8b3d-5f31-49bb-9f80-8a25c04abfff" providerId="ADAL" clId="{EE97D3FE-9ACA-4467-98E5-532EC45D9D1C}" dt="2024-03-11T14:27:11.034" v="24119"/>
          <ac:spMkLst>
            <pc:docMk/>
            <pc:sldMk cId="201777098" sldId="950"/>
            <ac:spMk id="5" creationId="{CE8DF088-308E-1DA3-B78E-2A403A65AD68}"/>
          </ac:spMkLst>
        </pc:spChg>
        <pc:spChg chg="mod ord topLvl">
          <ac:chgData name="Nataliia Chornii (UA)" userId="4e4b8b3d-5f31-49bb-9f80-8a25c04abfff" providerId="ADAL" clId="{EE97D3FE-9ACA-4467-98E5-532EC45D9D1C}" dt="2024-03-04T12:54:27.507" v="23186" actId="2085"/>
          <ac:spMkLst>
            <pc:docMk/>
            <pc:sldMk cId="201777098" sldId="950"/>
            <ac:spMk id="6" creationId="{2B4ED087-A352-17EE-A9D6-33782A1F4144}"/>
          </ac:spMkLst>
        </pc:spChg>
        <pc:spChg chg="mod ord topLvl">
          <ac:chgData name="Nataliia Chornii (UA)" userId="4e4b8b3d-5f31-49bb-9f80-8a25c04abfff" providerId="ADAL" clId="{EE97D3FE-9ACA-4467-98E5-532EC45D9D1C}" dt="2024-03-04T12:53:57.774" v="23159"/>
          <ac:spMkLst>
            <pc:docMk/>
            <pc:sldMk cId="201777098" sldId="950"/>
            <ac:spMk id="7" creationId="{2FBFC548-6771-3663-E6BE-BB4CC33B41A9}"/>
          </ac:spMkLst>
        </pc:spChg>
        <pc:spChg chg="mod ord topLvl">
          <ac:chgData name="Nataliia Chornii (UA)" userId="4e4b8b3d-5f31-49bb-9f80-8a25c04abfff" providerId="ADAL" clId="{EE97D3FE-9ACA-4467-98E5-532EC45D9D1C}" dt="2024-03-04T12:53:57.774" v="23163"/>
          <ac:spMkLst>
            <pc:docMk/>
            <pc:sldMk cId="201777098" sldId="950"/>
            <ac:spMk id="9" creationId="{5A200844-DA1F-317B-8566-3C4F0705FD2A}"/>
          </ac:spMkLst>
        </pc:spChg>
        <pc:spChg chg="add mod ord">
          <ac:chgData name="Nataliia Chornii (UA)" userId="4e4b8b3d-5f31-49bb-9f80-8a25c04abfff" providerId="ADAL" clId="{EE97D3FE-9ACA-4467-98E5-532EC45D9D1C}" dt="2024-03-04T12:53:57.774" v="23165"/>
          <ac:spMkLst>
            <pc:docMk/>
            <pc:sldMk cId="201777098" sldId="950"/>
            <ac:spMk id="10" creationId="{117540F8-A58D-7804-1B3D-347E9F3DB635}"/>
          </ac:spMkLst>
        </pc:spChg>
        <pc:spChg chg="add mod ord">
          <ac:chgData name="Nataliia Chornii (UA)" userId="4e4b8b3d-5f31-49bb-9f80-8a25c04abfff" providerId="ADAL" clId="{EE97D3FE-9ACA-4467-98E5-532EC45D9D1C}" dt="2024-03-04T12:53:57.774" v="23167"/>
          <ac:spMkLst>
            <pc:docMk/>
            <pc:sldMk cId="201777098" sldId="950"/>
            <ac:spMk id="11" creationId="{FC6ECF3B-7D0F-5ED4-1023-D069420F907E}"/>
          </ac:spMkLst>
        </pc:spChg>
        <pc:spChg chg="add mod ord">
          <ac:chgData name="Nataliia Chornii (UA)" userId="4e4b8b3d-5f31-49bb-9f80-8a25c04abfff" providerId="ADAL" clId="{EE97D3FE-9ACA-4467-98E5-532EC45D9D1C}" dt="2024-03-04T12:53:57.774" v="23169"/>
          <ac:spMkLst>
            <pc:docMk/>
            <pc:sldMk cId="201777098" sldId="950"/>
            <ac:spMk id="13" creationId="{AF9D086A-BD99-812E-3B8D-AC1D9F9FB376}"/>
          </ac:spMkLst>
        </pc:spChg>
        <pc:spChg chg="add mod ord">
          <ac:chgData name="Nataliia Chornii (UA)" userId="4e4b8b3d-5f31-49bb-9f80-8a25c04abfff" providerId="ADAL" clId="{EE97D3FE-9ACA-4467-98E5-532EC45D9D1C}" dt="2024-03-04T12:53:57.774" v="23171"/>
          <ac:spMkLst>
            <pc:docMk/>
            <pc:sldMk cId="201777098" sldId="950"/>
            <ac:spMk id="14" creationId="{1501B85D-102B-8D13-E6E4-D12AFF7DE72F}"/>
          </ac:spMkLst>
        </pc:spChg>
        <pc:spChg chg="add del mod modVis">
          <ac:chgData name="Nataliia Chornii (UA)" userId="4e4b8b3d-5f31-49bb-9f80-8a25c04abfff" providerId="ADAL" clId="{EE97D3FE-9ACA-4467-98E5-532EC45D9D1C}" dt="2024-03-04T12:53:54.902" v="23122"/>
          <ac:spMkLst>
            <pc:docMk/>
            <pc:sldMk cId="201777098" sldId="950"/>
            <ac:spMk id="15" creationId="{2E6257F4-43CE-49B8-05C8-F908F6AB6A02}"/>
          </ac:spMkLst>
        </pc:spChg>
        <pc:spChg chg="mod">
          <ac:chgData name="Nataliia Chornii (UA)" userId="4e4b8b3d-5f31-49bb-9f80-8a25c04abfff" providerId="ADAL" clId="{EE97D3FE-9ACA-4467-98E5-532EC45D9D1C}" dt="2024-03-11T14:27:11.034" v="24119"/>
          <ac:spMkLst>
            <pc:docMk/>
            <pc:sldMk cId="201777098" sldId="950"/>
            <ac:spMk id="17" creationId="{1889F15A-DA59-A9D9-DF1F-334FE2211C43}"/>
          </ac:spMkLst>
        </pc:spChg>
        <pc:spChg chg="mod">
          <ac:chgData name="Nataliia Chornii (UA)" userId="4e4b8b3d-5f31-49bb-9f80-8a25c04abfff" providerId="ADAL" clId="{EE97D3FE-9ACA-4467-98E5-532EC45D9D1C}" dt="2024-03-11T14:27:11.034" v="24119"/>
          <ac:spMkLst>
            <pc:docMk/>
            <pc:sldMk cId="201777098" sldId="950"/>
            <ac:spMk id="18" creationId="{2924EE46-A484-D451-F0A7-9D39A14CB568}"/>
          </ac:spMkLst>
        </pc:spChg>
        <pc:spChg chg="mod">
          <ac:chgData name="Nataliia Chornii (UA)" userId="4e4b8b3d-5f31-49bb-9f80-8a25c04abfff" providerId="ADAL" clId="{EE97D3FE-9ACA-4467-98E5-532EC45D9D1C}" dt="2024-03-11T14:27:11.034" v="24119"/>
          <ac:spMkLst>
            <pc:docMk/>
            <pc:sldMk cId="201777098" sldId="950"/>
            <ac:spMk id="19" creationId="{B05C9408-E38C-6863-5B54-A480778741CA}"/>
          </ac:spMkLst>
        </pc:spChg>
        <pc:spChg chg="mod">
          <ac:chgData name="Nataliia Chornii (UA)" userId="4e4b8b3d-5f31-49bb-9f80-8a25c04abfff" providerId="ADAL" clId="{EE97D3FE-9ACA-4467-98E5-532EC45D9D1C}" dt="2024-03-11T14:27:11.034" v="24119"/>
          <ac:spMkLst>
            <pc:docMk/>
            <pc:sldMk cId="201777098" sldId="950"/>
            <ac:spMk id="20" creationId="{F5F47851-D1F9-EA0E-80E0-BF00A2251A20}"/>
          </ac:spMkLst>
        </pc:spChg>
        <pc:spChg chg="mod">
          <ac:chgData name="Nataliia Chornii (UA)" userId="4e4b8b3d-5f31-49bb-9f80-8a25c04abfff" providerId="ADAL" clId="{EE97D3FE-9ACA-4467-98E5-532EC45D9D1C}" dt="2024-03-11T14:27:11.034" v="24119"/>
          <ac:spMkLst>
            <pc:docMk/>
            <pc:sldMk cId="201777098" sldId="950"/>
            <ac:spMk id="21" creationId="{4F623CF2-4F3A-7353-2DDD-FF50A42166A7}"/>
          </ac:spMkLst>
        </pc:spChg>
        <pc:spChg chg="mod">
          <ac:chgData name="Nataliia Chornii (UA)" userId="4e4b8b3d-5f31-49bb-9f80-8a25c04abfff" providerId="ADAL" clId="{EE97D3FE-9ACA-4467-98E5-532EC45D9D1C}" dt="2024-03-11T14:27:11.034" v="24119"/>
          <ac:spMkLst>
            <pc:docMk/>
            <pc:sldMk cId="201777098" sldId="950"/>
            <ac:spMk id="22" creationId="{2CFF9DA3-3FF8-7B5B-0BE9-6857086301F4}"/>
          </ac:spMkLst>
        </pc:spChg>
        <pc:spChg chg="add mod">
          <ac:chgData name="Nataliia Chornii (UA)" userId="4e4b8b3d-5f31-49bb-9f80-8a25c04abfff" providerId="ADAL" clId="{EE97D3FE-9ACA-4467-98E5-532EC45D9D1C}" dt="2024-03-11T14:34:26.888" v="25149"/>
          <ac:spMkLst>
            <pc:docMk/>
            <pc:sldMk cId="201777098" sldId="950"/>
            <ac:spMk id="23" creationId="{94DCF25A-EB68-95E6-AB63-22311838CB2F}"/>
          </ac:spMkLst>
        </pc:spChg>
        <pc:spChg chg="mod ord">
          <ac:chgData name="Nataliia Chornii (UA)" userId="4e4b8b3d-5f31-49bb-9f80-8a25c04abfff" providerId="ADAL" clId="{EE97D3FE-9ACA-4467-98E5-532EC45D9D1C}" dt="2024-03-04T12:53:57.758" v="23137"/>
          <ac:spMkLst>
            <pc:docMk/>
            <pc:sldMk cId="201777098" sldId="950"/>
            <ac:spMk id="26" creationId="{5EC1F9AE-82A4-85FE-592B-EF659F76F7EC}"/>
          </ac:spMkLst>
        </pc:spChg>
        <pc:spChg chg="mod ord">
          <ac:chgData name="Nataliia Chornii (UA)" userId="4e4b8b3d-5f31-49bb-9f80-8a25c04abfff" providerId="ADAL" clId="{EE97D3FE-9ACA-4467-98E5-532EC45D9D1C}" dt="2024-03-04T12:53:57.758" v="23139"/>
          <ac:spMkLst>
            <pc:docMk/>
            <pc:sldMk cId="201777098" sldId="950"/>
            <ac:spMk id="29" creationId="{3915AD89-6428-4A75-0915-328643F1703C}"/>
          </ac:spMkLst>
        </pc:spChg>
        <pc:spChg chg="mod ord">
          <ac:chgData name="Nataliia Chornii (UA)" userId="4e4b8b3d-5f31-49bb-9f80-8a25c04abfff" providerId="ADAL" clId="{EE97D3FE-9ACA-4467-98E5-532EC45D9D1C}" dt="2024-03-04T12:53:57.758" v="23141"/>
          <ac:spMkLst>
            <pc:docMk/>
            <pc:sldMk cId="201777098" sldId="950"/>
            <ac:spMk id="30" creationId="{373AB206-F1F0-CC72-8C15-85605D9AF2AC}"/>
          </ac:spMkLst>
        </pc:spChg>
        <pc:spChg chg="mod ord">
          <ac:chgData name="Nataliia Chornii (UA)" userId="4e4b8b3d-5f31-49bb-9f80-8a25c04abfff" providerId="ADAL" clId="{EE97D3FE-9ACA-4467-98E5-532EC45D9D1C}" dt="2024-03-04T12:53:57.758" v="23131"/>
          <ac:spMkLst>
            <pc:docMk/>
            <pc:sldMk cId="201777098" sldId="950"/>
            <ac:spMk id="42" creationId="{50830596-224D-A11D-D251-21B0CA3EB02E}"/>
          </ac:spMkLst>
        </pc:spChg>
        <pc:spChg chg="mod ord">
          <ac:chgData name="Nataliia Chornii (UA)" userId="4e4b8b3d-5f31-49bb-9f80-8a25c04abfff" providerId="ADAL" clId="{EE97D3FE-9ACA-4467-98E5-532EC45D9D1C}" dt="2024-03-04T12:53:57.758" v="23143"/>
          <ac:spMkLst>
            <pc:docMk/>
            <pc:sldMk cId="201777098" sldId="950"/>
            <ac:spMk id="46" creationId="{09BF84D6-F468-7005-FAB5-AA0B6AE5CFB4}"/>
          </ac:spMkLst>
        </pc:spChg>
        <pc:spChg chg="mod ord">
          <ac:chgData name="Nataliia Chornii (UA)" userId="4e4b8b3d-5f31-49bb-9f80-8a25c04abfff" providerId="ADAL" clId="{EE97D3FE-9ACA-4467-98E5-532EC45D9D1C}" dt="2024-03-04T12:53:57.758" v="23145"/>
          <ac:spMkLst>
            <pc:docMk/>
            <pc:sldMk cId="201777098" sldId="950"/>
            <ac:spMk id="50" creationId="{0130363F-7CE7-F3D0-4AB5-F295FAC2DCBC}"/>
          </ac:spMkLst>
        </pc:spChg>
        <pc:spChg chg="mod ord">
          <ac:chgData name="Nataliia Chornii (UA)" userId="4e4b8b3d-5f31-49bb-9f80-8a25c04abfff" providerId="ADAL" clId="{EE97D3FE-9ACA-4467-98E5-532EC45D9D1C}" dt="2024-03-04T12:53:57.758" v="23147"/>
          <ac:spMkLst>
            <pc:docMk/>
            <pc:sldMk cId="201777098" sldId="950"/>
            <ac:spMk id="51" creationId="{AFEB1935-0849-FFDB-14A2-768E555E2F79}"/>
          </ac:spMkLst>
        </pc:spChg>
        <pc:spChg chg="del">
          <ac:chgData name="Nataliia Chornii (UA)" userId="4e4b8b3d-5f31-49bb-9f80-8a25c04abfff" providerId="ADAL" clId="{EE97D3FE-9ACA-4467-98E5-532EC45D9D1C}" dt="2024-03-04T12:47:28.605" v="22816" actId="478"/>
          <ac:spMkLst>
            <pc:docMk/>
            <pc:sldMk cId="201777098" sldId="950"/>
            <ac:spMk id="52" creationId="{C28EBB85-E5E0-FA58-8077-AD15508F23C6}"/>
          </ac:spMkLst>
        </pc:spChg>
        <pc:spChg chg="del mod ord">
          <ac:chgData name="Nataliia Chornii (UA)" userId="4e4b8b3d-5f31-49bb-9f80-8a25c04abfff" providerId="ADAL" clId="{EE97D3FE-9ACA-4467-98E5-532EC45D9D1C}" dt="2024-03-11T14:34:26.619" v="25148" actId="478"/>
          <ac:spMkLst>
            <pc:docMk/>
            <pc:sldMk cId="201777098" sldId="950"/>
            <ac:spMk id="57" creationId="{E0007A68-F3EF-5218-37FA-972FF8C8BB56}"/>
          </ac:spMkLst>
        </pc:spChg>
        <pc:spChg chg="del mod">
          <ac:chgData name="Nataliia Chornii (UA)" userId="4e4b8b3d-5f31-49bb-9f80-8a25c04abfff" providerId="ADAL" clId="{EE97D3FE-9ACA-4467-98E5-532EC45D9D1C}" dt="2024-03-04T12:48:16.081" v="22824" actId="478"/>
          <ac:spMkLst>
            <pc:docMk/>
            <pc:sldMk cId="201777098" sldId="950"/>
            <ac:spMk id="93" creationId="{5A55EC81-0AD5-CE05-4AAF-6599399D9BD3}"/>
          </ac:spMkLst>
        </pc:spChg>
        <pc:spChg chg="del mod">
          <ac:chgData name="Nataliia Chornii (UA)" userId="4e4b8b3d-5f31-49bb-9f80-8a25c04abfff" providerId="ADAL" clId="{EE97D3FE-9ACA-4467-98E5-532EC45D9D1C}" dt="2024-03-04T12:48:16.081" v="22824" actId="478"/>
          <ac:spMkLst>
            <pc:docMk/>
            <pc:sldMk cId="201777098" sldId="950"/>
            <ac:spMk id="94" creationId="{2945AFC3-C832-6045-1DDE-A189FFBEDD95}"/>
          </ac:spMkLst>
        </pc:spChg>
        <pc:spChg chg="del mod">
          <ac:chgData name="Nataliia Chornii (UA)" userId="4e4b8b3d-5f31-49bb-9f80-8a25c04abfff" providerId="ADAL" clId="{EE97D3FE-9ACA-4467-98E5-532EC45D9D1C}" dt="2024-03-04T12:48:16.081" v="22824" actId="478"/>
          <ac:spMkLst>
            <pc:docMk/>
            <pc:sldMk cId="201777098" sldId="950"/>
            <ac:spMk id="96" creationId="{2A913932-8BE1-F1EB-2C97-BB1A5EF0C629}"/>
          </ac:spMkLst>
        </pc:spChg>
        <pc:spChg chg="mod ord">
          <ac:chgData name="Nataliia Chornii (UA)" userId="4e4b8b3d-5f31-49bb-9f80-8a25c04abfff" providerId="ADAL" clId="{EE97D3FE-9ACA-4467-98E5-532EC45D9D1C}" dt="2024-03-04T12:53:57.773" v="23153"/>
          <ac:spMkLst>
            <pc:docMk/>
            <pc:sldMk cId="201777098" sldId="950"/>
            <ac:spMk id="105" creationId="{C73B42A3-EA68-B90F-A6C9-5F7FF93DD187}"/>
          </ac:spMkLst>
        </pc:spChg>
        <pc:grpChg chg="add del mod">
          <ac:chgData name="Nataliia Chornii (UA)" userId="4e4b8b3d-5f31-49bb-9f80-8a25c04abfff" providerId="ADAL" clId="{EE97D3FE-9ACA-4467-98E5-532EC45D9D1C}" dt="2024-03-04T12:48:56.553" v="22834" actId="165"/>
          <ac:grpSpMkLst>
            <pc:docMk/>
            <pc:sldMk cId="201777098" sldId="950"/>
            <ac:grpSpMk id="5" creationId="{A273AF08-2E69-90DB-2FBF-EBBD18BA5289}"/>
          </ac:grpSpMkLst>
        </pc:grpChg>
        <pc:grpChg chg="add mod">
          <ac:chgData name="Nataliia Chornii (UA)" userId="4e4b8b3d-5f31-49bb-9f80-8a25c04abfff" providerId="ADAL" clId="{EE97D3FE-9ACA-4467-98E5-532EC45D9D1C}" dt="2024-03-11T14:27:11.034" v="24119"/>
          <ac:grpSpMkLst>
            <pc:docMk/>
            <pc:sldMk cId="201777098" sldId="950"/>
            <ac:grpSpMk id="15" creationId="{66E7844D-92A5-7B2C-98C9-930334E05087}"/>
          </ac:grpSpMkLst>
        </pc:grpChg>
        <pc:graphicFrameChg chg="mod">
          <ac:chgData name="Nataliia Chornii (UA)" userId="4e4b8b3d-5f31-49bb-9f80-8a25c04abfff" providerId="ADAL" clId="{EE97D3FE-9ACA-4467-98E5-532EC45D9D1C}" dt="2024-03-04T12:53:57.774" v="23175"/>
          <ac:graphicFrameMkLst>
            <pc:docMk/>
            <pc:sldMk cId="201777098" sldId="950"/>
            <ac:graphicFrameMk id="12" creationId="{F6E6AF23-7B86-113A-F559-513B41FEC1FE}"/>
          </ac:graphicFrameMkLst>
        </pc:graphicFrameChg>
        <pc:picChg chg="add mod ord">
          <ac:chgData name="Nataliia Chornii (UA)" userId="4e4b8b3d-5f31-49bb-9f80-8a25c04abfff" providerId="ADAL" clId="{EE97D3FE-9ACA-4467-98E5-532EC45D9D1C}" dt="2024-03-04T12:54:02.964" v="23179" actId="554"/>
          <ac:picMkLst>
            <pc:docMk/>
            <pc:sldMk cId="201777098" sldId="950"/>
            <ac:picMk id="16" creationId="{ED29780A-B6AD-A143-BFF4-CA656A9FBED7}"/>
          </ac:picMkLst>
        </pc:picChg>
        <pc:picChg chg="del mod ord">
          <ac:chgData name="Nataliia Chornii (UA)" userId="4e4b8b3d-5f31-49bb-9f80-8a25c04abfff" providerId="ADAL" clId="{EE97D3FE-9ACA-4467-98E5-532EC45D9D1C}" dt="2024-03-04T12:53:56.022" v="23125" actId="478"/>
          <ac:picMkLst>
            <pc:docMk/>
            <pc:sldMk cId="201777098" sldId="950"/>
            <ac:picMk id="41" creationId="{7CAE88F2-0719-E8A4-5A3E-39E39CF155A6}"/>
          </ac:picMkLst>
        </pc:picChg>
        <pc:cxnChg chg="mod ord topLvl">
          <ac:chgData name="Nataliia Chornii (UA)" userId="4e4b8b3d-5f31-49bb-9f80-8a25c04abfff" providerId="ADAL" clId="{EE97D3FE-9ACA-4467-98E5-532EC45D9D1C}" dt="2024-03-04T12:53:57.774" v="23161"/>
          <ac:cxnSpMkLst>
            <pc:docMk/>
            <pc:sldMk cId="201777098" sldId="950"/>
            <ac:cxnSpMk id="8" creationId="{EE51AD4F-3E95-E56F-5B86-5C86629EA0F7}"/>
          </ac:cxnSpMkLst>
        </pc:cxnChg>
        <pc:cxnChg chg="mod ord">
          <ac:chgData name="Nataliia Chornii (UA)" userId="4e4b8b3d-5f31-49bb-9f80-8a25c04abfff" providerId="ADAL" clId="{EE97D3FE-9ACA-4467-98E5-532EC45D9D1C}" dt="2024-03-04T12:53:57.758" v="23149"/>
          <ac:cxnSpMkLst>
            <pc:docMk/>
            <pc:sldMk cId="201777098" sldId="950"/>
            <ac:cxnSpMk id="53" creationId="{F358E754-064A-5B8C-B2FC-4E612BA07893}"/>
          </ac:cxnSpMkLst>
        </pc:cxnChg>
        <pc:cxnChg chg="del mod">
          <ac:chgData name="Nataliia Chornii (UA)" userId="4e4b8b3d-5f31-49bb-9f80-8a25c04abfff" providerId="ADAL" clId="{EE97D3FE-9ACA-4467-98E5-532EC45D9D1C}" dt="2024-03-04T12:48:16.081" v="22824" actId="478"/>
          <ac:cxnSpMkLst>
            <pc:docMk/>
            <pc:sldMk cId="201777098" sldId="950"/>
            <ac:cxnSpMk id="95" creationId="{D4EEEA95-3B5D-59D7-CC7D-E49C940EDFA8}"/>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55:56.657" v="23225"/>
              <pc2:cmMkLst xmlns:pc2="http://schemas.microsoft.com/office/powerpoint/2019/9/main/command">
                <pc:docMk/>
                <pc:sldMk cId="201777098" sldId="950"/>
                <pc2:cmMk id="{1A5476BB-88AF-4870-A72B-D1F544EA1421}"/>
              </pc2:cmMkLst>
            </pc226:cmChg>
            <pc226:cmChg xmlns:pc226="http://schemas.microsoft.com/office/powerpoint/2022/06/main/command" chg="mod">
              <pc226:chgData name="Nataliia Chornii (UA)" userId="4e4b8b3d-5f31-49bb-9f80-8a25c04abfff" providerId="ADAL" clId="{EE97D3FE-9ACA-4467-98E5-532EC45D9D1C}" dt="2024-03-04T12:55:54.862" v="23224"/>
              <pc2:cmMkLst xmlns:pc2="http://schemas.microsoft.com/office/powerpoint/2019/9/main/command">
                <pc:docMk/>
                <pc:sldMk cId="201777098" sldId="950"/>
                <pc2:cmMk id="{5E0D50F5-D5CA-4BCD-9B39-6846677F7D43}"/>
              </pc2:cmMkLst>
            </pc226:cmChg>
          </p:ext>
        </pc:extLst>
      </pc:sldChg>
      <pc:sldChg chg="addSp delSp modSp mod modCm">
        <pc:chgData name="Nataliia Chornii (UA)" userId="4e4b8b3d-5f31-49bb-9f80-8a25c04abfff" providerId="ADAL" clId="{EE97D3FE-9ACA-4467-98E5-532EC45D9D1C}" dt="2024-03-11T14:34:29.595" v="25151"/>
        <pc:sldMkLst>
          <pc:docMk/>
          <pc:sldMk cId="3919877977" sldId="951"/>
        </pc:sldMkLst>
        <pc:spChg chg="del">
          <ac:chgData name="Nataliia Chornii (UA)" userId="4e4b8b3d-5f31-49bb-9f80-8a25c04abfff" providerId="ADAL" clId="{EE97D3FE-9ACA-4467-98E5-532EC45D9D1C}" dt="2024-03-04T12:51:58.489" v="22884" actId="478"/>
          <ac:spMkLst>
            <pc:docMk/>
            <pc:sldMk cId="3919877977" sldId="951"/>
            <ac:spMk id="2" creationId="{CF385B03-2F15-6430-B726-C2FB4A14829D}"/>
          </ac:spMkLst>
        </pc:spChg>
        <pc:spChg chg="add mod">
          <ac:chgData name="Nataliia Chornii (UA)" userId="4e4b8b3d-5f31-49bb-9f80-8a25c04abfff" providerId="ADAL" clId="{EE97D3FE-9ACA-4467-98E5-532EC45D9D1C}" dt="2024-03-11T14:27:11.696" v="24120"/>
          <ac:spMkLst>
            <pc:docMk/>
            <pc:sldMk cId="3919877977" sldId="951"/>
            <ac:spMk id="2" creationId="{E492D44C-9EB1-E1BE-49A6-AA9E42D367F6}"/>
          </ac:spMkLst>
        </pc:spChg>
        <pc:spChg chg="mod ord">
          <ac:chgData name="Nataliia Chornii (UA)" userId="4e4b8b3d-5f31-49bb-9f80-8a25c04abfff" providerId="ADAL" clId="{EE97D3FE-9ACA-4467-98E5-532EC45D9D1C}" dt="2024-03-04T12:53:49.625" v="23012"/>
          <ac:spMkLst>
            <pc:docMk/>
            <pc:sldMk cId="3919877977" sldId="951"/>
            <ac:spMk id="3" creationId="{F4CCF02E-F3C4-C376-8F56-61BD85A2E74B}"/>
          </ac:spMkLst>
        </pc:spChg>
        <pc:spChg chg="mod ord">
          <ac:chgData name="Nataliia Chornii (UA)" userId="4e4b8b3d-5f31-49bb-9f80-8a25c04abfff" providerId="ADAL" clId="{EE97D3FE-9ACA-4467-98E5-532EC45D9D1C}" dt="2024-03-04T12:53:49.625" v="23014"/>
          <ac:spMkLst>
            <pc:docMk/>
            <pc:sldMk cId="3919877977" sldId="951"/>
            <ac:spMk id="4" creationId="{872966CD-924A-B939-E655-A6BAF817DCBF}"/>
          </ac:spMkLst>
        </pc:spChg>
        <pc:spChg chg="del">
          <ac:chgData name="Nataliia Chornii (UA)" userId="4e4b8b3d-5f31-49bb-9f80-8a25c04abfff" providerId="ADAL" clId="{EE97D3FE-9ACA-4467-98E5-532EC45D9D1C}" dt="2024-03-04T12:52:01.732" v="22885" actId="478"/>
          <ac:spMkLst>
            <pc:docMk/>
            <pc:sldMk cId="3919877977" sldId="951"/>
            <ac:spMk id="5" creationId="{72E4C008-5160-4BC9-7D87-A59459C11EBD}"/>
          </ac:spMkLst>
        </pc:spChg>
        <pc:spChg chg="add mod ord">
          <ac:chgData name="Nataliia Chornii (UA)" userId="4e4b8b3d-5f31-49bb-9f80-8a25c04abfff" providerId="ADAL" clId="{EE97D3FE-9ACA-4467-98E5-532EC45D9D1C}" dt="2024-03-04T12:53:49.640" v="23034"/>
          <ac:spMkLst>
            <pc:docMk/>
            <pc:sldMk cId="3919877977" sldId="951"/>
            <ac:spMk id="6" creationId="{62728F32-3767-7BB1-A1AA-732F46C6F49C}"/>
          </ac:spMkLst>
        </pc:spChg>
        <pc:spChg chg="add mod ord">
          <ac:chgData name="Nataliia Chornii (UA)" userId="4e4b8b3d-5f31-49bb-9f80-8a25c04abfff" providerId="ADAL" clId="{EE97D3FE-9ACA-4467-98E5-532EC45D9D1C}" dt="2024-03-04T12:54:37.734" v="23189" actId="207"/>
          <ac:spMkLst>
            <pc:docMk/>
            <pc:sldMk cId="3919877977" sldId="951"/>
            <ac:spMk id="7" creationId="{3C600D06-FF5B-2816-46DE-CA4BA0C2E86C}"/>
          </ac:spMkLst>
        </pc:spChg>
        <pc:spChg chg="add mod ord">
          <ac:chgData name="Nataliia Chornii (UA)" userId="4e4b8b3d-5f31-49bb-9f80-8a25c04abfff" providerId="ADAL" clId="{EE97D3FE-9ACA-4467-98E5-532EC45D9D1C}" dt="2024-03-04T12:53:49.640" v="23038"/>
          <ac:spMkLst>
            <pc:docMk/>
            <pc:sldMk cId="3919877977" sldId="951"/>
            <ac:spMk id="8" creationId="{D88A73CD-70CA-96A4-662F-043BC695E8F3}"/>
          </ac:spMkLst>
        </pc:spChg>
        <pc:spChg chg="add mod ord">
          <ac:chgData name="Nataliia Chornii (UA)" userId="4e4b8b3d-5f31-49bb-9f80-8a25c04abfff" providerId="ADAL" clId="{EE97D3FE-9ACA-4467-98E5-532EC45D9D1C}" dt="2024-03-04T12:53:49.640" v="23042"/>
          <ac:spMkLst>
            <pc:docMk/>
            <pc:sldMk cId="3919877977" sldId="951"/>
            <ac:spMk id="10" creationId="{6E0B64FC-825F-7837-CF20-747348150A56}"/>
          </ac:spMkLst>
        </pc:spChg>
        <pc:spChg chg="add mod ord">
          <ac:chgData name="Nataliia Chornii (UA)" userId="4e4b8b3d-5f31-49bb-9f80-8a25c04abfff" providerId="ADAL" clId="{EE97D3FE-9ACA-4467-98E5-532EC45D9D1C}" dt="2024-03-04T12:53:49.640" v="23044"/>
          <ac:spMkLst>
            <pc:docMk/>
            <pc:sldMk cId="3919877977" sldId="951"/>
            <ac:spMk id="11" creationId="{C93782D8-0364-2222-6021-338ED123DDD0}"/>
          </ac:spMkLst>
        </pc:spChg>
        <pc:spChg chg="add mod ord">
          <ac:chgData name="Nataliia Chornii (UA)" userId="4e4b8b3d-5f31-49bb-9f80-8a25c04abfff" providerId="ADAL" clId="{EE97D3FE-9ACA-4467-98E5-532EC45D9D1C}" dt="2024-03-04T12:53:49.640" v="23046"/>
          <ac:spMkLst>
            <pc:docMk/>
            <pc:sldMk cId="3919877977" sldId="951"/>
            <ac:spMk id="13" creationId="{1AEE3B88-C1AD-8375-A6B6-5CB9D691A21C}"/>
          </ac:spMkLst>
        </pc:spChg>
        <pc:spChg chg="add mod ord">
          <ac:chgData name="Nataliia Chornii (UA)" userId="4e4b8b3d-5f31-49bb-9f80-8a25c04abfff" providerId="ADAL" clId="{EE97D3FE-9ACA-4467-98E5-532EC45D9D1C}" dt="2024-03-04T12:53:49.640" v="23048"/>
          <ac:spMkLst>
            <pc:docMk/>
            <pc:sldMk cId="3919877977" sldId="951"/>
            <ac:spMk id="14" creationId="{AF52A9B6-90D7-144E-F3A0-1E131F7C0871}"/>
          </ac:spMkLst>
        </pc:spChg>
        <pc:spChg chg="add mod ord">
          <ac:chgData name="Nataliia Chornii (UA)" userId="4e4b8b3d-5f31-49bb-9f80-8a25c04abfff" providerId="ADAL" clId="{EE97D3FE-9ACA-4467-98E5-532EC45D9D1C}" dt="2024-03-04T12:53:49.640" v="23050"/>
          <ac:spMkLst>
            <pc:docMk/>
            <pc:sldMk cId="3919877977" sldId="951"/>
            <ac:spMk id="15" creationId="{AA2E0D70-A771-9CC6-1822-E814A9D83B94}"/>
          </ac:spMkLst>
        </pc:spChg>
        <pc:spChg chg="add del mod modVis">
          <ac:chgData name="Nataliia Chornii (UA)" userId="4e4b8b3d-5f31-49bb-9f80-8a25c04abfff" providerId="ADAL" clId="{EE97D3FE-9ACA-4467-98E5-532EC45D9D1C}" dt="2024-03-04T12:53:33.296" v="22998"/>
          <ac:spMkLst>
            <pc:docMk/>
            <pc:sldMk cId="3919877977" sldId="951"/>
            <ac:spMk id="16" creationId="{13A16514-1C20-721C-0056-95FF3B55A557}"/>
          </ac:spMkLst>
        </pc:spChg>
        <pc:spChg chg="mod">
          <ac:chgData name="Nataliia Chornii (UA)" userId="4e4b8b3d-5f31-49bb-9f80-8a25c04abfff" providerId="ADAL" clId="{EE97D3FE-9ACA-4467-98E5-532EC45D9D1C}" dt="2024-03-11T14:27:11.696" v="24120"/>
          <ac:spMkLst>
            <pc:docMk/>
            <pc:sldMk cId="3919877977" sldId="951"/>
            <ac:spMk id="16" creationId="{86F30ECA-9C87-D5F9-15DE-E7DC6A505E84}"/>
          </ac:spMkLst>
        </pc:spChg>
        <pc:spChg chg="mod">
          <ac:chgData name="Nataliia Chornii (UA)" userId="4e4b8b3d-5f31-49bb-9f80-8a25c04abfff" providerId="ADAL" clId="{EE97D3FE-9ACA-4467-98E5-532EC45D9D1C}" dt="2024-03-11T14:27:11.696" v="24120"/>
          <ac:spMkLst>
            <pc:docMk/>
            <pc:sldMk cId="3919877977" sldId="951"/>
            <ac:spMk id="17" creationId="{551829AB-FC10-F18C-CB30-3B30105C957F}"/>
          </ac:spMkLst>
        </pc:spChg>
        <pc:spChg chg="mod">
          <ac:chgData name="Nataliia Chornii (UA)" userId="4e4b8b3d-5f31-49bb-9f80-8a25c04abfff" providerId="ADAL" clId="{EE97D3FE-9ACA-4467-98E5-532EC45D9D1C}" dt="2024-03-11T14:27:11.696" v="24120"/>
          <ac:spMkLst>
            <pc:docMk/>
            <pc:sldMk cId="3919877977" sldId="951"/>
            <ac:spMk id="19" creationId="{1D3DC874-8B31-603E-4768-A1D5A8C7B6A3}"/>
          </ac:spMkLst>
        </pc:spChg>
        <pc:spChg chg="mod">
          <ac:chgData name="Nataliia Chornii (UA)" userId="4e4b8b3d-5f31-49bb-9f80-8a25c04abfff" providerId="ADAL" clId="{EE97D3FE-9ACA-4467-98E5-532EC45D9D1C}" dt="2024-03-11T14:27:11.696" v="24120"/>
          <ac:spMkLst>
            <pc:docMk/>
            <pc:sldMk cId="3919877977" sldId="951"/>
            <ac:spMk id="20" creationId="{0BFBFB3F-EAD2-D4B0-1A2D-EEA41DFB9B7B}"/>
          </ac:spMkLst>
        </pc:spChg>
        <pc:spChg chg="mod">
          <ac:chgData name="Nataliia Chornii (UA)" userId="4e4b8b3d-5f31-49bb-9f80-8a25c04abfff" providerId="ADAL" clId="{EE97D3FE-9ACA-4467-98E5-532EC45D9D1C}" dt="2024-03-11T14:27:11.696" v="24120"/>
          <ac:spMkLst>
            <pc:docMk/>
            <pc:sldMk cId="3919877977" sldId="951"/>
            <ac:spMk id="21" creationId="{BA171E70-0346-8B50-1237-51ECE4494916}"/>
          </ac:spMkLst>
        </pc:spChg>
        <pc:spChg chg="mod">
          <ac:chgData name="Nataliia Chornii (UA)" userId="4e4b8b3d-5f31-49bb-9f80-8a25c04abfff" providerId="ADAL" clId="{EE97D3FE-9ACA-4467-98E5-532EC45D9D1C}" dt="2024-03-11T14:27:11.696" v="24120"/>
          <ac:spMkLst>
            <pc:docMk/>
            <pc:sldMk cId="3919877977" sldId="951"/>
            <ac:spMk id="22" creationId="{7FAB8F80-B871-C741-31E6-E9D4387DFB1B}"/>
          </ac:spMkLst>
        </pc:spChg>
        <pc:spChg chg="add mod">
          <ac:chgData name="Nataliia Chornii (UA)" userId="4e4b8b3d-5f31-49bb-9f80-8a25c04abfff" providerId="ADAL" clId="{EE97D3FE-9ACA-4467-98E5-532EC45D9D1C}" dt="2024-03-11T14:34:29.595" v="25151"/>
          <ac:spMkLst>
            <pc:docMk/>
            <pc:sldMk cId="3919877977" sldId="951"/>
            <ac:spMk id="23" creationId="{95383AC2-E6E4-297E-D172-824689503DD1}"/>
          </ac:spMkLst>
        </pc:spChg>
        <pc:spChg chg="mod ord">
          <ac:chgData name="Nataliia Chornii (UA)" userId="4e4b8b3d-5f31-49bb-9f80-8a25c04abfff" providerId="ADAL" clId="{EE97D3FE-9ACA-4467-98E5-532EC45D9D1C}" dt="2024-03-04T12:53:49.625" v="23016"/>
          <ac:spMkLst>
            <pc:docMk/>
            <pc:sldMk cId="3919877977" sldId="951"/>
            <ac:spMk id="26" creationId="{5EC1F9AE-82A4-85FE-592B-EF659F76F7EC}"/>
          </ac:spMkLst>
        </pc:spChg>
        <pc:spChg chg="mod ord">
          <ac:chgData name="Nataliia Chornii (UA)" userId="4e4b8b3d-5f31-49bb-9f80-8a25c04abfff" providerId="ADAL" clId="{EE97D3FE-9ACA-4467-98E5-532EC45D9D1C}" dt="2024-03-04T12:53:49.625" v="23018"/>
          <ac:spMkLst>
            <pc:docMk/>
            <pc:sldMk cId="3919877977" sldId="951"/>
            <ac:spMk id="29" creationId="{3915AD89-6428-4A75-0915-328643F1703C}"/>
          </ac:spMkLst>
        </pc:spChg>
        <pc:spChg chg="mod ord">
          <ac:chgData name="Nataliia Chornii (UA)" userId="4e4b8b3d-5f31-49bb-9f80-8a25c04abfff" providerId="ADAL" clId="{EE97D3FE-9ACA-4467-98E5-532EC45D9D1C}" dt="2024-03-04T12:53:49.625" v="23020"/>
          <ac:spMkLst>
            <pc:docMk/>
            <pc:sldMk cId="3919877977" sldId="951"/>
            <ac:spMk id="30" creationId="{373AB206-F1F0-CC72-8C15-85605D9AF2AC}"/>
          </ac:spMkLst>
        </pc:spChg>
        <pc:spChg chg="mod ord">
          <ac:chgData name="Nataliia Chornii (UA)" userId="4e4b8b3d-5f31-49bb-9f80-8a25c04abfff" providerId="ADAL" clId="{EE97D3FE-9ACA-4467-98E5-532EC45D9D1C}" dt="2024-03-04T12:53:49.625" v="23010"/>
          <ac:spMkLst>
            <pc:docMk/>
            <pc:sldMk cId="3919877977" sldId="951"/>
            <ac:spMk id="42" creationId="{50830596-224D-A11D-D251-21B0CA3EB02E}"/>
          </ac:spMkLst>
        </pc:spChg>
        <pc:spChg chg="mod ord">
          <ac:chgData name="Nataliia Chornii (UA)" userId="4e4b8b3d-5f31-49bb-9f80-8a25c04abfff" providerId="ADAL" clId="{EE97D3FE-9ACA-4467-98E5-532EC45D9D1C}" dt="2024-03-04T12:53:49.625" v="23022"/>
          <ac:spMkLst>
            <pc:docMk/>
            <pc:sldMk cId="3919877977" sldId="951"/>
            <ac:spMk id="46" creationId="{09BF84D6-F468-7005-FAB5-AA0B6AE5CFB4}"/>
          </ac:spMkLst>
        </pc:spChg>
        <pc:spChg chg="mod ord">
          <ac:chgData name="Nataliia Chornii (UA)" userId="4e4b8b3d-5f31-49bb-9f80-8a25c04abfff" providerId="ADAL" clId="{EE97D3FE-9ACA-4467-98E5-532EC45D9D1C}" dt="2024-03-04T12:53:49.625" v="23024"/>
          <ac:spMkLst>
            <pc:docMk/>
            <pc:sldMk cId="3919877977" sldId="951"/>
            <ac:spMk id="50" creationId="{0130363F-7CE7-F3D0-4AB5-F295FAC2DCBC}"/>
          </ac:spMkLst>
        </pc:spChg>
        <pc:spChg chg="mod ord">
          <ac:chgData name="Nataliia Chornii (UA)" userId="4e4b8b3d-5f31-49bb-9f80-8a25c04abfff" providerId="ADAL" clId="{EE97D3FE-9ACA-4467-98E5-532EC45D9D1C}" dt="2024-03-04T12:53:49.625" v="23026"/>
          <ac:spMkLst>
            <pc:docMk/>
            <pc:sldMk cId="3919877977" sldId="951"/>
            <ac:spMk id="51" creationId="{AFEB1935-0849-FFDB-14A2-768E555E2F79}"/>
          </ac:spMkLst>
        </pc:spChg>
        <pc:spChg chg="mod ord">
          <ac:chgData name="Nataliia Chornii (UA)" userId="4e4b8b3d-5f31-49bb-9f80-8a25c04abfff" providerId="ADAL" clId="{EE97D3FE-9ACA-4467-98E5-532EC45D9D1C}" dt="2024-03-04T12:53:49.625" v="23028"/>
          <ac:spMkLst>
            <pc:docMk/>
            <pc:sldMk cId="3919877977" sldId="951"/>
            <ac:spMk id="52" creationId="{C28EBB85-E5E0-FA58-8077-AD15508F23C6}"/>
          </ac:spMkLst>
        </pc:spChg>
        <pc:spChg chg="del mod ord">
          <ac:chgData name="Nataliia Chornii (UA)" userId="4e4b8b3d-5f31-49bb-9f80-8a25c04abfff" providerId="ADAL" clId="{EE97D3FE-9ACA-4467-98E5-532EC45D9D1C}" dt="2024-03-11T14:34:29.310" v="25150" actId="478"/>
          <ac:spMkLst>
            <pc:docMk/>
            <pc:sldMk cId="3919877977" sldId="951"/>
            <ac:spMk id="57" creationId="{E0007A68-F3EF-5218-37FA-972FF8C8BB56}"/>
          </ac:spMkLst>
        </pc:spChg>
        <pc:spChg chg="del">
          <ac:chgData name="Nataliia Chornii (UA)" userId="4e4b8b3d-5f31-49bb-9f80-8a25c04abfff" providerId="ADAL" clId="{EE97D3FE-9ACA-4467-98E5-532EC45D9D1C}" dt="2024-03-04T12:52:01.732" v="22885" actId="478"/>
          <ac:spMkLst>
            <pc:docMk/>
            <pc:sldMk cId="3919877977" sldId="951"/>
            <ac:spMk id="93" creationId="{5A55EC81-0AD5-CE05-4AAF-6599399D9BD3}"/>
          </ac:spMkLst>
        </pc:spChg>
        <pc:spChg chg="del">
          <ac:chgData name="Nataliia Chornii (UA)" userId="4e4b8b3d-5f31-49bb-9f80-8a25c04abfff" providerId="ADAL" clId="{EE97D3FE-9ACA-4467-98E5-532EC45D9D1C}" dt="2024-03-04T12:52:01.732" v="22885" actId="478"/>
          <ac:spMkLst>
            <pc:docMk/>
            <pc:sldMk cId="3919877977" sldId="951"/>
            <ac:spMk id="94" creationId="{2945AFC3-C832-6045-1DDE-A189FFBEDD95}"/>
          </ac:spMkLst>
        </pc:spChg>
        <pc:spChg chg="del">
          <ac:chgData name="Nataliia Chornii (UA)" userId="4e4b8b3d-5f31-49bb-9f80-8a25c04abfff" providerId="ADAL" clId="{EE97D3FE-9ACA-4467-98E5-532EC45D9D1C}" dt="2024-03-04T12:52:01.732" v="22885" actId="478"/>
          <ac:spMkLst>
            <pc:docMk/>
            <pc:sldMk cId="3919877977" sldId="951"/>
            <ac:spMk id="96" creationId="{2A913932-8BE1-F1EB-2C97-BB1A5EF0C629}"/>
          </ac:spMkLst>
        </pc:spChg>
        <pc:grpChg chg="add mod">
          <ac:chgData name="Nataliia Chornii (UA)" userId="4e4b8b3d-5f31-49bb-9f80-8a25c04abfff" providerId="ADAL" clId="{EE97D3FE-9ACA-4467-98E5-532EC45D9D1C}" dt="2024-03-11T14:27:11.696" v="24120"/>
          <ac:grpSpMkLst>
            <pc:docMk/>
            <pc:sldMk cId="3919877977" sldId="951"/>
            <ac:grpSpMk id="5" creationId="{56FF85DA-9373-A5FA-2C2E-6634AFBCBE5B}"/>
          </ac:grpSpMkLst>
        </pc:grpChg>
        <pc:graphicFrameChg chg="mod">
          <ac:chgData name="Nataliia Chornii (UA)" userId="4e4b8b3d-5f31-49bb-9f80-8a25c04abfff" providerId="ADAL" clId="{EE97D3FE-9ACA-4467-98E5-532EC45D9D1C}" dt="2024-03-04T12:53:49.656" v="23054"/>
          <ac:graphicFrameMkLst>
            <pc:docMk/>
            <pc:sldMk cId="3919877977" sldId="951"/>
            <ac:graphicFrameMk id="12" creationId="{F6E6AF23-7B86-113A-F559-513B41FEC1FE}"/>
          </ac:graphicFrameMkLst>
        </pc:graphicFrameChg>
        <pc:picChg chg="add mod ord modCrop">
          <ac:chgData name="Nataliia Chornii (UA)" userId="4e4b8b3d-5f31-49bb-9f80-8a25c04abfff" providerId="ADAL" clId="{EE97D3FE-9ACA-4467-98E5-532EC45D9D1C}" dt="2024-03-04T12:53:49.616" v="23008"/>
          <ac:picMkLst>
            <pc:docMk/>
            <pc:sldMk cId="3919877977" sldId="951"/>
            <ac:picMk id="18" creationId="{688D19D4-A1EC-5D3C-165E-57F5334AF028}"/>
          </ac:picMkLst>
        </pc:picChg>
        <pc:picChg chg="del mod ord">
          <ac:chgData name="Nataliia Chornii (UA)" userId="4e4b8b3d-5f31-49bb-9f80-8a25c04abfff" providerId="ADAL" clId="{EE97D3FE-9ACA-4467-98E5-532EC45D9D1C}" dt="2024-03-04T12:53:34.213" v="23001" actId="478"/>
          <ac:picMkLst>
            <pc:docMk/>
            <pc:sldMk cId="3919877977" sldId="951"/>
            <ac:picMk id="41" creationId="{7CAE88F2-0719-E8A4-5A3E-39E39CF155A6}"/>
          </ac:picMkLst>
        </pc:picChg>
        <pc:cxnChg chg="add mod ord">
          <ac:chgData name="Nataliia Chornii (UA)" userId="4e4b8b3d-5f31-49bb-9f80-8a25c04abfff" providerId="ADAL" clId="{EE97D3FE-9ACA-4467-98E5-532EC45D9D1C}" dt="2024-03-04T12:53:49.640" v="23040"/>
          <ac:cxnSpMkLst>
            <pc:docMk/>
            <pc:sldMk cId="3919877977" sldId="951"/>
            <ac:cxnSpMk id="9" creationId="{D9A54F18-198C-7FBD-ED61-4B1E7FFFC657}"/>
          </ac:cxnSpMkLst>
        </pc:cxnChg>
        <pc:cxnChg chg="mod ord">
          <ac:chgData name="Nataliia Chornii (UA)" userId="4e4b8b3d-5f31-49bb-9f80-8a25c04abfff" providerId="ADAL" clId="{EE97D3FE-9ACA-4467-98E5-532EC45D9D1C}" dt="2024-03-04T12:53:49.625" v="23030"/>
          <ac:cxnSpMkLst>
            <pc:docMk/>
            <pc:sldMk cId="3919877977" sldId="951"/>
            <ac:cxnSpMk id="53" creationId="{F358E754-064A-5B8C-B2FC-4E612BA07893}"/>
          </ac:cxnSpMkLst>
        </pc:cxnChg>
        <pc:cxnChg chg="del">
          <ac:chgData name="Nataliia Chornii (UA)" userId="4e4b8b3d-5f31-49bb-9f80-8a25c04abfff" providerId="ADAL" clId="{EE97D3FE-9ACA-4467-98E5-532EC45D9D1C}" dt="2024-03-04T12:52:01.732" v="22885" actId="478"/>
          <ac:cxnSpMkLst>
            <pc:docMk/>
            <pc:sldMk cId="3919877977" sldId="951"/>
            <ac:cxnSpMk id="95" creationId="{D4EEEA95-3B5D-59D7-CC7D-E49C940EDFA8}"/>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55:59.133" v="23226"/>
              <pc2:cmMkLst xmlns:pc2="http://schemas.microsoft.com/office/powerpoint/2019/9/main/command">
                <pc:docMk/>
                <pc:sldMk cId="3919877977" sldId="951"/>
                <pc2:cmMk id="{DEEB522C-7CB1-41CA-8DF4-0025ECCCD571}"/>
              </pc2:cmMkLst>
            </pc226:cmChg>
            <pc226:cmChg xmlns:pc226="http://schemas.microsoft.com/office/powerpoint/2022/06/main/command" chg="mod">
              <pc226:chgData name="Nataliia Chornii (UA)" userId="4e4b8b3d-5f31-49bb-9f80-8a25c04abfff" providerId="ADAL" clId="{EE97D3FE-9ACA-4467-98E5-532EC45D9D1C}" dt="2024-03-04T12:56:00.230" v="23227"/>
              <pc2:cmMkLst xmlns:pc2="http://schemas.microsoft.com/office/powerpoint/2019/9/main/command">
                <pc:docMk/>
                <pc:sldMk cId="3919877977" sldId="951"/>
                <pc2:cmMk id="{85CB2ACB-F07F-45B5-89ED-DD3C5C9375B3}"/>
              </pc2:cmMkLst>
            </pc226:cmChg>
          </p:ext>
        </pc:extLst>
      </pc:sldChg>
      <pc:sldChg chg="addSp delSp modSp mod modCm">
        <pc:chgData name="Nataliia Chornii (UA)" userId="4e4b8b3d-5f31-49bb-9f80-8a25c04abfff" providerId="ADAL" clId="{EE97D3FE-9ACA-4467-98E5-532EC45D9D1C}" dt="2024-03-11T14:27:51.677" v="24134" actId="164"/>
        <pc:sldMkLst>
          <pc:docMk/>
          <pc:sldMk cId="1713450018" sldId="952"/>
        </pc:sldMkLst>
        <pc:spChg chg="add mod">
          <ac:chgData name="Nataliia Chornii (UA)" userId="4e4b8b3d-5f31-49bb-9f80-8a25c04abfff" providerId="ADAL" clId="{EE97D3FE-9ACA-4467-98E5-532EC45D9D1C}" dt="2024-03-11T14:27:13.849" v="24121"/>
          <ac:spMkLst>
            <pc:docMk/>
            <pc:sldMk cId="1713450018" sldId="952"/>
            <ac:spMk id="2" creationId="{8AECEEF7-147C-69E9-7E85-66789CF569A3}"/>
          </ac:spMkLst>
        </pc:spChg>
        <pc:spChg chg="mod topLvl">
          <ac:chgData name="Nataliia Chornii (UA)" userId="4e4b8b3d-5f31-49bb-9f80-8a25c04abfff" providerId="ADAL" clId="{EE97D3FE-9ACA-4467-98E5-532EC45D9D1C}" dt="2024-03-11T14:27:51.677" v="24134" actId="164"/>
          <ac:spMkLst>
            <pc:docMk/>
            <pc:sldMk cId="1713450018" sldId="952"/>
            <ac:spMk id="4" creationId="{94F88B90-71DF-CB0B-C0DB-103040ABD828}"/>
          </ac:spMkLst>
        </pc:spChg>
        <pc:spChg chg="mod topLvl">
          <ac:chgData name="Nataliia Chornii (UA)" userId="4e4b8b3d-5f31-49bb-9f80-8a25c04abfff" providerId="ADAL" clId="{EE97D3FE-9ACA-4467-98E5-532EC45D9D1C}" dt="2024-03-11T14:27:51.677" v="24134" actId="164"/>
          <ac:spMkLst>
            <pc:docMk/>
            <pc:sldMk cId="1713450018" sldId="952"/>
            <ac:spMk id="5" creationId="{9D24C125-C618-6790-4D00-61A80DDD6B9D}"/>
          </ac:spMkLst>
        </pc:spChg>
        <pc:spChg chg="mod topLvl">
          <ac:chgData name="Nataliia Chornii (UA)" userId="4e4b8b3d-5f31-49bb-9f80-8a25c04abfff" providerId="ADAL" clId="{EE97D3FE-9ACA-4467-98E5-532EC45D9D1C}" dt="2024-03-11T14:27:51.677" v="24134" actId="164"/>
          <ac:spMkLst>
            <pc:docMk/>
            <pc:sldMk cId="1713450018" sldId="952"/>
            <ac:spMk id="8" creationId="{7644DD63-5811-99E1-647A-595A8918858E}"/>
          </ac:spMkLst>
        </pc:spChg>
        <pc:spChg chg="mod topLvl">
          <ac:chgData name="Nataliia Chornii (UA)" userId="4e4b8b3d-5f31-49bb-9f80-8a25c04abfff" providerId="ADAL" clId="{EE97D3FE-9ACA-4467-98E5-532EC45D9D1C}" dt="2024-03-11T14:27:51.677" v="24134" actId="164"/>
          <ac:spMkLst>
            <pc:docMk/>
            <pc:sldMk cId="1713450018" sldId="952"/>
            <ac:spMk id="9" creationId="{DBDE7AC3-D08B-9A3D-1C99-C78111D41ABC}"/>
          </ac:spMkLst>
        </pc:spChg>
        <pc:spChg chg="mod">
          <ac:chgData name="Nataliia Chornii (UA)" userId="4e4b8b3d-5f31-49bb-9f80-8a25c04abfff" providerId="ADAL" clId="{EE97D3FE-9ACA-4467-98E5-532EC45D9D1C}" dt="2024-03-04T09:46:57.644" v="19813" actId="207"/>
          <ac:spMkLst>
            <pc:docMk/>
            <pc:sldMk cId="1713450018" sldId="952"/>
            <ac:spMk id="11" creationId="{E0158CBF-80D1-8041-5978-AE6FC3BEB22F}"/>
          </ac:spMkLst>
        </pc:spChg>
        <pc:spChg chg="mod topLvl">
          <ac:chgData name="Nataliia Chornii (UA)" userId="4e4b8b3d-5f31-49bb-9f80-8a25c04abfff" providerId="ADAL" clId="{EE97D3FE-9ACA-4467-98E5-532EC45D9D1C}" dt="2024-03-11T14:27:51.677" v="24134" actId="164"/>
          <ac:spMkLst>
            <pc:docMk/>
            <pc:sldMk cId="1713450018" sldId="952"/>
            <ac:spMk id="12" creationId="{D5A08CA3-F120-5E05-B055-BFCCCC1962A8}"/>
          </ac:spMkLst>
        </pc:spChg>
        <pc:spChg chg="mod topLvl">
          <ac:chgData name="Nataliia Chornii (UA)" userId="4e4b8b3d-5f31-49bb-9f80-8a25c04abfff" providerId="ADAL" clId="{EE97D3FE-9ACA-4467-98E5-532EC45D9D1C}" dt="2024-03-11T14:27:51.677" v="24134" actId="164"/>
          <ac:spMkLst>
            <pc:docMk/>
            <pc:sldMk cId="1713450018" sldId="952"/>
            <ac:spMk id="13" creationId="{861DE81F-8637-BBE0-7241-48E15C38E7A7}"/>
          </ac:spMkLst>
        </pc:spChg>
        <pc:grpChg chg="add del mod">
          <ac:chgData name="Nataliia Chornii (UA)" userId="4e4b8b3d-5f31-49bb-9f80-8a25c04abfff" providerId="ADAL" clId="{EE97D3FE-9ACA-4467-98E5-532EC45D9D1C}" dt="2024-03-11T14:27:20.649" v="24122" actId="165"/>
          <ac:grpSpMkLst>
            <pc:docMk/>
            <pc:sldMk cId="1713450018" sldId="952"/>
            <ac:grpSpMk id="3" creationId="{7382DFA6-7E76-6A81-337C-3814754C7C92}"/>
          </ac:grpSpMkLst>
        </pc:grpChg>
        <pc:grpChg chg="add del mod">
          <ac:chgData name="Nataliia Chornii (UA)" userId="4e4b8b3d-5f31-49bb-9f80-8a25c04abfff" providerId="ADAL" clId="{EE97D3FE-9ACA-4467-98E5-532EC45D9D1C}" dt="2024-03-11T14:27:35.094" v="24127" actId="165"/>
          <ac:grpSpMkLst>
            <pc:docMk/>
            <pc:sldMk cId="1713450018" sldId="952"/>
            <ac:grpSpMk id="14" creationId="{75D4CBEC-926B-30EB-35BB-F642785F365D}"/>
          </ac:grpSpMkLst>
        </pc:grpChg>
        <pc:grpChg chg="add mod">
          <ac:chgData name="Nataliia Chornii (UA)" userId="4e4b8b3d-5f31-49bb-9f80-8a25c04abfff" providerId="ADAL" clId="{EE97D3FE-9ACA-4467-98E5-532EC45D9D1C}" dt="2024-03-11T14:27:51.677" v="24134" actId="164"/>
          <ac:grpSpMkLst>
            <pc:docMk/>
            <pc:sldMk cId="1713450018" sldId="952"/>
            <ac:grpSpMk id="15" creationId="{388FE7B1-ADE2-6B6B-234C-B8C1E1FB8F5A}"/>
          </ac:grpSpMkLst>
        </pc:grpChg>
        <pc:graphicFrameChg chg="mod modGraphic">
          <ac:chgData name="Nataliia Chornii (UA)" userId="4e4b8b3d-5f31-49bb-9f80-8a25c04abfff" providerId="ADAL" clId="{EE97D3FE-9ACA-4467-98E5-532EC45D9D1C}" dt="2024-03-04T09:48:30.686" v="19842" actId="572"/>
          <ac:graphicFrameMkLst>
            <pc:docMk/>
            <pc:sldMk cId="1713450018" sldId="952"/>
            <ac:graphicFrameMk id="10" creationId="{DD430830-1913-0D22-CCB5-64EB0C593545}"/>
          </ac:graphicFrameMkLst>
        </pc:graphicFrame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56:07.499" v="23229"/>
              <pc2:cmMkLst xmlns:pc2="http://schemas.microsoft.com/office/powerpoint/2019/9/main/command">
                <pc:docMk/>
                <pc:sldMk cId="1713450018" sldId="952"/>
                <pc2:cmMk id="{8A22812F-5AB0-4E9E-AD91-0EE4F777EC6D}"/>
              </pc2:cmMkLst>
            </pc226:cmChg>
          </p:ext>
        </pc:extLst>
      </pc:sldChg>
      <pc:sldChg chg="addSp delSp modSp mod modCm">
        <pc:chgData name="Nataliia Chornii (UA)" userId="4e4b8b3d-5f31-49bb-9f80-8a25c04abfff" providerId="ADAL" clId="{EE97D3FE-9ACA-4467-98E5-532EC45D9D1C}" dt="2024-03-04T12:56:03.661" v="23228"/>
        <pc:sldMkLst>
          <pc:docMk/>
          <pc:sldMk cId="2937916867" sldId="953"/>
        </pc:sldMkLst>
        <pc:spChg chg="mod ord">
          <ac:chgData name="Nataliia Chornii (UA)" userId="4e4b8b3d-5f31-49bb-9f80-8a25c04abfff" providerId="ADAL" clId="{EE97D3FE-9ACA-4467-98E5-532EC45D9D1C}" dt="2024-03-04T12:53:01.705" v="22914"/>
          <ac:spMkLst>
            <pc:docMk/>
            <pc:sldMk cId="2937916867" sldId="953"/>
            <ac:spMk id="2" creationId="{00000000-0000-0000-0000-000000000000}"/>
          </ac:spMkLst>
        </pc:spChg>
        <pc:spChg chg="add del mod">
          <ac:chgData name="Nataliia Chornii (UA)" userId="4e4b8b3d-5f31-49bb-9f80-8a25c04abfff" providerId="ADAL" clId="{EE97D3FE-9ACA-4467-98E5-532EC45D9D1C}" dt="2024-03-04T12:53:00.701" v="22888" actId="931"/>
          <ac:spMkLst>
            <pc:docMk/>
            <pc:sldMk cId="2937916867" sldId="953"/>
            <ac:spMk id="4" creationId="{3197C095-DB78-0537-8CA7-44FDC7DEFBE2}"/>
          </ac:spMkLst>
        </pc:spChg>
        <pc:spChg chg="add del mod modVis">
          <ac:chgData name="Nataliia Chornii (UA)" userId="4e4b8b3d-5f31-49bb-9f80-8a25c04abfff" providerId="ADAL" clId="{EE97D3FE-9ACA-4467-98E5-532EC45D9D1C}" dt="2024-03-04T12:53:01.710" v="22928"/>
          <ac:spMkLst>
            <pc:docMk/>
            <pc:sldMk cId="2937916867" sldId="953"/>
            <ac:spMk id="7" creationId="{35D73A45-5ADE-3F1C-9538-A0B2877C9E84}"/>
          </ac:spMkLst>
        </pc:spChg>
        <pc:spChg chg="mod ord">
          <ac:chgData name="Nataliia Chornii (UA)" userId="4e4b8b3d-5f31-49bb-9f80-8a25c04abfff" providerId="ADAL" clId="{EE97D3FE-9ACA-4467-98E5-532EC45D9D1C}" dt="2024-03-04T12:53:01.705" v="22912"/>
          <ac:spMkLst>
            <pc:docMk/>
            <pc:sldMk cId="2937916867" sldId="953"/>
            <ac:spMk id="20" creationId="{DA4789A9-B8AF-52BF-5DEF-333466FE31C0}"/>
          </ac:spMkLst>
        </pc:spChg>
        <pc:spChg chg="mod ord">
          <ac:chgData name="Nataliia Chornii (UA)" userId="4e4b8b3d-5f31-49bb-9f80-8a25c04abfff" providerId="ADAL" clId="{EE97D3FE-9ACA-4467-98E5-532EC45D9D1C}" dt="2024-03-04T12:53:01.705" v="22916"/>
          <ac:spMkLst>
            <pc:docMk/>
            <pc:sldMk cId="2937916867" sldId="953"/>
            <ac:spMk id="22" creationId="{DA09306E-3C26-7BF8-5FB5-F7E3D80F89C9}"/>
          </ac:spMkLst>
        </pc:spChg>
        <pc:spChg chg="mod ord">
          <ac:chgData name="Nataliia Chornii (UA)" userId="4e4b8b3d-5f31-49bb-9f80-8a25c04abfff" providerId="ADAL" clId="{EE97D3FE-9ACA-4467-98E5-532EC45D9D1C}" dt="2024-03-04T12:53:01.705" v="22918"/>
          <ac:spMkLst>
            <pc:docMk/>
            <pc:sldMk cId="2937916867" sldId="953"/>
            <ac:spMk id="23" creationId="{B97F3C75-3AEC-3E9F-4D71-CA8C30F9835E}"/>
          </ac:spMkLst>
        </pc:spChg>
        <pc:spChg chg="mod ord">
          <ac:chgData name="Nataliia Chornii (UA)" userId="4e4b8b3d-5f31-49bb-9f80-8a25c04abfff" providerId="ADAL" clId="{EE97D3FE-9ACA-4467-98E5-532EC45D9D1C}" dt="2024-03-04T12:53:01.705" v="22920"/>
          <ac:spMkLst>
            <pc:docMk/>
            <pc:sldMk cId="2937916867" sldId="953"/>
            <ac:spMk id="24" creationId="{E15793DA-AFC4-2E3B-FDAA-EF33B0365B71}"/>
          </ac:spMkLst>
        </pc:spChg>
        <pc:spChg chg="mod ord">
          <ac:chgData name="Nataliia Chornii (UA)" userId="4e4b8b3d-5f31-49bb-9f80-8a25c04abfff" providerId="ADAL" clId="{EE97D3FE-9ACA-4467-98E5-532EC45D9D1C}" dt="2024-03-04T12:53:01.710" v="22922"/>
          <ac:spMkLst>
            <pc:docMk/>
            <pc:sldMk cId="2937916867" sldId="953"/>
            <ac:spMk id="25" creationId="{BFEDB8CC-ED47-80DF-F3C0-E0FEEBA29F85}"/>
          </ac:spMkLst>
        </pc:spChg>
        <pc:spChg chg="mod ord">
          <ac:chgData name="Nataliia Chornii (UA)" userId="4e4b8b3d-5f31-49bb-9f80-8a25c04abfff" providerId="ADAL" clId="{EE97D3FE-9ACA-4467-98E5-532EC45D9D1C}" dt="2024-03-04T12:53:01.710" v="22924"/>
          <ac:spMkLst>
            <pc:docMk/>
            <pc:sldMk cId="2937916867" sldId="953"/>
            <ac:spMk id="26" creationId="{05E5DEE3-D3C2-1E81-B086-939B3E36E0E1}"/>
          </ac:spMkLst>
        </pc:spChg>
        <pc:graphicFrameChg chg="mod">
          <ac:chgData name="Nataliia Chornii (UA)" userId="4e4b8b3d-5f31-49bb-9f80-8a25c04abfff" providerId="ADAL" clId="{EE97D3FE-9ACA-4467-98E5-532EC45D9D1C}" dt="2024-03-04T12:53:01.715" v="22930"/>
          <ac:graphicFrameMkLst>
            <pc:docMk/>
            <pc:sldMk cId="2937916867" sldId="953"/>
            <ac:graphicFrameMk id="16" creationId="{8B5F8EBF-52CC-2EDB-41E8-3667D4E9C17E}"/>
          </ac:graphicFrameMkLst>
        </pc:graphicFrameChg>
        <pc:picChg chg="add mod ord">
          <ac:chgData name="Nataliia Chornii (UA)" userId="4e4b8b3d-5f31-49bb-9f80-8a25c04abfff" providerId="ADAL" clId="{EE97D3FE-9ACA-4467-98E5-532EC45D9D1C}" dt="2024-03-04T12:53:01.705" v="22910"/>
          <ac:picMkLst>
            <pc:docMk/>
            <pc:sldMk cId="2937916867" sldId="953"/>
            <ac:picMk id="6" creationId="{B93D0FA8-7084-38F8-C9F0-6E8EA50695F6}"/>
          </ac:picMkLst>
        </pc:picChg>
        <pc:picChg chg="del">
          <ac:chgData name="Nataliia Chornii (UA)" userId="4e4b8b3d-5f31-49bb-9f80-8a25c04abfff" providerId="ADAL" clId="{EE97D3FE-9ACA-4467-98E5-532EC45D9D1C}" dt="2024-03-04T12:52:44.363" v="22887" actId="478"/>
          <ac:picMkLst>
            <pc:docMk/>
            <pc:sldMk cId="2937916867" sldId="953"/>
            <ac:picMk id="13" creationId="{E7EEA787-A341-92D1-60ED-BDC23F0EF401}"/>
          </ac:picMkLst>
        </pc:pic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56:03.661" v="23228"/>
              <pc2:cmMkLst xmlns:pc2="http://schemas.microsoft.com/office/powerpoint/2019/9/main/command">
                <pc:docMk/>
                <pc:sldMk cId="2937916867" sldId="953"/>
                <pc2:cmMk id="{C1EC82F6-EF9F-4CA6-8F57-9EF24A3D4FCA}"/>
              </pc2:cmMkLst>
            </pc226:cmChg>
          </p:ext>
        </pc:extLst>
      </pc:sldChg>
      <pc:sldChg chg="addSp delSp modSp mod">
        <pc:chgData name="Nataliia Chornii (UA)" userId="4e4b8b3d-5f31-49bb-9f80-8a25c04abfff" providerId="ADAL" clId="{EE97D3FE-9ACA-4467-98E5-532EC45D9D1C}" dt="2024-03-11T14:25:37.526" v="24079" actId="164"/>
        <pc:sldMkLst>
          <pc:docMk/>
          <pc:sldMk cId="3292995886" sldId="954"/>
        </pc:sldMkLst>
        <pc:spChg chg="add mod">
          <ac:chgData name="Nataliia Chornii (UA)" userId="4e4b8b3d-5f31-49bb-9f80-8a25c04abfff" providerId="ADAL" clId="{EE97D3FE-9ACA-4467-98E5-532EC45D9D1C}" dt="2024-03-11T14:24:14.102" v="24056"/>
          <ac:spMkLst>
            <pc:docMk/>
            <pc:sldMk cId="3292995886" sldId="954"/>
            <ac:spMk id="3" creationId="{D62443EF-1EFB-C495-F9E8-EE05C6033CA3}"/>
          </ac:spMkLst>
        </pc:spChg>
        <pc:spChg chg="mod topLvl">
          <ac:chgData name="Nataliia Chornii (UA)" userId="4e4b8b3d-5f31-49bb-9f80-8a25c04abfff" providerId="ADAL" clId="{EE97D3FE-9ACA-4467-98E5-532EC45D9D1C}" dt="2024-03-11T14:25:37.526" v="24079" actId="164"/>
          <ac:spMkLst>
            <pc:docMk/>
            <pc:sldMk cId="3292995886" sldId="954"/>
            <ac:spMk id="5" creationId="{8A63010A-ECC5-CF16-9026-675C22212CDD}"/>
          </ac:spMkLst>
        </pc:spChg>
        <pc:spChg chg="mod topLvl">
          <ac:chgData name="Nataliia Chornii (UA)" userId="4e4b8b3d-5f31-49bb-9f80-8a25c04abfff" providerId="ADAL" clId="{EE97D3FE-9ACA-4467-98E5-532EC45D9D1C}" dt="2024-03-11T14:25:37.526" v="24079" actId="164"/>
          <ac:spMkLst>
            <pc:docMk/>
            <pc:sldMk cId="3292995886" sldId="954"/>
            <ac:spMk id="6" creationId="{8BA343BD-9605-1DC6-DA98-2F9D3AC08DE4}"/>
          </ac:spMkLst>
        </pc:spChg>
        <pc:spChg chg="mod topLvl">
          <ac:chgData name="Nataliia Chornii (UA)" userId="4e4b8b3d-5f31-49bb-9f80-8a25c04abfff" providerId="ADAL" clId="{EE97D3FE-9ACA-4467-98E5-532EC45D9D1C}" dt="2024-03-11T14:25:37.526" v="24079" actId="164"/>
          <ac:spMkLst>
            <pc:docMk/>
            <pc:sldMk cId="3292995886" sldId="954"/>
            <ac:spMk id="7" creationId="{3D8E8461-D203-C9FB-A585-EB1E1E7F2337}"/>
          </ac:spMkLst>
        </pc:spChg>
        <pc:spChg chg="mod topLvl">
          <ac:chgData name="Nataliia Chornii (UA)" userId="4e4b8b3d-5f31-49bb-9f80-8a25c04abfff" providerId="ADAL" clId="{EE97D3FE-9ACA-4467-98E5-532EC45D9D1C}" dt="2024-03-11T14:25:37.526" v="24079" actId="164"/>
          <ac:spMkLst>
            <pc:docMk/>
            <pc:sldMk cId="3292995886" sldId="954"/>
            <ac:spMk id="8" creationId="{4C91119E-C842-62DC-C140-5B1BA09FD901}"/>
          </ac:spMkLst>
        </pc:spChg>
        <pc:spChg chg="mod topLvl">
          <ac:chgData name="Nataliia Chornii (UA)" userId="4e4b8b3d-5f31-49bb-9f80-8a25c04abfff" providerId="ADAL" clId="{EE97D3FE-9ACA-4467-98E5-532EC45D9D1C}" dt="2024-03-11T14:25:37.526" v="24079" actId="164"/>
          <ac:spMkLst>
            <pc:docMk/>
            <pc:sldMk cId="3292995886" sldId="954"/>
            <ac:spMk id="10" creationId="{C567299E-DFD6-0AB6-D527-CB736DD459CE}"/>
          </ac:spMkLst>
        </pc:spChg>
        <pc:spChg chg="mod topLvl">
          <ac:chgData name="Nataliia Chornii (UA)" userId="4e4b8b3d-5f31-49bb-9f80-8a25c04abfff" providerId="ADAL" clId="{EE97D3FE-9ACA-4467-98E5-532EC45D9D1C}" dt="2024-03-11T14:25:37.526" v="24079" actId="164"/>
          <ac:spMkLst>
            <pc:docMk/>
            <pc:sldMk cId="3292995886" sldId="954"/>
            <ac:spMk id="11" creationId="{8058A796-545C-68C0-9520-000E351FC181}"/>
          </ac:spMkLst>
        </pc:spChg>
        <pc:grpChg chg="add del mod">
          <ac:chgData name="Nataliia Chornii (UA)" userId="4e4b8b3d-5f31-49bb-9f80-8a25c04abfff" providerId="ADAL" clId="{EE97D3FE-9ACA-4467-98E5-532EC45D9D1C}" dt="2024-03-11T14:24:44.398" v="24061" actId="165"/>
          <ac:grpSpMkLst>
            <pc:docMk/>
            <pc:sldMk cId="3292995886" sldId="954"/>
            <ac:grpSpMk id="4" creationId="{1053257F-36B4-12CC-8C6F-E5183D808744}"/>
          </ac:grpSpMkLst>
        </pc:grpChg>
        <pc:grpChg chg="add del mod">
          <ac:chgData name="Nataliia Chornii (UA)" userId="4e4b8b3d-5f31-49bb-9f80-8a25c04abfff" providerId="ADAL" clId="{EE97D3FE-9ACA-4467-98E5-532EC45D9D1C}" dt="2024-03-11T14:25:33.394" v="24077" actId="165"/>
          <ac:grpSpMkLst>
            <pc:docMk/>
            <pc:sldMk cId="3292995886" sldId="954"/>
            <ac:grpSpMk id="12" creationId="{D208A9CC-E406-1E60-AF42-1AFC964ADFB1}"/>
          </ac:grpSpMkLst>
        </pc:grpChg>
        <pc:grpChg chg="add mod">
          <ac:chgData name="Nataliia Chornii (UA)" userId="4e4b8b3d-5f31-49bb-9f80-8a25c04abfff" providerId="ADAL" clId="{EE97D3FE-9ACA-4467-98E5-532EC45D9D1C}" dt="2024-03-11T14:25:37.526" v="24079" actId="164"/>
          <ac:grpSpMkLst>
            <pc:docMk/>
            <pc:sldMk cId="3292995886" sldId="954"/>
            <ac:grpSpMk id="22" creationId="{029284BD-D69B-333C-611F-3BAFCA29827D}"/>
          </ac:grpSpMkLst>
        </pc:grpChg>
      </pc:sldChg>
      <pc:sldChg chg="addSp delSp modSp mod">
        <pc:chgData name="Nataliia Chornii (UA)" userId="4e4b8b3d-5f31-49bb-9f80-8a25c04abfff" providerId="ADAL" clId="{EE97D3FE-9ACA-4467-98E5-532EC45D9D1C}" dt="2024-03-11T14:30:40.474" v="24267"/>
        <pc:sldMkLst>
          <pc:docMk/>
          <pc:sldMk cId="1412199469" sldId="955"/>
        </pc:sldMkLst>
        <pc:spChg chg="add mod">
          <ac:chgData name="Nataliia Chornii (UA)" userId="4e4b8b3d-5f31-49bb-9f80-8a25c04abfff" providerId="ADAL" clId="{EE97D3FE-9ACA-4467-98E5-532EC45D9D1C}" dt="2024-03-11T14:26:22.813" v="24095"/>
          <ac:spMkLst>
            <pc:docMk/>
            <pc:sldMk cId="1412199469" sldId="955"/>
            <ac:spMk id="2" creationId="{F6C265BC-6B33-2568-4CB2-CB3E90787181}"/>
          </ac:spMkLst>
        </pc:spChg>
        <pc:spChg chg="del">
          <ac:chgData name="Nataliia Chornii (UA)" userId="4e4b8b3d-5f31-49bb-9f80-8a25c04abfff" providerId="ADAL" clId="{EE97D3FE-9ACA-4467-98E5-532EC45D9D1C}" dt="2024-03-11T14:30:39.809" v="24266" actId="478"/>
          <ac:spMkLst>
            <pc:docMk/>
            <pc:sldMk cId="1412199469" sldId="955"/>
            <ac:spMk id="23" creationId="{F0F92295-EBAE-39D7-7494-D9035179A285}"/>
          </ac:spMkLst>
        </pc:spChg>
        <pc:spChg chg="mod">
          <ac:chgData name="Nataliia Chornii (UA)" userId="4e4b8b3d-5f31-49bb-9f80-8a25c04abfff" providerId="ADAL" clId="{EE97D3FE-9ACA-4467-98E5-532EC45D9D1C}" dt="2024-03-11T14:26:22.813" v="24095"/>
          <ac:spMkLst>
            <pc:docMk/>
            <pc:sldMk cId="1412199469" sldId="955"/>
            <ac:spMk id="24" creationId="{171043E3-E4B5-EACB-B9FB-3B1B8A5877B0}"/>
          </ac:spMkLst>
        </pc:spChg>
        <pc:spChg chg="mod">
          <ac:chgData name="Nataliia Chornii (UA)" userId="4e4b8b3d-5f31-49bb-9f80-8a25c04abfff" providerId="ADAL" clId="{EE97D3FE-9ACA-4467-98E5-532EC45D9D1C}" dt="2024-03-11T14:26:22.813" v="24095"/>
          <ac:spMkLst>
            <pc:docMk/>
            <pc:sldMk cId="1412199469" sldId="955"/>
            <ac:spMk id="27" creationId="{45FB2097-C638-B1B0-9ABF-F91EAC8E9F96}"/>
          </ac:spMkLst>
        </pc:spChg>
        <pc:spChg chg="mod">
          <ac:chgData name="Nataliia Chornii (UA)" userId="4e4b8b3d-5f31-49bb-9f80-8a25c04abfff" providerId="ADAL" clId="{EE97D3FE-9ACA-4467-98E5-532EC45D9D1C}" dt="2024-03-11T14:26:22.813" v="24095"/>
          <ac:spMkLst>
            <pc:docMk/>
            <pc:sldMk cId="1412199469" sldId="955"/>
            <ac:spMk id="28" creationId="{3168BB31-8384-7D1C-CD53-3279D50C00AF}"/>
          </ac:spMkLst>
        </pc:spChg>
        <pc:spChg chg="mod">
          <ac:chgData name="Nataliia Chornii (UA)" userId="4e4b8b3d-5f31-49bb-9f80-8a25c04abfff" providerId="ADAL" clId="{EE97D3FE-9ACA-4467-98E5-532EC45D9D1C}" dt="2024-03-11T14:26:22.813" v="24095"/>
          <ac:spMkLst>
            <pc:docMk/>
            <pc:sldMk cId="1412199469" sldId="955"/>
            <ac:spMk id="29" creationId="{CA51E370-AA15-BAB0-B285-AD33EDE3A3B6}"/>
          </ac:spMkLst>
        </pc:spChg>
        <pc:spChg chg="mod">
          <ac:chgData name="Nataliia Chornii (UA)" userId="4e4b8b3d-5f31-49bb-9f80-8a25c04abfff" providerId="ADAL" clId="{EE97D3FE-9ACA-4467-98E5-532EC45D9D1C}" dt="2024-03-11T14:26:22.813" v="24095"/>
          <ac:spMkLst>
            <pc:docMk/>
            <pc:sldMk cId="1412199469" sldId="955"/>
            <ac:spMk id="30" creationId="{C300C3F9-D20F-A10A-D074-05BA8AB079D3}"/>
          </ac:spMkLst>
        </pc:spChg>
        <pc:spChg chg="mod">
          <ac:chgData name="Nataliia Chornii (UA)" userId="4e4b8b3d-5f31-49bb-9f80-8a25c04abfff" providerId="ADAL" clId="{EE97D3FE-9ACA-4467-98E5-532EC45D9D1C}" dt="2024-03-11T14:26:22.813" v="24095"/>
          <ac:spMkLst>
            <pc:docMk/>
            <pc:sldMk cId="1412199469" sldId="955"/>
            <ac:spMk id="31" creationId="{62FC0606-5D1E-CD74-F074-D5D6ADFAFBA6}"/>
          </ac:spMkLst>
        </pc:spChg>
        <pc:spChg chg="add mod">
          <ac:chgData name="Nataliia Chornii (UA)" userId="4e4b8b3d-5f31-49bb-9f80-8a25c04abfff" providerId="ADAL" clId="{EE97D3FE-9ACA-4467-98E5-532EC45D9D1C}" dt="2024-03-11T14:30:40.474" v="24267"/>
          <ac:spMkLst>
            <pc:docMk/>
            <pc:sldMk cId="1412199469" sldId="955"/>
            <ac:spMk id="32" creationId="{7738C859-5BA4-360E-3066-83149ED83084}"/>
          </ac:spMkLst>
        </pc:spChg>
        <pc:grpChg chg="add mod">
          <ac:chgData name="Nataliia Chornii (UA)" userId="4e4b8b3d-5f31-49bb-9f80-8a25c04abfff" providerId="ADAL" clId="{EE97D3FE-9ACA-4467-98E5-532EC45D9D1C}" dt="2024-03-11T14:26:22.813" v="24095"/>
          <ac:grpSpMkLst>
            <pc:docMk/>
            <pc:sldMk cId="1412199469" sldId="955"/>
            <ac:grpSpMk id="19" creationId="{3F22BA96-AA18-CEC1-EBBB-A746583F03FD}"/>
          </ac:grpSpMkLst>
        </pc:grpChg>
      </pc:sldChg>
      <pc:sldChg chg="addSp delSp modSp mod">
        <pc:chgData name="Nataliia Chornii (UA)" userId="4e4b8b3d-5f31-49bb-9f80-8a25c04abfff" providerId="ADAL" clId="{EE97D3FE-9ACA-4467-98E5-532EC45D9D1C}" dt="2024-03-11T14:33:38.085" v="24701"/>
        <pc:sldMkLst>
          <pc:docMk/>
          <pc:sldMk cId="24755804" sldId="956"/>
        </pc:sldMkLst>
        <pc:spChg chg="mod ord">
          <ac:chgData name="Nataliia Chornii (UA)" userId="4e4b8b3d-5f31-49bb-9f80-8a25c04abfff" providerId="ADAL" clId="{EE97D3FE-9ACA-4467-98E5-532EC45D9D1C}" dt="2024-03-11T14:33:36.470" v="24683"/>
          <ac:spMkLst>
            <pc:docMk/>
            <pc:sldMk cId="24755804" sldId="956"/>
            <ac:spMk id="2" creationId="{5F735A8C-4418-CDE7-FDAD-A62BB616594E}"/>
          </ac:spMkLst>
        </pc:spChg>
        <pc:spChg chg="mod ord">
          <ac:chgData name="Nataliia Chornii (UA)" userId="4e4b8b3d-5f31-49bb-9f80-8a25c04abfff" providerId="ADAL" clId="{EE97D3FE-9ACA-4467-98E5-532EC45D9D1C}" dt="2024-03-11T14:33:36.469" v="24663"/>
          <ac:spMkLst>
            <pc:docMk/>
            <pc:sldMk cId="24755804" sldId="956"/>
            <ac:spMk id="3" creationId="{F4CCF02E-F3C4-C376-8F56-61BD85A2E74B}"/>
          </ac:spMkLst>
        </pc:spChg>
        <pc:spChg chg="mod ord">
          <ac:chgData name="Nataliia Chornii (UA)" userId="4e4b8b3d-5f31-49bb-9f80-8a25c04abfff" providerId="ADAL" clId="{EE97D3FE-9ACA-4467-98E5-532EC45D9D1C}" dt="2024-03-11T14:33:36.470" v="24665"/>
          <ac:spMkLst>
            <pc:docMk/>
            <pc:sldMk cId="24755804" sldId="956"/>
            <ac:spMk id="4" creationId="{872966CD-924A-B939-E655-A6BAF817DCBF}"/>
          </ac:spMkLst>
        </pc:spChg>
        <pc:spChg chg="add mod ord">
          <ac:chgData name="Nataliia Chornii (UA)" userId="4e4b8b3d-5f31-49bb-9f80-8a25c04abfff" providerId="ADAL" clId="{EE97D3FE-9ACA-4467-98E5-532EC45D9D1C}" dt="2024-03-11T14:33:36.470" v="24693"/>
          <ac:spMkLst>
            <pc:docMk/>
            <pc:sldMk cId="24755804" sldId="956"/>
            <ac:spMk id="5" creationId="{EB967AEA-19FF-FABD-FC4E-FAD41244D157}"/>
          </ac:spMkLst>
        </pc:spChg>
        <pc:spChg chg="del mod ord">
          <ac:chgData name="Nataliia Chornii (UA)" userId="4e4b8b3d-5f31-49bb-9f80-8a25c04abfff" providerId="ADAL" clId="{EE97D3FE-9ACA-4467-98E5-532EC45D9D1C}" dt="2024-03-11T14:33:37.738" v="24700" actId="478"/>
          <ac:spMkLst>
            <pc:docMk/>
            <pc:sldMk cId="24755804" sldId="956"/>
            <ac:spMk id="6" creationId="{898887DF-9190-F283-B120-8AE08B7645FA}"/>
          </ac:spMkLst>
        </pc:spChg>
        <pc:spChg chg="mod ord">
          <ac:chgData name="Nataliia Chornii (UA)" userId="4e4b8b3d-5f31-49bb-9f80-8a25c04abfff" providerId="ADAL" clId="{EE97D3FE-9ACA-4467-98E5-532EC45D9D1C}" dt="2024-03-11T14:33:36.470" v="24681"/>
          <ac:spMkLst>
            <pc:docMk/>
            <pc:sldMk cId="24755804" sldId="956"/>
            <ac:spMk id="8" creationId="{8F84A1C1-A3B2-78F7-2F05-EA937E442831}"/>
          </ac:spMkLst>
        </pc:spChg>
        <pc:spChg chg="mod ord">
          <ac:chgData name="Nataliia Chornii (UA)" userId="4e4b8b3d-5f31-49bb-9f80-8a25c04abfff" providerId="ADAL" clId="{EE97D3FE-9ACA-4467-98E5-532EC45D9D1C}" dt="2024-03-11T14:33:36.454" v="24661"/>
          <ac:spMkLst>
            <pc:docMk/>
            <pc:sldMk cId="24755804" sldId="956"/>
            <ac:spMk id="11" creationId="{89FDF566-1B64-38B3-9A69-C39598C84744}"/>
          </ac:spMkLst>
        </pc:spChg>
        <pc:spChg chg="mod">
          <ac:chgData name="Nataliia Chornii (UA)" userId="4e4b8b3d-5f31-49bb-9f80-8a25c04abfff" providerId="ADAL" clId="{EE97D3FE-9ACA-4467-98E5-532EC45D9D1C}" dt="2024-03-11T14:26:47.450" v="24105"/>
          <ac:spMkLst>
            <pc:docMk/>
            <pc:sldMk cId="24755804" sldId="956"/>
            <ac:spMk id="13" creationId="{C5C55D63-2BDF-6990-83F2-F376B7A915CD}"/>
          </ac:spMkLst>
        </pc:spChg>
        <pc:spChg chg="mod">
          <ac:chgData name="Nataliia Chornii (UA)" userId="4e4b8b3d-5f31-49bb-9f80-8a25c04abfff" providerId="ADAL" clId="{EE97D3FE-9ACA-4467-98E5-532EC45D9D1C}" dt="2024-03-11T14:26:47.450" v="24105"/>
          <ac:spMkLst>
            <pc:docMk/>
            <pc:sldMk cId="24755804" sldId="956"/>
            <ac:spMk id="14" creationId="{6B10FD2F-1F55-88C6-48BD-B7AEE8D1DC67}"/>
          </ac:spMkLst>
        </pc:spChg>
        <pc:spChg chg="mod">
          <ac:chgData name="Nataliia Chornii (UA)" userId="4e4b8b3d-5f31-49bb-9f80-8a25c04abfff" providerId="ADAL" clId="{EE97D3FE-9ACA-4467-98E5-532EC45D9D1C}" dt="2024-03-11T14:26:47.450" v="24105"/>
          <ac:spMkLst>
            <pc:docMk/>
            <pc:sldMk cId="24755804" sldId="956"/>
            <ac:spMk id="15" creationId="{7E7549B9-4B82-B733-6067-DA5892CF79EA}"/>
          </ac:spMkLst>
        </pc:spChg>
        <pc:spChg chg="mod">
          <ac:chgData name="Nataliia Chornii (UA)" userId="4e4b8b3d-5f31-49bb-9f80-8a25c04abfff" providerId="ADAL" clId="{EE97D3FE-9ACA-4467-98E5-532EC45D9D1C}" dt="2024-03-11T14:26:47.450" v="24105"/>
          <ac:spMkLst>
            <pc:docMk/>
            <pc:sldMk cId="24755804" sldId="956"/>
            <ac:spMk id="16" creationId="{163C93EC-5D17-2A67-6EEF-5C95B1508F8E}"/>
          </ac:spMkLst>
        </pc:spChg>
        <pc:spChg chg="mod">
          <ac:chgData name="Nataliia Chornii (UA)" userId="4e4b8b3d-5f31-49bb-9f80-8a25c04abfff" providerId="ADAL" clId="{EE97D3FE-9ACA-4467-98E5-532EC45D9D1C}" dt="2024-03-11T14:26:47.450" v="24105"/>
          <ac:spMkLst>
            <pc:docMk/>
            <pc:sldMk cId="24755804" sldId="956"/>
            <ac:spMk id="17" creationId="{ECB1AFC2-D66B-F6F2-D322-F06394AFF7E5}"/>
          </ac:spMkLst>
        </pc:spChg>
        <pc:spChg chg="mod">
          <ac:chgData name="Nataliia Chornii (UA)" userId="4e4b8b3d-5f31-49bb-9f80-8a25c04abfff" providerId="ADAL" clId="{EE97D3FE-9ACA-4467-98E5-532EC45D9D1C}" dt="2024-03-11T14:26:47.450" v="24105"/>
          <ac:spMkLst>
            <pc:docMk/>
            <pc:sldMk cId="24755804" sldId="956"/>
            <ac:spMk id="18" creationId="{03B776A4-E78E-176B-CCA4-A970D046AFAE}"/>
          </ac:spMkLst>
        </pc:spChg>
        <pc:spChg chg="add del mod modVis">
          <ac:chgData name="Nataliia Chornii (UA)" userId="4e4b8b3d-5f31-49bb-9f80-8a25c04abfff" providerId="ADAL" clId="{EE97D3FE-9ACA-4467-98E5-532EC45D9D1C}" dt="2024-03-11T14:33:35.010" v="24654"/>
          <ac:spMkLst>
            <pc:docMk/>
            <pc:sldMk cId="24755804" sldId="956"/>
            <ac:spMk id="19" creationId="{48B45808-B628-EA29-7665-FFE8F9170EAB}"/>
          </ac:spMkLst>
        </pc:spChg>
        <pc:spChg chg="add mod">
          <ac:chgData name="Nataliia Chornii (UA)" userId="4e4b8b3d-5f31-49bb-9f80-8a25c04abfff" providerId="ADAL" clId="{EE97D3FE-9ACA-4467-98E5-532EC45D9D1C}" dt="2024-03-11T14:33:38.085" v="24701"/>
          <ac:spMkLst>
            <pc:docMk/>
            <pc:sldMk cId="24755804" sldId="956"/>
            <ac:spMk id="20" creationId="{DAF7F8EF-041D-E2B0-1814-689C1C236934}"/>
          </ac:spMkLst>
        </pc:spChg>
        <pc:spChg chg="mod ord">
          <ac:chgData name="Nataliia Chornii (UA)" userId="4e4b8b3d-5f31-49bb-9f80-8a25c04abfff" providerId="ADAL" clId="{EE97D3FE-9ACA-4467-98E5-532EC45D9D1C}" dt="2024-03-11T14:33:36.470" v="24687"/>
          <ac:spMkLst>
            <pc:docMk/>
            <pc:sldMk cId="24755804" sldId="956"/>
            <ac:spMk id="25" creationId="{2B261BF4-92C6-462D-AA95-793AE54DD688}"/>
          </ac:spMkLst>
        </pc:spChg>
        <pc:spChg chg="mod ord">
          <ac:chgData name="Nataliia Chornii (UA)" userId="4e4b8b3d-5f31-49bb-9f80-8a25c04abfff" providerId="ADAL" clId="{EE97D3FE-9ACA-4467-98E5-532EC45D9D1C}" dt="2024-03-11T14:33:36.470" v="24667"/>
          <ac:spMkLst>
            <pc:docMk/>
            <pc:sldMk cId="24755804" sldId="956"/>
            <ac:spMk id="26" creationId="{5EC1F9AE-82A4-85FE-592B-EF659F76F7EC}"/>
          </ac:spMkLst>
        </pc:spChg>
        <pc:spChg chg="mod ord">
          <ac:chgData name="Nataliia Chornii (UA)" userId="4e4b8b3d-5f31-49bb-9f80-8a25c04abfff" providerId="ADAL" clId="{EE97D3FE-9ACA-4467-98E5-532EC45D9D1C}" dt="2024-03-11T14:33:36.470" v="24689"/>
          <ac:spMkLst>
            <pc:docMk/>
            <pc:sldMk cId="24755804" sldId="956"/>
            <ac:spMk id="27" creationId="{72D802D4-B169-1594-D931-40179675E33A}"/>
          </ac:spMkLst>
        </pc:spChg>
        <pc:spChg chg="mod ord">
          <ac:chgData name="Nataliia Chornii (UA)" userId="4e4b8b3d-5f31-49bb-9f80-8a25c04abfff" providerId="ADAL" clId="{EE97D3FE-9ACA-4467-98E5-532EC45D9D1C}" dt="2024-03-11T14:33:36.470" v="24669"/>
          <ac:spMkLst>
            <pc:docMk/>
            <pc:sldMk cId="24755804" sldId="956"/>
            <ac:spMk id="29" creationId="{3915AD89-6428-4A75-0915-328643F1703C}"/>
          </ac:spMkLst>
        </pc:spChg>
        <pc:spChg chg="mod ord">
          <ac:chgData name="Nataliia Chornii (UA)" userId="4e4b8b3d-5f31-49bb-9f80-8a25c04abfff" providerId="ADAL" clId="{EE97D3FE-9ACA-4467-98E5-532EC45D9D1C}" dt="2024-03-11T14:33:36.470" v="24671"/>
          <ac:spMkLst>
            <pc:docMk/>
            <pc:sldMk cId="24755804" sldId="956"/>
            <ac:spMk id="30" creationId="{373AB206-F1F0-CC72-8C15-85605D9AF2AC}"/>
          </ac:spMkLst>
        </pc:spChg>
        <pc:spChg chg="mod ord">
          <ac:chgData name="Nataliia Chornii (UA)" userId="4e4b8b3d-5f31-49bb-9f80-8a25c04abfff" providerId="ADAL" clId="{EE97D3FE-9ACA-4467-98E5-532EC45D9D1C}" dt="2024-03-11T14:33:36.470" v="24673"/>
          <ac:spMkLst>
            <pc:docMk/>
            <pc:sldMk cId="24755804" sldId="956"/>
            <ac:spMk id="46" creationId="{09BF84D6-F468-7005-FAB5-AA0B6AE5CFB4}"/>
          </ac:spMkLst>
        </pc:spChg>
        <pc:spChg chg="mod ord">
          <ac:chgData name="Nataliia Chornii (UA)" userId="4e4b8b3d-5f31-49bb-9f80-8a25c04abfff" providerId="ADAL" clId="{EE97D3FE-9ACA-4467-98E5-532EC45D9D1C}" dt="2024-03-11T14:33:36.470" v="24675"/>
          <ac:spMkLst>
            <pc:docMk/>
            <pc:sldMk cId="24755804" sldId="956"/>
            <ac:spMk id="50" creationId="{0130363F-7CE7-F3D0-4AB5-F295FAC2DCBC}"/>
          </ac:spMkLst>
        </pc:spChg>
        <pc:spChg chg="mod ord">
          <ac:chgData name="Nataliia Chornii (UA)" userId="4e4b8b3d-5f31-49bb-9f80-8a25c04abfff" providerId="ADAL" clId="{EE97D3FE-9ACA-4467-98E5-532EC45D9D1C}" dt="2024-03-11T14:33:36.470" v="24677"/>
          <ac:spMkLst>
            <pc:docMk/>
            <pc:sldMk cId="24755804" sldId="956"/>
            <ac:spMk id="51" creationId="{AFEB1935-0849-FFDB-14A2-768E555E2F79}"/>
          </ac:spMkLst>
        </pc:spChg>
        <pc:grpChg chg="add mod ord">
          <ac:chgData name="Nataliia Chornii (UA)" userId="4e4b8b3d-5f31-49bb-9f80-8a25c04abfff" providerId="ADAL" clId="{EE97D3FE-9ACA-4467-98E5-532EC45D9D1C}" dt="2024-03-11T14:33:36.470" v="24695"/>
          <ac:grpSpMkLst>
            <pc:docMk/>
            <pc:sldMk cId="24755804" sldId="956"/>
            <ac:grpSpMk id="7" creationId="{0196DADC-F39A-B6C7-D01E-40DB0D85FF5D}"/>
          </ac:grpSpMkLst>
        </pc:grpChg>
        <pc:grpChg chg="mod ord">
          <ac:chgData name="Nataliia Chornii (UA)" userId="4e4b8b3d-5f31-49bb-9f80-8a25c04abfff" providerId="ADAL" clId="{EE97D3FE-9ACA-4467-98E5-532EC45D9D1C}" dt="2024-03-11T14:33:36.470" v="24691"/>
          <ac:grpSpMkLst>
            <pc:docMk/>
            <pc:sldMk cId="24755804" sldId="956"/>
            <ac:grpSpMk id="9" creationId="{CD2C3658-A1D3-3144-1ED5-F2F246D99B5F}"/>
          </ac:grpSpMkLst>
        </pc:grpChg>
        <pc:graphicFrameChg chg="mod">
          <ac:chgData name="Nataliia Chornii (UA)" userId="4e4b8b3d-5f31-49bb-9f80-8a25c04abfff" providerId="ADAL" clId="{EE97D3FE-9ACA-4467-98E5-532EC45D9D1C}" dt="2024-03-11T14:33:36.479" v="24699"/>
          <ac:graphicFrameMkLst>
            <pc:docMk/>
            <pc:sldMk cId="24755804" sldId="956"/>
            <ac:graphicFrameMk id="12" creationId="{F6E6AF23-7B86-113A-F559-513B41FEC1FE}"/>
          </ac:graphicFrameMkLst>
        </pc:graphicFrameChg>
        <pc:picChg chg="mod ord">
          <ac:chgData name="Nataliia Chornii (UA)" userId="4e4b8b3d-5f31-49bb-9f80-8a25c04abfff" providerId="ADAL" clId="{EE97D3FE-9ACA-4467-98E5-532EC45D9D1C}" dt="2024-03-11T14:33:36.454" v="24659"/>
          <ac:picMkLst>
            <pc:docMk/>
            <pc:sldMk cId="24755804" sldId="956"/>
            <ac:picMk id="10" creationId="{EE57AF4E-090E-E7F7-6C50-64DE044BD3DA}"/>
          </ac:picMkLst>
        </pc:picChg>
        <pc:cxnChg chg="mod ord">
          <ac:chgData name="Nataliia Chornii (UA)" userId="4e4b8b3d-5f31-49bb-9f80-8a25c04abfff" providerId="ADAL" clId="{EE97D3FE-9ACA-4467-98E5-532EC45D9D1C}" dt="2024-03-11T14:33:36.470" v="24679"/>
          <ac:cxnSpMkLst>
            <pc:docMk/>
            <pc:sldMk cId="24755804" sldId="956"/>
            <ac:cxnSpMk id="53" creationId="{F358E754-064A-5B8C-B2FC-4E612BA07893}"/>
          </ac:cxnSpMkLst>
        </pc:cxnChg>
      </pc:sldChg>
      <pc:sldChg chg="addSp delSp modSp mod">
        <pc:chgData name="Nataliia Chornii (UA)" userId="4e4b8b3d-5f31-49bb-9f80-8a25c04abfff" providerId="ADAL" clId="{EE97D3FE-9ACA-4467-98E5-532EC45D9D1C}" dt="2024-03-11T14:33:44.246" v="24814" actId="478"/>
        <pc:sldMkLst>
          <pc:docMk/>
          <pc:sldMk cId="1014935855" sldId="957"/>
        </pc:sldMkLst>
        <pc:spChg chg="mod ord">
          <ac:chgData name="Nataliia Chornii (UA)" userId="4e4b8b3d-5f31-49bb-9f80-8a25c04abfff" providerId="ADAL" clId="{EE97D3FE-9ACA-4467-98E5-532EC45D9D1C}" dt="2024-03-11T14:33:42.722" v="24783"/>
          <ac:spMkLst>
            <pc:docMk/>
            <pc:sldMk cId="1014935855" sldId="957"/>
            <ac:spMk id="3" creationId="{F4CCF02E-F3C4-C376-8F56-61BD85A2E74B}"/>
          </ac:spMkLst>
        </pc:spChg>
        <pc:spChg chg="mod ord">
          <ac:chgData name="Nataliia Chornii (UA)" userId="4e4b8b3d-5f31-49bb-9f80-8a25c04abfff" providerId="ADAL" clId="{EE97D3FE-9ACA-4467-98E5-532EC45D9D1C}" dt="2024-03-11T14:33:42.722" v="24785"/>
          <ac:spMkLst>
            <pc:docMk/>
            <pc:sldMk cId="1014935855" sldId="957"/>
            <ac:spMk id="4" creationId="{872966CD-924A-B939-E655-A6BAF817DCBF}"/>
          </ac:spMkLst>
        </pc:spChg>
        <pc:spChg chg="del mod ord">
          <ac:chgData name="Nataliia Chornii (UA)" userId="4e4b8b3d-5f31-49bb-9f80-8a25c04abfff" providerId="ADAL" clId="{EE97D3FE-9ACA-4467-98E5-532EC45D9D1C}" dt="2024-03-11T14:33:44.246" v="24814" actId="478"/>
          <ac:spMkLst>
            <pc:docMk/>
            <pc:sldMk cId="1014935855" sldId="957"/>
            <ac:spMk id="5" creationId="{B8117B57-8E39-5418-6527-0CB9323D2C76}"/>
          </ac:spMkLst>
        </pc:spChg>
        <pc:spChg chg="mod ord">
          <ac:chgData name="Nataliia Chornii (UA)" userId="4e4b8b3d-5f31-49bb-9f80-8a25c04abfff" providerId="ADAL" clId="{EE97D3FE-9ACA-4467-98E5-532EC45D9D1C}" dt="2024-03-11T14:33:42.722" v="24773"/>
          <ac:spMkLst>
            <pc:docMk/>
            <pc:sldMk cId="1014935855" sldId="957"/>
            <ac:spMk id="6" creationId="{80C532BC-476D-9778-B917-A847740102DC}"/>
          </ac:spMkLst>
        </pc:spChg>
        <pc:spChg chg="add mod ord">
          <ac:chgData name="Nataliia Chornii (UA)" userId="4e4b8b3d-5f31-49bb-9f80-8a25c04abfff" providerId="ADAL" clId="{EE97D3FE-9ACA-4467-98E5-532EC45D9D1C}" dt="2024-03-11T14:33:42.738" v="24805"/>
          <ac:spMkLst>
            <pc:docMk/>
            <pc:sldMk cId="1014935855" sldId="957"/>
            <ac:spMk id="7" creationId="{52BC4D71-F2F1-6EE7-1A91-341C54041D00}"/>
          </ac:spMkLst>
        </pc:spChg>
        <pc:spChg chg="mod ord">
          <ac:chgData name="Nataliia Chornii (UA)" userId="4e4b8b3d-5f31-49bb-9f80-8a25c04abfff" providerId="ADAL" clId="{EE97D3FE-9ACA-4467-98E5-532EC45D9D1C}" dt="2024-03-11T14:33:42.722" v="24775"/>
          <ac:spMkLst>
            <pc:docMk/>
            <pc:sldMk cId="1014935855" sldId="957"/>
            <ac:spMk id="9" creationId="{3C02F18C-4E74-90B5-EC0B-78FCC94453E3}"/>
          </ac:spMkLst>
        </pc:spChg>
        <pc:spChg chg="mod">
          <ac:chgData name="Nataliia Chornii (UA)" userId="4e4b8b3d-5f31-49bb-9f80-8a25c04abfff" providerId="ADAL" clId="{EE97D3FE-9ACA-4467-98E5-532EC45D9D1C}" dt="2024-03-11T14:26:49.970" v="24106"/>
          <ac:spMkLst>
            <pc:docMk/>
            <pc:sldMk cId="1014935855" sldId="957"/>
            <ac:spMk id="10" creationId="{A5189F27-5CCD-D422-E2FA-4EF6104C198E}"/>
          </ac:spMkLst>
        </pc:spChg>
        <pc:spChg chg="mod ord">
          <ac:chgData name="Nataliia Chornii (UA)" userId="4e4b8b3d-5f31-49bb-9f80-8a25c04abfff" providerId="ADAL" clId="{EE97D3FE-9ACA-4467-98E5-532EC45D9D1C}" dt="2024-03-11T14:33:42.722" v="24777"/>
          <ac:spMkLst>
            <pc:docMk/>
            <pc:sldMk cId="1014935855" sldId="957"/>
            <ac:spMk id="11" creationId="{07889E6A-8E21-2803-30A1-A645AF04340F}"/>
          </ac:spMkLst>
        </pc:spChg>
        <pc:spChg chg="mod ord">
          <ac:chgData name="Nataliia Chornii (UA)" userId="4e4b8b3d-5f31-49bb-9f80-8a25c04abfff" providerId="ADAL" clId="{EE97D3FE-9ACA-4467-98E5-532EC45D9D1C}" dt="2024-03-11T14:33:42.722" v="24779"/>
          <ac:spMkLst>
            <pc:docMk/>
            <pc:sldMk cId="1014935855" sldId="957"/>
            <ac:spMk id="13" creationId="{10ECE187-B3A4-BDE3-A3F3-430688A0658E}"/>
          </ac:spMkLst>
        </pc:spChg>
        <pc:spChg chg="mod">
          <ac:chgData name="Nataliia Chornii (UA)" userId="4e4b8b3d-5f31-49bb-9f80-8a25c04abfff" providerId="ADAL" clId="{EE97D3FE-9ACA-4467-98E5-532EC45D9D1C}" dt="2024-03-11T14:26:49.970" v="24106"/>
          <ac:spMkLst>
            <pc:docMk/>
            <pc:sldMk cId="1014935855" sldId="957"/>
            <ac:spMk id="18" creationId="{C2BA82FA-1C18-E853-1C97-835E8014C5A6}"/>
          </ac:spMkLst>
        </pc:spChg>
        <pc:spChg chg="mod">
          <ac:chgData name="Nataliia Chornii (UA)" userId="4e4b8b3d-5f31-49bb-9f80-8a25c04abfff" providerId="ADAL" clId="{EE97D3FE-9ACA-4467-98E5-532EC45D9D1C}" dt="2024-03-11T14:26:49.970" v="24106"/>
          <ac:spMkLst>
            <pc:docMk/>
            <pc:sldMk cId="1014935855" sldId="957"/>
            <ac:spMk id="19" creationId="{294FD576-28F4-9578-C2DF-A98374D6CB5D}"/>
          </ac:spMkLst>
        </pc:spChg>
        <pc:spChg chg="mod">
          <ac:chgData name="Nataliia Chornii (UA)" userId="4e4b8b3d-5f31-49bb-9f80-8a25c04abfff" providerId="ADAL" clId="{EE97D3FE-9ACA-4467-98E5-532EC45D9D1C}" dt="2024-03-11T14:26:49.970" v="24106"/>
          <ac:spMkLst>
            <pc:docMk/>
            <pc:sldMk cId="1014935855" sldId="957"/>
            <ac:spMk id="20" creationId="{A1892344-96BB-5A94-B3E1-3CC639ED7468}"/>
          </ac:spMkLst>
        </pc:spChg>
        <pc:spChg chg="mod">
          <ac:chgData name="Nataliia Chornii (UA)" userId="4e4b8b3d-5f31-49bb-9f80-8a25c04abfff" providerId="ADAL" clId="{EE97D3FE-9ACA-4467-98E5-532EC45D9D1C}" dt="2024-03-11T14:26:49.970" v="24106"/>
          <ac:spMkLst>
            <pc:docMk/>
            <pc:sldMk cId="1014935855" sldId="957"/>
            <ac:spMk id="21" creationId="{3F28C445-7B06-2A08-3105-BEE19937A6D2}"/>
          </ac:spMkLst>
        </pc:spChg>
        <pc:spChg chg="mod">
          <ac:chgData name="Nataliia Chornii (UA)" userId="4e4b8b3d-5f31-49bb-9f80-8a25c04abfff" providerId="ADAL" clId="{EE97D3FE-9ACA-4467-98E5-532EC45D9D1C}" dt="2024-03-11T14:26:49.970" v="24106"/>
          <ac:spMkLst>
            <pc:docMk/>
            <pc:sldMk cId="1014935855" sldId="957"/>
            <ac:spMk id="22" creationId="{5BD0DED3-3A83-722A-0873-64B438E3AD64}"/>
          </ac:spMkLst>
        </pc:spChg>
        <pc:spChg chg="add mod ord">
          <ac:chgData name="Nataliia Chornii (UA)" userId="4e4b8b3d-5f31-49bb-9f80-8a25c04abfff" providerId="ADAL" clId="{EE97D3FE-9ACA-4467-98E5-532EC45D9D1C}" dt="2024-03-11T14:33:42.738" v="24809"/>
          <ac:spMkLst>
            <pc:docMk/>
            <pc:sldMk cId="1014935855" sldId="957"/>
            <ac:spMk id="23" creationId="{C5787DE7-5F93-66E6-BE33-976C1166E265}"/>
          </ac:spMkLst>
        </pc:spChg>
        <pc:spChg chg="add del mod modVis">
          <ac:chgData name="Nataliia Chornii (UA)" userId="4e4b8b3d-5f31-49bb-9f80-8a25c04abfff" providerId="ADAL" clId="{EE97D3FE-9ACA-4467-98E5-532EC45D9D1C}" dt="2024-03-11T14:33:41.499" v="24766"/>
          <ac:spMkLst>
            <pc:docMk/>
            <pc:sldMk cId="1014935855" sldId="957"/>
            <ac:spMk id="24" creationId="{2CB30EA1-5352-4363-E89B-39AAE87F2A78}"/>
          </ac:spMkLst>
        </pc:spChg>
        <pc:spChg chg="mod ord">
          <ac:chgData name="Nataliia Chornii (UA)" userId="4e4b8b3d-5f31-49bb-9f80-8a25c04abfff" providerId="ADAL" clId="{EE97D3FE-9ACA-4467-98E5-532EC45D9D1C}" dt="2024-03-11T14:33:42.722" v="24787"/>
          <ac:spMkLst>
            <pc:docMk/>
            <pc:sldMk cId="1014935855" sldId="957"/>
            <ac:spMk id="26" creationId="{5EC1F9AE-82A4-85FE-592B-EF659F76F7EC}"/>
          </ac:spMkLst>
        </pc:spChg>
        <pc:spChg chg="mod ord">
          <ac:chgData name="Nataliia Chornii (UA)" userId="4e4b8b3d-5f31-49bb-9f80-8a25c04abfff" providerId="ADAL" clId="{EE97D3FE-9ACA-4467-98E5-532EC45D9D1C}" dt="2024-03-11T14:33:42.722" v="24789"/>
          <ac:spMkLst>
            <pc:docMk/>
            <pc:sldMk cId="1014935855" sldId="957"/>
            <ac:spMk id="29" creationId="{3915AD89-6428-4A75-0915-328643F1703C}"/>
          </ac:spMkLst>
        </pc:spChg>
        <pc:spChg chg="mod ord">
          <ac:chgData name="Nataliia Chornii (UA)" userId="4e4b8b3d-5f31-49bb-9f80-8a25c04abfff" providerId="ADAL" clId="{EE97D3FE-9ACA-4467-98E5-532EC45D9D1C}" dt="2024-03-11T14:33:42.722" v="24791"/>
          <ac:spMkLst>
            <pc:docMk/>
            <pc:sldMk cId="1014935855" sldId="957"/>
            <ac:spMk id="30" creationId="{373AB206-F1F0-CC72-8C15-85605D9AF2AC}"/>
          </ac:spMkLst>
        </pc:spChg>
        <pc:spChg chg="mod ord">
          <ac:chgData name="Nataliia Chornii (UA)" userId="4e4b8b3d-5f31-49bb-9f80-8a25c04abfff" providerId="ADAL" clId="{EE97D3FE-9ACA-4467-98E5-532EC45D9D1C}" dt="2024-03-11T14:33:42.722" v="24793"/>
          <ac:spMkLst>
            <pc:docMk/>
            <pc:sldMk cId="1014935855" sldId="957"/>
            <ac:spMk id="46" creationId="{09BF84D6-F468-7005-FAB5-AA0B6AE5CFB4}"/>
          </ac:spMkLst>
        </pc:spChg>
        <pc:spChg chg="mod ord">
          <ac:chgData name="Nataliia Chornii (UA)" userId="4e4b8b3d-5f31-49bb-9f80-8a25c04abfff" providerId="ADAL" clId="{EE97D3FE-9ACA-4467-98E5-532EC45D9D1C}" dt="2024-03-11T14:33:42.722" v="24795"/>
          <ac:spMkLst>
            <pc:docMk/>
            <pc:sldMk cId="1014935855" sldId="957"/>
            <ac:spMk id="50" creationId="{0130363F-7CE7-F3D0-4AB5-F295FAC2DCBC}"/>
          </ac:spMkLst>
        </pc:spChg>
        <pc:spChg chg="mod ord">
          <ac:chgData name="Nataliia Chornii (UA)" userId="4e4b8b3d-5f31-49bb-9f80-8a25c04abfff" providerId="ADAL" clId="{EE97D3FE-9ACA-4467-98E5-532EC45D9D1C}" dt="2024-03-11T14:33:42.722" v="24797"/>
          <ac:spMkLst>
            <pc:docMk/>
            <pc:sldMk cId="1014935855" sldId="957"/>
            <ac:spMk id="51" creationId="{AFEB1935-0849-FFDB-14A2-768E555E2F79}"/>
          </ac:spMkLst>
        </pc:spChg>
        <pc:spChg chg="mod ord">
          <ac:chgData name="Nataliia Chornii (UA)" userId="4e4b8b3d-5f31-49bb-9f80-8a25c04abfff" providerId="ADAL" clId="{EE97D3FE-9ACA-4467-98E5-532EC45D9D1C}" dt="2024-03-11T14:33:42.738" v="24799"/>
          <ac:spMkLst>
            <pc:docMk/>
            <pc:sldMk cId="1014935855" sldId="957"/>
            <ac:spMk id="52" creationId="{C28EBB85-E5E0-FA58-8077-AD15508F23C6}"/>
          </ac:spMkLst>
        </pc:spChg>
        <pc:grpChg chg="add mod ord">
          <ac:chgData name="Nataliia Chornii (UA)" userId="4e4b8b3d-5f31-49bb-9f80-8a25c04abfff" providerId="ADAL" clId="{EE97D3FE-9ACA-4467-98E5-532EC45D9D1C}" dt="2024-03-11T14:33:42.738" v="24807"/>
          <ac:grpSpMkLst>
            <pc:docMk/>
            <pc:sldMk cId="1014935855" sldId="957"/>
            <ac:grpSpMk id="8" creationId="{DDD6AFB3-8EF6-9547-44ED-BE6CD5B6B7FE}"/>
          </ac:grpSpMkLst>
        </pc:grpChg>
        <pc:grpChg chg="mod ord">
          <ac:chgData name="Nataliia Chornii (UA)" userId="4e4b8b3d-5f31-49bb-9f80-8a25c04abfff" providerId="ADAL" clId="{EE97D3FE-9ACA-4467-98E5-532EC45D9D1C}" dt="2024-03-11T14:33:42.722" v="24781"/>
          <ac:grpSpMkLst>
            <pc:docMk/>
            <pc:sldMk cId="1014935855" sldId="957"/>
            <ac:grpSpMk id="14" creationId="{267418C2-6F99-A659-AB11-419EED1354F6}"/>
          </ac:grpSpMkLst>
        </pc:grpChg>
        <pc:graphicFrameChg chg="mod">
          <ac:chgData name="Nataliia Chornii (UA)" userId="4e4b8b3d-5f31-49bb-9f80-8a25c04abfff" providerId="ADAL" clId="{EE97D3FE-9ACA-4467-98E5-532EC45D9D1C}" dt="2024-03-11T14:33:42.745" v="24813"/>
          <ac:graphicFrameMkLst>
            <pc:docMk/>
            <pc:sldMk cId="1014935855" sldId="957"/>
            <ac:graphicFrameMk id="12" creationId="{F6E6AF23-7B86-113A-F559-513B41FEC1FE}"/>
          </ac:graphicFrameMkLst>
        </pc:graphicFrameChg>
        <pc:picChg chg="mod ord">
          <ac:chgData name="Nataliia Chornii (UA)" userId="4e4b8b3d-5f31-49bb-9f80-8a25c04abfff" providerId="ADAL" clId="{EE97D3FE-9ACA-4467-98E5-532EC45D9D1C}" dt="2024-03-11T14:33:42.722" v="24771"/>
          <ac:picMkLst>
            <pc:docMk/>
            <pc:sldMk cId="1014935855" sldId="957"/>
            <ac:picMk id="2" creationId="{ABCB9BD2-DAB8-36B6-7DEC-39F0A71CD913}"/>
          </ac:picMkLst>
        </pc:picChg>
        <pc:cxnChg chg="mod ord">
          <ac:chgData name="Nataliia Chornii (UA)" userId="4e4b8b3d-5f31-49bb-9f80-8a25c04abfff" providerId="ADAL" clId="{EE97D3FE-9ACA-4467-98E5-532EC45D9D1C}" dt="2024-03-11T14:33:42.738" v="24801"/>
          <ac:cxnSpMkLst>
            <pc:docMk/>
            <pc:sldMk cId="1014935855" sldId="957"/>
            <ac:cxnSpMk id="53" creationId="{F358E754-064A-5B8C-B2FC-4E612BA07893}"/>
          </ac:cxnSpMkLst>
        </pc:cxnChg>
      </pc:sldChg>
      <pc:sldChg chg="addSp delSp modSp mod">
        <pc:chgData name="Nataliia Chornii (UA)" userId="4e4b8b3d-5f31-49bb-9f80-8a25c04abfff" providerId="ADAL" clId="{EE97D3FE-9ACA-4467-98E5-532EC45D9D1C}" dt="2024-03-11T14:33:51.089" v="24923"/>
        <pc:sldMkLst>
          <pc:docMk/>
          <pc:sldMk cId="2086181770" sldId="958"/>
        </pc:sldMkLst>
        <pc:spChg chg="mod ord">
          <ac:chgData name="Nataliia Chornii (UA)" userId="4e4b8b3d-5f31-49bb-9f80-8a25c04abfff" providerId="ADAL" clId="{EE97D3FE-9ACA-4467-98E5-532EC45D9D1C}" dt="2024-03-11T14:33:49.495" v="24905"/>
          <ac:spMkLst>
            <pc:docMk/>
            <pc:sldMk cId="2086181770" sldId="958"/>
            <ac:spMk id="2" creationId="{5F735A8C-4418-CDE7-FDAD-A62BB616594E}"/>
          </ac:spMkLst>
        </pc:spChg>
        <pc:spChg chg="mod ord">
          <ac:chgData name="Nataliia Chornii (UA)" userId="4e4b8b3d-5f31-49bb-9f80-8a25c04abfff" providerId="ADAL" clId="{EE97D3FE-9ACA-4467-98E5-532EC45D9D1C}" dt="2024-03-11T14:33:49.480" v="24885"/>
          <ac:spMkLst>
            <pc:docMk/>
            <pc:sldMk cId="2086181770" sldId="958"/>
            <ac:spMk id="3" creationId="{F4CCF02E-F3C4-C376-8F56-61BD85A2E74B}"/>
          </ac:spMkLst>
        </pc:spChg>
        <pc:spChg chg="mod ord">
          <ac:chgData name="Nataliia Chornii (UA)" userId="4e4b8b3d-5f31-49bb-9f80-8a25c04abfff" providerId="ADAL" clId="{EE97D3FE-9ACA-4467-98E5-532EC45D9D1C}" dt="2024-03-11T14:33:49.480" v="24887"/>
          <ac:spMkLst>
            <pc:docMk/>
            <pc:sldMk cId="2086181770" sldId="958"/>
            <ac:spMk id="4" creationId="{872966CD-924A-B939-E655-A6BAF817DCBF}"/>
          </ac:spMkLst>
        </pc:spChg>
        <pc:spChg chg="add mod ord">
          <ac:chgData name="Nataliia Chornii (UA)" userId="4e4b8b3d-5f31-49bb-9f80-8a25c04abfff" providerId="ADAL" clId="{EE97D3FE-9ACA-4467-98E5-532EC45D9D1C}" dt="2024-03-11T14:33:49.504" v="24915"/>
          <ac:spMkLst>
            <pc:docMk/>
            <pc:sldMk cId="2086181770" sldId="958"/>
            <ac:spMk id="5" creationId="{E40C5ACA-5384-71DE-2343-65194914043F}"/>
          </ac:spMkLst>
        </pc:spChg>
        <pc:spChg chg="del mod ord">
          <ac:chgData name="Nataliia Chornii (UA)" userId="4e4b8b3d-5f31-49bb-9f80-8a25c04abfff" providerId="ADAL" clId="{EE97D3FE-9ACA-4467-98E5-532EC45D9D1C}" dt="2024-03-11T14:33:50.742" v="24922" actId="478"/>
          <ac:spMkLst>
            <pc:docMk/>
            <pc:sldMk cId="2086181770" sldId="958"/>
            <ac:spMk id="6" creationId="{898887DF-9190-F283-B120-8AE08B7645FA}"/>
          </ac:spMkLst>
        </pc:spChg>
        <pc:spChg chg="mod ord">
          <ac:chgData name="Nataliia Chornii (UA)" userId="4e4b8b3d-5f31-49bb-9f80-8a25c04abfff" providerId="ADAL" clId="{EE97D3FE-9ACA-4467-98E5-532EC45D9D1C}" dt="2024-03-11T14:33:49.495" v="24903"/>
          <ac:spMkLst>
            <pc:docMk/>
            <pc:sldMk cId="2086181770" sldId="958"/>
            <ac:spMk id="8" creationId="{8F84A1C1-A3B2-78F7-2F05-EA937E442831}"/>
          </ac:spMkLst>
        </pc:spChg>
        <pc:spChg chg="mod ord">
          <ac:chgData name="Nataliia Chornii (UA)" userId="4e4b8b3d-5f31-49bb-9f80-8a25c04abfff" providerId="ADAL" clId="{EE97D3FE-9ACA-4467-98E5-532EC45D9D1C}" dt="2024-03-11T14:33:49.480" v="24883"/>
          <ac:spMkLst>
            <pc:docMk/>
            <pc:sldMk cId="2086181770" sldId="958"/>
            <ac:spMk id="11" creationId="{CE7FEFF2-D72E-88B1-AAE6-2517F20F72F1}"/>
          </ac:spMkLst>
        </pc:spChg>
        <pc:spChg chg="mod">
          <ac:chgData name="Nataliia Chornii (UA)" userId="4e4b8b3d-5f31-49bb-9f80-8a25c04abfff" providerId="ADAL" clId="{EE97D3FE-9ACA-4467-98E5-532EC45D9D1C}" dt="2024-03-11T14:26:51.683" v="24107"/>
          <ac:spMkLst>
            <pc:docMk/>
            <pc:sldMk cId="2086181770" sldId="958"/>
            <ac:spMk id="13" creationId="{61E27173-E4B9-5640-7E28-FCC86F574B35}"/>
          </ac:spMkLst>
        </pc:spChg>
        <pc:spChg chg="mod">
          <ac:chgData name="Nataliia Chornii (UA)" userId="4e4b8b3d-5f31-49bb-9f80-8a25c04abfff" providerId="ADAL" clId="{EE97D3FE-9ACA-4467-98E5-532EC45D9D1C}" dt="2024-03-11T14:26:51.683" v="24107"/>
          <ac:spMkLst>
            <pc:docMk/>
            <pc:sldMk cId="2086181770" sldId="958"/>
            <ac:spMk id="14" creationId="{50753EDC-5F7A-4991-F4E9-3BDAFAE1B672}"/>
          </ac:spMkLst>
        </pc:spChg>
        <pc:spChg chg="mod">
          <ac:chgData name="Nataliia Chornii (UA)" userId="4e4b8b3d-5f31-49bb-9f80-8a25c04abfff" providerId="ADAL" clId="{EE97D3FE-9ACA-4467-98E5-532EC45D9D1C}" dt="2024-03-11T14:26:51.683" v="24107"/>
          <ac:spMkLst>
            <pc:docMk/>
            <pc:sldMk cId="2086181770" sldId="958"/>
            <ac:spMk id="15" creationId="{4E7B6F43-B9F8-E3C8-CF50-CA6C79F38111}"/>
          </ac:spMkLst>
        </pc:spChg>
        <pc:spChg chg="mod">
          <ac:chgData name="Nataliia Chornii (UA)" userId="4e4b8b3d-5f31-49bb-9f80-8a25c04abfff" providerId="ADAL" clId="{EE97D3FE-9ACA-4467-98E5-532EC45D9D1C}" dt="2024-03-11T14:26:51.683" v="24107"/>
          <ac:spMkLst>
            <pc:docMk/>
            <pc:sldMk cId="2086181770" sldId="958"/>
            <ac:spMk id="16" creationId="{A7CE6C7B-4C8F-46CD-34FA-DF92AC748D84}"/>
          </ac:spMkLst>
        </pc:spChg>
        <pc:spChg chg="mod">
          <ac:chgData name="Nataliia Chornii (UA)" userId="4e4b8b3d-5f31-49bb-9f80-8a25c04abfff" providerId="ADAL" clId="{EE97D3FE-9ACA-4467-98E5-532EC45D9D1C}" dt="2024-03-11T14:26:51.683" v="24107"/>
          <ac:spMkLst>
            <pc:docMk/>
            <pc:sldMk cId="2086181770" sldId="958"/>
            <ac:spMk id="17" creationId="{E274B8A1-335F-6CEB-41FD-943952A24DDB}"/>
          </ac:spMkLst>
        </pc:spChg>
        <pc:spChg chg="mod">
          <ac:chgData name="Nataliia Chornii (UA)" userId="4e4b8b3d-5f31-49bb-9f80-8a25c04abfff" providerId="ADAL" clId="{EE97D3FE-9ACA-4467-98E5-532EC45D9D1C}" dt="2024-03-11T14:26:51.683" v="24107"/>
          <ac:spMkLst>
            <pc:docMk/>
            <pc:sldMk cId="2086181770" sldId="958"/>
            <ac:spMk id="18" creationId="{802E5086-368B-8C88-D27D-7B52400C906B}"/>
          </ac:spMkLst>
        </pc:spChg>
        <pc:spChg chg="add del mod modVis">
          <ac:chgData name="Nataliia Chornii (UA)" userId="4e4b8b3d-5f31-49bb-9f80-8a25c04abfff" providerId="ADAL" clId="{EE97D3FE-9ACA-4467-98E5-532EC45D9D1C}" dt="2024-03-11T14:33:48.403" v="24876"/>
          <ac:spMkLst>
            <pc:docMk/>
            <pc:sldMk cId="2086181770" sldId="958"/>
            <ac:spMk id="19" creationId="{3DC4826F-4B1C-4087-C0C5-75AC12872459}"/>
          </ac:spMkLst>
        </pc:spChg>
        <pc:spChg chg="add mod">
          <ac:chgData name="Nataliia Chornii (UA)" userId="4e4b8b3d-5f31-49bb-9f80-8a25c04abfff" providerId="ADAL" clId="{EE97D3FE-9ACA-4467-98E5-532EC45D9D1C}" dt="2024-03-11T14:33:51.089" v="24923"/>
          <ac:spMkLst>
            <pc:docMk/>
            <pc:sldMk cId="2086181770" sldId="958"/>
            <ac:spMk id="20" creationId="{6333FECD-7692-A146-C706-AAFB965FFFCA}"/>
          </ac:spMkLst>
        </pc:spChg>
        <pc:spChg chg="mod ord">
          <ac:chgData name="Nataliia Chornii (UA)" userId="4e4b8b3d-5f31-49bb-9f80-8a25c04abfff" providerId="ADAL" clId="{EE97D3FE-9ACA-4467-98E5-532EC45D9D1C}" dt="2024-03-11T14:33:49.495" v="24909"/>
          <ac:spMkLst>
            <pc:docMk/>
            <pc:sldMk cId="2086181770" sldId="958"/>
            <ac:spMk id="25" creationId="{2B261BF4-92C6-462D-AA95-793AE54DD688}"/>
          </ac:spMkLst>
        </pc:spChg>
        <pc:spChg chg="mod ord">
          <ac:chgData name="Nataliia Chornii (UA)" userId="4e4b8b3d-5f31-49bb-9f80-8a25c04abfff" providerId="ADAL" clId="{EE97D3FE-9ACA-4467-98E5-532EC45D9D1C}" dt="2024-03-11T14:33:49.480" v="24889"/>
          <ac:spMkLst>
            <pc:docMk/>
            <pc:sldMk cId="2086181770" sldId="958"/>
            <ac:spMk id="26" creationId="{5EC1F9AE-82A4-85FE-592B-EF659F76F7EC}"/>
          </ac:spMkLst>
        </pc:spChg>
        <pc:spChg chg="mod ord">
          <ac:chgData name="Nataliia Chornii (UA)" userId="4e4b8b3d-5f31-49bb-9f80-8a25c04abfff" providerId="ADAL" clId="{EE97D3FE-9ACA-4467-98E5-532EC45D9D1C}" dt="2024-03-11T14:33:49.495" v="24911"/>
          <ac:spMkLst>
            <pc:docMk/>
            <pc:sldMk cId="2086181770" sldId="958"/>
            <ac:spMk id="27" creationId="{72D802D4-B169-1594-D931-40179675E33A}"/>
          </ac:spMkLst>
        </pc:spChg>
        <pc:spChg chg="mod ord">
          <ac:chgData name="Nataliia Chornii (UA)" userId="4e4b8b3d-5f31-49bb-9f80-8a25c04abfff" providerId="ADAL" clId="{EE97D3FE-9ACA-4467-98E5-532EC45D9D1C}" dt="2024-03-11T14:33:49.480" v="24891"/>
          <ac:spMkLst>
            <pc:docMk/>
            <pc:sldMk cId="2086181770" sldId="958"/>
            <ac:spMk id="29" creationId="{3915AD89-6428-4A75-0915-328643F1703C}"/>
          </ac:spMkLst>
        </pc:spChg>
        <pc:spChg chg="mod ord">
          <ac:chgData name="Nataliia Chornii (UA)" userId="4e4b8b3d-5f31-49bb-9f80-8a25c04abfff" providerId="ADAL" clId="{EE97D3FE-9ACA-4467-98E5-532EC45D9D1C}" dt="2024-03-11T14:33:49.480" v="24893"/>
          <ac:spMkLst>
            <pc:docMk/>
            <pc:sldMk cId="2086181770" sldId="958"/>
            <ac:spMk id="30" creationId="{373AB206-F1F0-CC72-8C15-85605D9AF2AC}"/>
          </ac:spMkLst>
        </pc:spChg>
        <pc:spChg chg="mod ord">
          <ac:chgData name="Nataliia Chornii (UA)" userId="4e4b8b3d-5f31-49bb-9f80-8a25c04abfff" providerId="ADAL" clId="{EE97D3FE-9ACA-4467-98E5-532EC45D9D1C}" dt="2024-03-11T14:33:49.480" v="24895"/>
          <ac:spMkLst>
            <pc:docMk/>
            <pc:sldMk cId="2086181770" sldId="958"/>
            <ac:spMk id="46" creationId="{09BF84D6-F468-7005-FAB5-AA0B6AE5CFB4}"/>
          </ac:spMkLst>
        </pc:spChg>
        <pc:spChg chg="mod ord">
          <ac:chgData name="Nataliia Chornii (UA)" userId="4e4b8b3d-5f31-49bb-9f80-8a25c04abfff" providerId="ADAL" clId="{EE97D3FE-9ACA-4467-98E5-532EC45D9D1C}" dt="2024-03-11T14:33:49.480" v="24897"/>
          <ac:spMkLst>
            <pc:docMk/>
            <pc:sldMk cId="2086181770" sldId="958"/>
            <ac:spMk id="50" creationId="{0130363F-7CE7-F3D0-4AB5-F295FAC2DCBC}"/>
          </ac:spMkLst>
        </pc:spChg>
        <pc:spChg chg="mod ord">
          <ac:chgData name="Nataliia Chornii (UA)" userId="4e4b8b3d-5f31-49bb-9f80-8a25c04abfff" providerId="ADAL" clId="{EE97D3FE-9ACA-4467-98E5-532EC45D9D1C}" dt="2024-03-11T14:33:49.480" v="24899"/>
          <ac:spMkLst>
            <pc:docMk/>
            <pc:sldMk cId="2086181770" sldId="958"/>
            <ac:spMk id="51" creationId="{AFEB1935-0849-FFDB-14A2-768E555E2F79}"/>
          </ac:spMkLst>
        </pc:spChg>
        <pc:grpChg chg="add mod ord">
          <ac:chgData name="Nataliia Chornii (UA)" userId="4e4b8b3d-5f31-49bb-9f80-8a25c04abfff" providerId="ADAL" clId="{EE97D3FE-9ACA-4467-98E5-532EC45D9D1C}" dt="2024-03-11T14:33:49.504" v="24917"/>
          <ac:grpSpMkLst>
            <pc:docMk/>
            <pc:sldMk cId="2086181770" sldId="958"/>
            <ac:grpSpMk id="7" creationId="{B0CBCEE2-89E5-5463-67D9-02E554CFD44D}"/>
          </ac:grpSpMkLst>
        </pc:grpChg>
        <pc:grpChg chg="mod ord">
          <ac:chgData name="Nataliia Chornii (UA)" userId="4e4b8b3d-5f31-49bb-9f80-8a25c04abfff" providerId="ADAL" clId="{EE97D3FE-9ACA-4467-98E5-532EC45D9D1C}" dt="2024-03-11T14:33:49.495" v="24913"/>
          <ac:grpSpMkLst>
            <pc:docMk/>
            <pc:sldMk cId="2086181770" sldId="958"/>
            <ac:grpSpMk id="9" creationId="{CD2C3658-A1D3-3144-1ED5-F2F246D99B5F}"/>
          </ac:grpSpMkLst>
        </pc:grpChg>
        <pc:graphicFrameChg chg="mod">
          <ac:chgData name="Nataliia Chornii (UA)" userId="4e4b8b3d-5f31-49bb-9f80-8a25c04abfff" providerId="ADAL" clId="{EE97D3FE-9ACA-4467-98E5-532EC45D9D1C}" dt="2024-03-11T14:33:49.504" v="24921"/>
          <ac:graphicFrameMkLst>
            <pc:docMk/>
            <pc:sldMk cId="2086181770" sldId="958"/>
            <ac:graphicFrameMk id="12" creationId="{F6E6AF23-7B86-113A-F559-513B41FEC1FE}"/>
          </ac:graphicFrameMkLst>
        </pc:graphicFrameChg>
        <pc:picChg chg="mod ord">
          <ac:chgData name="Nataliia Chornii (UA)" userId="4e4b8b3d-5f31-49bb-9f80-8a25c04abfff" providerId="ADAL" clId="{EE97D3FE-9ACA-4467-98E5-532EC45D9D1C}" dt="2024-03-11T14:33:49.480" v="24881"/>
          <ac:picMkLst>
            <pc:docMk/>
            <pc:sldMk cId="2086181770" sldId="958"/>
            <ac:picMk id="10" creationId="{D9A9EE0A-E32C-EBE9-ADDC-CF7317F21A73}"/>
          </ac:picMkLst>
        </pc:picChg>
        <pc:cxnChg chg="mod ord">
          <ac:chgData name="Nataliia Chornii (UA)" userId="4e4b8b3d-5f31-49bb-9f80-8a25c04abfff" providerId="ADAL" clId="{EE97D3FE-9ACA-4467-98E5-532EC45D9D1C}" dt="2024-03-11T14:33:49.495" v="24901"/>
          <ac:cxnSpMkLst>
            <pc:docMk/>
            <pc:sldMk cId="2086181770" sldId="958"/>
            <ac:cxnSpMk id="53" creationId="{F358E754-064A-5B8C-B2FC-4E612BA07893}"/>
          </ac:cxnSpMkLst>
        </pc:cxnChg>
      </pc:sldChg>
      <pc:sldChg chg="addSp delSp modSp mod">
        <pc:chgData name="Nataliia Chornii (UA)" userId="4e4b8b3d-5f31-49bb-9f80-8a25c04abfff" providerId="ADAL" clId="{EE97D3FE-9ACA-4467-98E5-532EC45D9D1C}" dt="2024-03-11T14:33:56.888" v="25032"/>
        <pc:sldMkLst>
          <pc:docMk/>
          <pc:sldMk cId="1391244758" sldId="959"/>
        </pc:sldMkLst>
        <pc:spChg chg="mod ord">
          <ac:chgData name="Nataliia Chornii (UA)" userId="4e4b8b3d-5f31-49bb-9f80-8a25c04abfff" providerId="ADAL" clId="{EE97D3FE-9ACA-4467-98E5-532EC45D9D1C}" dt="2024-03-11T14:33:55.434" v="25002"/>
          <ac:spMkLst>
            <pc:docMk/>
            <pc:sldMk cId="1391244758" sldId="959"/>
            <ac:spMk id="3" creationId="{F4CCF02E-F3C4-C376-8F56-61BD85A2E74B}"/>
          </ac:spMkLst>
        </pc:spChg>
        <pc:spChg chg="mod ord">
          <ac:chgData name="Nataliia Chornii (UA)" userId="4e4b8b3d-5f31-49bb-9f80-8a25c04abfff" providerId="ADAL" clId="{EE97D3FE-9ACA-4467-98E5-532EC45D9D1C}" dt="2024-03-11T14:33:55.434" v="25004"/>
          <ac:spMkLst>
            <pc:docMk/>
            <pc:sldMk cId="1391244758" sldId="959"/>
            <ac:spMk id="4" creationId="{872966CD-924A-B939-E655-A6BAF817DCBF}"/>
          </ac:spMkLst>
        </pc:spChg>
        <pc:spChg chg="del mod ord">
          <ac:chgData name="Nataliia Chornii (UA)" userId="4e4b8b3d-5f31-49bb-9f80-8a25c04abfff" providerId="ADAL" clId="{EE97D3FE-9ACA-4467-98E5-532EC45D9D1C}" dt="2024-03-11T14:33:56.634" v="25031" actId="478"/>
          <ac:spMkLst>
            <pc:docMk/>
            <pc:sldMk cId="1391244758" sldId="959"/>
            <ac:spMk id="5" creationId="{B8117B57-8E39-5418-6527-0CB9323D2C76}"/>
          </ac:spMkLst>
        </pc:spChg>
        <pc:spChg chg="mod ord">
          <ac:chgData name="Nataliia Chornii (UA)" userId="4e4b8b3d-5f31-49bb-9f80-8a25c04abfff" providerId="ADAL" clId="{EE97D3FE-9ACA-4467-98E5-532EC45D9D1C}" dt="2024-03-11T14:33:55.419" v="24992"/>
          <ac:spMkLst>
            <pc:docMk/>
            <pc:sldMk cId="1391244758" sldId="959"/>
            <ac:spMk id="6" creationId="{686D4B80-56E5-D13D-8003-B763DAD4E3DD}"/>
          </ac:spMkLst>
        </pc:spChg>
        <pc:spChg chg="add mod ord">
          <ac:chgData name="Nataliia Chornii (UA)" userId="4e4b8b3d-5f31-49bb-9f80-8a25c04abfff" providerId="ADAL" clId="{EE97D3FE-9ACA-4467-98E5-532EC45D9D1C}" dt="2024-03-11T14:33:55.434" v="25024"/>
          <ac:spMkLst>
            <pc:docMk/>
            <pc:sldMk cId="1391244758" sldId="959"/>
            <ac:spMk id="7" creationId="{D16DAC3B-2FEB-8CE6-A6A0-456D7076AE0B}"/>
          </ac:spMkLst>
        </pc:spChg>
        <pc:spChg chg="mod ord">
          <ac:chgData name="Nataliia Chornii (UA)" userId="4e4b8b3d-5f31-49bb-9f80-8a25c04abfff" providerId="ADAL" clId="{EE97D3FE-9ACA-4467-98E5-532EC45D9D1C}" dt="2024-03-11T14:33:55.419" v="24994"/>
          <ac:spMkLst>
            <pc:docMk/>
            <pc:sldMk cId="1391244758" sldId="959"/>
            <ac:spMk id="9" creationId="{3C02F18C-4E74-90B5-EC0B-78FCC94453E3}"/>
          </ac:spMkLst>
        </pc:spChg>
        <pc:spChg chg="mod">
          <ac:chgData name="Nataliia Chornii (UA)" userId="4e4b8b3d-5f31-49bb-9f80-8a25c04abfff" providerId="ADAL" clId="{EE97D3FE-9ACA-4467-98E5-532EC45D9D1C}" dt="2024-03-11T14:26:55.097" v="24108"/>
          <ac:spMkLst>
            <pc:docMk/>
            <pc:sldMk cId="1391244758" sldId="959"/>
            <ac:spMk id="10" creationId="{AAE9C59C-D2A9-9C9C-556A-DDD841BB90DE}"/>
          </ac:spMkLst>
        </pc:spChg>
        <pc:spChg chg="mod ord">
          <ac:chgData name="Nataliia Chornii (UA)" userId="4e4b8b3d-5f31-49bb-9f80-8a25c04abfff" providerId="ADAL" clId="{EE97D3FE-9ACA-4467-98E5-532EC45D9D1C}" dt="2024-03-11T14:33:55.434" v="24996"/>
          <ac:spMkLst>
            <pc:docMk/>
            <pc:sldMk cId="1391244758" sldId="959"/>
            <ac:spMk id="11" creationId="{07889E6A-8E21-2803-30A1-A645AF04340F}"/>
          </ac:spMkLst>
        </pc:spChg>
        <pc:spChg chg="mod ord">
          <ac:chgData name="Nataliia Chornii (UA)" userId="4e4b8b3d-5f31-49bb-9f80-8a25c04abfff" providerId="ADAL" clId="{EE97D3FE-9ACA-4467-98E5-532EC45D9D1C}" dt="2024-03-11T14:33:55.434" v="24998"/>
          <ac:spMkLst>
            <pc:docMk/>
            <pc:sldMk cId="1391244758" sldId="959"/>
            <ac:spMk id="13" creationId="{10ECE187-B3A4-BDE3-A3F3-430688A0658E}"/>
          </ac:spMkLst>
        </pc:spChg>
        <pc:spChg chg="mod">
          <ac:chgData name="Nataliia Chornii (UA)" userId="4e4b8b3d-5f31-49bb-9f80-8a25c04abfff" providerId="ADAL" clId="{EE97D3FE-9ACA-4467-98E5-532EC45D9D1C}" dt="2024-03-11T14:26:55.097" v="24108"/>
          <ac:spMkLst>
            <pc:docMk/>
            <pc:sldMk cId="1391244758" sldId="959"/>
            <ac:spMk id="18" creationId="{EE01F724-7DB4-2CE5-D10E-BF62231C363C}"/>
          </ac:spMkLst>
        </pc:spChg>
        <pc:spChg chg="mod">
          <ac:chgData name="Nataliia Chornii (UA)" userId="4e4b8b3d-5f31-49bb-9f80-8a25c04abfff" providerId="ADAL" clId="{EE97D3FE-9ACA-4467-98E5-532EC45D9D1C}" dt="2024-03-11T14:26:55.097" v="24108"/>
          <ac:spMkLst>
            <pc:docMk/>
            <pc:sldMk cId="1391244758" sldId="959"/>
            <ac:spMk id="19" creationId="{A1F381BE-BA6F-371F-5802-E84D50347214}"/>
          </ac:spMkLst>
        </pc:spChg>
        <pc:spChg chg="mod">
          <ac:chgData name="Nataliia Chornii (UA)" userId="4e4b8b3d-5f31-49bb-9f80-8a25c04abfff" providerId="ADAL" clId="{EE97D3FE-9ACA-4467-98E5-532EC45D9D1C}" dt="2024-03-11T14:26:55.097" v="24108"/>
          <ac:spMkLst>
            <pc:docMk/>
            <pc:sldMk cId="1391244758" sldId="959"/>
            <ac:spMk id="20" creationId="{8DF79D8B-B0EA-E424-CFD0-22F6BC836886}"/>
          </ac:spMkLst>
        </pc:spChg>
        <pc:spChg chg="mod">
          <ac:chgData name="Nataliia Chornii (UA)" userId="4e4b8b3d-5f31-49bb-9f80-8a25c04abfff" providerId="ADAL" clId="{EE97D3FE-9ACA-4467-98E5-532EC45D9D1C}" dt="2024-03-11T14:26:55.097" v="24108"/>
          <ac:spMkLst>
            <pc:docMk/>
            <pc:sldMk cId="1391244758" sldId="959"/>
            <ac:spMk id="21" creationId="{94917998-2A5A-ABD2-65C0-77CC9667A646}"/>
          </ac:spMkLst>
        </pc:spChg>
        <pc:spChg chg="mod">
          <ac:chgData name="Nataliia Chornii (UA)" userId="4e4b8b3d-5f31-49bb-9f80-8a25c04abfff" providerId="ADAL" clId="{EE97D3FE-9ACA-4467-98E5-532EC45D9D1C}" dt="2024-03-11T14:26:55.097" v="24108"/>
          <ac:spMkLst>
            <pc:docMk/>
            <pc:sldMk cId="1391244758" sldId="959"/>
            <ac:spMk id="22" creationId="{E1DF04ED-9B92-007B-B2FF-87BFCB941F41}"/>
          </ac:spMkLst>
        </pc:spChg>
        <pc:spChg chg="add del mod modVis">
          <ac:chgData name="Nataliia Chornii (UA)" userId="4e4b8b3d-5f31-49bb-9f80-8a25c04abfff" providerId="ADAL" clId="{EE97D3FE-9ACA-4467-98E5-532EC45D9D1C}" dt="2024-03-11T14:33:54.235" v="24985"/>
          <ac:spMkLst>
            <pc:docMk/>
            <pc:sldMk cId="1391244758" sldId="959"/>
            <ac:spMk id="23" creationId="{6107B0CE-B2C4-7C58-4146-5B0B711AEF57}"/>
          </ac:spMkLst>
        </pc:spChg>
        <pc:spChg chg="add mod">
          <ac:chgData name="Nataliia Chornii (UA)" userId="4e4b8b3d-5f31-49bb-9f80-8a25c04abfff" providerId="ADAL" clId="{EE97D3FE-9ACA-4467-98E5-532EC45D9D1C}" dt="2024-03-11T14:33:56.888" v="25032"/>
          <ac:spMkLst>
            <pc:docMk/>
            <pc:sldMk cId="1391244758" sldId="959"/>
            <ac:spMk id="24" creationId="{C19B2E0E-E082-B9BF-D864-14155504C2E7}"/>
          </ac:spMkLst>
        </pc:spChg>
        <pc:spChg chg="mod ord">
          <ac:chgData name="Nataliia Chornii (UA)" userId="4e4b8b3d-5f31-49bb-9f80-8a25c04abfff" providerId="ADAL" clId="{EE97D3FE-9ACA-4467-98E5-532EC45D9D1C}" dt="2024-03-11T14:33:55.434" v="25006"/>
          <ac:spMkLst>
            <pc:docMk/>
            <pc:sldMk cId="1391244758" sldId="959"/>
            <ac:spMk id="26" creationId="{5EC1F9AE-82A4-85FE-592B-EF659F76F7EC}"/>
          </ac:spMkLst>
        </pc:spChg>
        <pc:spChg chg="mod ord">
          <ac:chgData name="Nataliia Chornii (UA)" userId="4e4b8b3d-5f31-49bb-9f80-8a25c04abfff" providerId="ADAL" clId="{EE97D3FE-9ACA-4467-98E5-532EC45D9D1C}" dt="2024-03-11T14:33:55.434" v="25008"/>
          <ac:spMkLst>
            <pc:docMk/>
            <pc:sldMk cId="1391244758" sldId="959"/>
            <ac:spMk id="29" creationId="{3915AD89-6428-4A75-0915-328643F1703C}"/>
          </ac:spMkLst>
        </pc:spChg>
        <pc:spChg chg="mod ord">
          <ac:chgData name="Nataliia Chornii (UA)" userId="4e4b8b3d-5f31-49bb-9f80-8a25c04abfff" providerId="ADAL" clId="{EE97D3FE-9ACA-4467-98E5-532EC45D9D1C}" dt="2024-03-11T14:33:55.434" v="25010"/>
          <ac:spMkLst>
            <pc:docMk/>
            <pc:sldMk cId="1391244758" sldId="959"/>
            <ac:spMk id="30" creationId="{373AB206-F1F0-CC72-8C15-85605D9AF2AC}"/>
          </ac:spMkLst>
        </pc:spChg>
        <pc:spChg chg="mod ord">
          <ac:chgData name="Nataliia Chornii (UA)" userId="4e4b8b3d-5f31-49bb-9f80-8a25c04abfff" providerId="ADAL" clId="{EE97D3FE-9ACA-4467-98E5-532EC45D9D1C}" dt="2024-03-11T14:33:55.434" v="25012"/>
          <ac:spMkLst>
            <pc:docMk/>
            <pc:sldMk cId="1391244758" sldId="959"/>
            <ac:spMk id="46" creationId="{09BF84D6-F468-7005-FAB5-AA0B6AE5CFB4}"/>
          </ac:spMkLst>
        </pc:spChg>
        <pc:spChg chg="mod ord">
          <ac:chgData name="Nataliia Chornii (UA)" userId="4e4b8b3d-5f31-49bb-9f80-8a25c04abfff" providerId="ADAL" clId="{EE97D3FE-9ACA-4467-98E5-532EC45D9D1C}" dt="2024-03-11T14:33:55.434" v="25014"/>
          <ac:spMkLst>
            <pc:docMk/>
            <pc:sldMk cId="1391244758" sldId="959"/>
            <ac:spMk id="50" creationId="{0130363F-7CE7-F3D0-4AB5-F295FAC2DCBC}"/>
          </ac:spMkLst>
        </pc:spChg>
        <pc:spChg chg="mod ord">
          <ac:chgData name="Nataliia Chornii (UA)" userId="4e4b8b3d-5f31-49bb-9f80-8a25c04abfff" providerId="ADAL" clId="{EE97D3FE-9ACA-4467-98E5-532EC45D9D1C}" dt="2024-03-11T14:33:55.434" v="25016"/>
          <ac:spMkLst>
            <pc:docMk/>
            <pc:sldMk cId="1391244758" sldId="959"/>
            <ac:spMk id="51" creationId="{AFEB1935-0849-FFDB-14A2-768E555E2F79}"/>
          </ac:spMkLst>
        </pc:spChg>
        <pc:spChg chg="mod ord">
          <ac:chgData name="Nataliia Chornii (UA)" userId="4e4b8b3d-5f31-49bb-9f80-8a25c04abfff" providerId="ADAL" clId="{EE97D3FE-9ACA-4467-98E5-532EC45D9D1C}" dt="2024-03-11T14:33:55.434" v="25018"/>
          <ac:spMkLst>
            <pc:docMk/>
            <pc:sldMk cId="1391244758" sldId="959"/>
            <ac:spMk id="52" creationId="{C28EBB85-E5E0-FA58-8077-AD15508F23C6}"/>
          </ac:spMkLst>
        </pc:spChg>
        <pc:grpChg chg="add mod ord">
          <ac:chgData name="Nataliia Chornii (UA)" userId="4e4b8b3d-5f31-49bb-9f80-8a25c04abfff" providerId="ADAL" clId="{EE97D3FE-9ACA-4467-98E5-532EC45D9D1C}" dt="2024-03-11T14:33:55.434" v="25026"/>
          <ac:grpSpMkLst>
            <pc:docMk/>
            <pc:sldMk cId="1391244758" sldId="959"/>
            <ac:grpSpMk id="8" creationId="{5214FC1D-6E62-20B2-7FC0-F3923E5A3169}"/>
          </ac:grpSpMkLst>
        </pc:grpChg>
        <pc:grpChg chg="mod ord">
          <ac:chgData name="Nataliia Chornii (UA)" userId="4e4b8b3d-5f31-49bb-9f80-8a25c04abfff" providerId="ADAL" clId="{EE97D3FE-9ACA-4467-98E5-532EC45D9D1C}" dt="2024-03-11T14:33:55.434" v="25000"/>
          <ac:grpSpMkLst>
            <pc:docMk/>
            <pc:sldMk cId="1391244758" sldId="959"/>
            <ac:grpSpMk id="14" creationId="{267418C2-6F99-A659-AB11-419EED1354F6}"/>
          </ac:grpSpMkLst>
        </pc:grpChg>
        <pc:graphicFrameChg chg="mod">
          <ac:chgData name="Nataliia Chornii (UA)" userId="4e4b8b3d-5f31-49bb-9f80-8a25c04abfff" providerId="ADAL" clId="{EE97D3FE-9ACA-4467-98E5-532EC45D9D1C}" dt="2024-03-11T14:33:55.434" v="25030"/>
          <ac:graphicFrameMkLst>
            <pc:docMk/>
            <pc:sldMk cId="1391244758" sldId="959"/>
            <ac:graphicFrameMk id="12" creationId="{F6E6AF23-7B86-113A-F559-513B41FEC1FE}"/>
          </ac:graphicFrameMkLst>
        </pc:graphicFrameChg>
        <pc:picChg chg="mod ord">
          <ac:chgData name="Nataliia Chornii (UA)" userId="4e4b8b3d-5f31-49bb-9f80-8a25c04abfff" providerId="ADAL" clId="{EE97D3FE-9ACA-4467-98E5-532EC45D9D1C}" dt="2024-03-11T14:33:55.419" v="24990"/>
          <ac:picMkLst>
            <pc:docMk/>
            <pc:sldMk cId="1391244758" sldId="959"/>
            <ac:picMk id="2" creationId="{6B4CC937-6B70-65C0-140B-A0FD867D01D0}"/>
          </ac:picMkLst>
        </pc:picChg>
        <pc:cxnChg chg="mod ord">
          <ac:chgData name="Nataliia Chornii (UA)" userId="4e4b8b3d-5f31-49bb-9f80-8a25c04abfff" providerId="ADAL" clId="{EE97D3FE-9ACA-4467-98E5-532EC45D9D1C}" dt="2024-03-11T14:33:55.434" v="25020"/>
          <ac:cxnSpMkLst>
            <pc:docMk/>
            <pc:sldMk cId="1391244758" sldId="959"/>
            <ac:cxnSpMk id="53" creationId="{F358E754-064A-5B8C-B2FC-4E612BA07893}"/>
          </ac:cxnSpMkLst>
        </pc:cxnChg>
      </pc:sldChg>
      <pc:sldChg chg="addSp modSp">
        <pc:chgData name="Nataliia Chornii (UA)" userId="4e4b8b3d-5f31-49bb-9f80-8a25c04abfff" providerId="ADAL" clId="{EE97D3FE-9ACA-4467-98E5-532EC45D9D1C}" dt="2024-03-11T14:27:01.422" v="24112"/>
        <pc:sldMkLst>
          <pc:docMk/>
          <pc:sldMk cId="425128272" sldId="960"/>
        </pc:sldMkLst>
        <pc:spChg chg="add mod">
          <ac:chgData name="Nataliia Chornii (UA)" userId="4e4b8b3d-5f31-49bb-9f80-8a25c04abfff" providerId="ADAL" clId="{EE97D3FE-9ACA-4467-98E5-532EC45D9D1C}" dt="2024-03-11T14:27:01.422" v="24112"/>
          <ac:spMkLst>
            <pc:docMk/>
            <pc:sldMk cId="425128272" sldId="960"/>
            <ac:spMk id="2" creationId="{34F1EF69-F6E7-494E-E505-1BE8F9572B6E}"/>
          </ac:spMkLst>
        </pc:spChg>
        <pc:spChg chg="mod">
          <ac:chgData name="Nataliia Chornii (UA)" userId="4e4b8b3d-5f31-49bb-9f80-8a25c04abfff" providerId="ADAL" clId="{EE97D3FE-9ACA-4467-98E5-532EC45D9D1C}" dt="2024-03-11T14:27:01.422" v="24112"/>
          <ac:spMkLst>
            <pc:docMk/>
            <pc:sldMk cId="425128272" sldId="960"/>
            <ac:spMk id="10" creationId="{D24E2EFC-DBF8-80BD-7A73-E7830A295D96}"/>
          </ac:spMkLst>
        </pc:spChg>
        <pc:spChg chg="mod">
          <ac:chgData name="Nataliia Chornii (UA)" userId="4e4b8b3d-5f31-49bb-9f80-8a25c04abfff" providerId="ADAL" clId="{EE97D3FE-9ACA-4467-98E5-532EC45D9D1C}" dt="2024-03-11T14:27:01.422" v="24112"/>
          <ac:spMkLst>
            <pc:docMk/>
            <pc:sldMk cId="425128272" sldId="960"/>
            <ac:spMk id="11" creationId="{F3858D78-7EEE-7BDB-4A73-ED77EC155DB3}"/>
          </ac:spMkLst>
        </pc:spChg>
        <pc:spChg chg="mod">
          <ac:chgData name="Nataliia Chornii (UA)" userId="4e4b8b3d-5f31-49bb-9f80-8a25c04abfff" providerId="ADAL" clId="{EE97D3FE-9ACA-4467-98E5-532EC45D9D1C}" dt="2024-03-11T14:27:01.422" v="24112"/>
          <ac:spMkLst>
            <pc:docMk/>
            <pc:sldMk cId="425128272" sldId="960"/>
            <ac:spMk id="19" creationId="{005CCC69-798B-83D0-A5D9-47C6D719FFF2}"/>
          </ac:spMkLst>
        </pc:spChg>
        <pc:spChg chg="mod">
          <ac:chgData name="Nataliia Chornii (UA)" userId="4e4b8b3d-5f31-49bb-9f80-8a25c04abfff" providerId="ADAL" clId="{EE97D3FE-9ACA-4467-98E5-532EC45D9D1C}" dt="2024-03-11T14:27:01.422" v="24112"/>
          <ac:spMkLst>
            <pc:docMk/>
            <pc:sldMk cId="425128272" sldId="960"/>
            <ac:spMk id="20" creationId="{E31D8150-D0F6-F3CA-6BEF-3723E8367E00}"/>
          </ac:spMkLst>
        </pc:spChg>
        <pc:spChg chg="mod">
          <ac:chgData name="Nataliia Chornii (UA)" userId="4e4b8b3d-5f31-49bb-9f80-8a25c04abfff" providerId="ADAL" clId="{EE97D3FE-9ACA-4467-98E5-532EC45D9D1C}" dt="2024-03-11T14:27:01.422" v="24112"/>
          <ac:spMkLst>
            <pc:docMk/>
            <pc:sldMk cId="425128272" sldId="960"/>
            <ac:spMk id="21" creationId="{4AC05396-05F2-394E-8234-8A1A8985F99B}"/>
          </ac:spMkLst>
        </pc:spChg>
        <pc:spChg chg="mod">
          <ac:chgData name="Nataliia Chornii (UA)" userId="4e4b8b3d-5f31-49bb-9f80-8a25c04abfff" providerId="ADAL" clId="{EE97D3FE-9ACA-4467-98E5-532EC45D9D1C}" dt="2024-03-11T14:27:01.422" v="24112"/>
          <ac:spMkLst>
            <pc:docMk/>
            <pc:sldMk cId="425128272" sldId="960"/>
            <ac:spMk id="22" creationId="{CAA41518-0319-20F5-F41A-DB450457D328}"/>
          </ac:spMkLst>
        </pc:spChg>
        <pc:grpChg chg="add mod">
          <ac:chgData name="Nataliia Chornii (UA)" userId="4e4b8b3d-5f31-49bb-9f80-8a25c04abfff" providerId="ADAL" clId="{EE97D3FE-9ACA-4467-98E5-532EC45D9D1C}" dt="2024-03-11T14:27:01.422" v="24112"/>
          <ac:grpSpMkLst>
            <pc:docMk/>
            <pc:sldMk cId="425128272" sldId="960"/>
            <ac:grpSpMk id="9" creationId="{17CB9501-EA3A-2E37-3C33-CDC8718984BE}"/>
          </ac:grpSpMkLst>
        </pc:grpChg>
      </pc:sldChg>
      <pc:sldChg chg="addSp delSp modSp mod">
        <pc:chgData name="Nataliia Chornii (UA)" userId="4e4b8b3d-5f31-49bb-9f80-8a25c04abfff" providerId="ADAL" clId="{EE97D3FE-9ACA-4467-98E5-532EC45D9D1C}" dt="2024-03-11T14:34:13.205" v="25042"/>
        <pc:sldMkLst>
          <pc:docMk/>
          <pc:sldMk cId="1511441995" sldId="962"/>
        </pc:sldMkLst>
        <pc:spChg chg="add mod">
          <ac:chgData name="Nataliia Chornii (UA)" userId="4e4b8b3d-5f31-49bb-9f80-8a25c04abfff" providerId="ADAL" clId="{EE97D3FE-9ACA-4467-98E5-532EC45D9D1C}" dt="2024-03-11T14:27:05.304" v="24115"/>
          <ac:spMkLst>
            <pc:docMk/>
            <pc:sldMk cId="1511441995" sldId="962"/>
            <ac:spMk id="2" creationId="{9ED375F9-589E-9477-7DB1-419EB3F66E7A}"/>
          </ac:spMkLst>
        </pc:spChg>
        <pc:spChg chg="del">
          <ac:chgData name="Nataliia Chornii (UA)" userId="4e4b8b3d-5f31-49bb-9f80-8a25c04abfff" providerId="ADAL" clId="{EE97D3FE-9ACA-4467-98E5-532EC45D9D1C}" dt="2024-03-11T14:34:12.905" v="25041" actId="478"/>
          <ac:spMkLst>
            <pc:docMk/>
            <pc:sldMk cId="1511441995" sldId="962"/>
            <ac:spMk id="5" creationId="{947D8C6D-59FC-B70D-62E8-4E05ED8582AC}"/>
          </ac:spMkLst>
        </pc:spChg>
        <pc:spChg chg="mod">
          <ac:chgData name="Nataliia Chornii (UA)" userId="4e4b8b3d-5f31-49bb-9f80-8a25c04abfff" providerId="ADAL" clId="{EE97D3FE-9ACA-4467-98E5-532EC45D9D1C}" dt="2024-03-11T14:27:05.304" v="24115"/>
          <ac:spMkLst>
            <pc:docMk/>
            <pc:sldMk cId="1511441995" sldId="962"/>
            <ac:spMk id="17" creationId="{922BC5E5-3FB0-E47B-7549-BE5E7E1D15D1}"/>
          </ac:spMkLst>
        </pc:spChg>
        <pc:spChg chg="mod">
          <ac:chgData name="Nataliia Chornii (UA)" userId="4e4b8b3d-5f31-49bb-9f80-8a25c04abfff" providerId="ADAL" clId="{EE97D3FE-9ACA-4467-98E5-532EC45D9D1C}" dt="2024-03-11T14:27:05.304" v="24115"/>
          <ac:spMkLst>
            <pc:docMk/>
            <pc:sldMk cId="1511441995" sldId="962"/>
            <ac:spMk id="18" creationId="{38640C57-A76B-3971-AE8C-809D394D520A}"/>
          </ac:spMkLst>
        </pc:spChg>
        <pc:spChg chg="mod">
          <ac:chgData name="Nataliia Chornii (UA)" userId="4e4b8b3d-5f31-49bb-9f80-8a25c04abfff" providerId="ADAL" clId="{EE97D3FE-9ACA-4467-98E5-532EC45D9D1C}" dt="2024-03-11T14:27:05.304" v="24115"/>
          <ac:spMkLst>
            <pc:docMk/>
            <pc:sldMk cId="1511441995" sldId="962"/>
            <ac:spMk id="19" creationId="{81139A95-8BF4-A27C-F1E4-4ABFBBBDA6AE}"/>
          </ac:spMkLst>
        </pc:spChg>
        <pc:spChg chg="mod">
          <ac:chgData name="Nataliia Chornii (UA)" userId="4e4b8b3d-5f31-49bb-9f80-8a25c04abfff" providerId="ADAL" clId="{EE97D3FE-9ACA-4467-98E5-532EC45D9D1C}" dt="2024-03-11T14:27:05.304" v="24115"/>
          <ac:spMkLst>
            <pc:docMk/>
            <pc:sldMk cId="1511441995" sldId="962"/>
            <ac:spMk id="20" creationId="{125E0E1D-724F-29DE-F261-51B822C30A40}"/>
          </ac:spMkLst>
        </pc:spChg>
        <pc:spChg chg="mod">
          <ac:chgData name="Nataliia Chornii (UA)" userId="4e4b8b3d-5f31-49bb-9f80-8a25c04abfff" providerId="ADAL" clId="{EE97D3FE-9ACA-4467-98E5-532EC45D9D1C}" dt="2024-03-11T14:27:05.304" v="24115"/>
          <ac:spMkLst>
            <pc:docMk/>
            <pc:sldMk cId="1511441995" sldId="962"/>
            <ac:spMk id="21" creationId="{06B65D18-136A-22A3-7156-7AFF2713E707}"/>
          </ac:spMkLst>
        </pc:spChg>
        <pc:spChg chg="mod">
          <ac:chgData name="Nataliia Chornii (UA)" userId="4e4b8b3d-5f31-49bb-9f80-8a25c04abfff" providerId="ADAL" clId="{EE97D3FE-9ACA-4467-98E5-532EC45D9D1C}" dt="2024-03-11T14:27:05.304" v="24115"/>
          <ac:spMkLst>
            <pc:docMk/>
            <pc:sldMk cId="1511441995" sldId="962"/>
            <ac:spMk id="22" creationId="{8B327FFC-81B8-D86F-F0E8-8B5B17B3C0FB}"/>
          </ac:spMkLst>
        </pc:spChg>
        <pc:spChg chg="add mod">
          <ac:chgData name="Nataliia Chornii (UA)" userId="4e4b8b3d-5f31-49bb-9f80-8a25c04abfff" providerId="ADAL" clId="{EE97D3FE-9ACA-4467-98E5-532EC45D9D1C}" dt="2024-03-11T14:34:13.205" v="25042"/>
          <ac:spMkLst>
            <pc:docMk/>
            <pc:sldMk cId="1511441995" sldId="962"/>
            <ac:spMk id="23" creationId="{1E3D942D-5153-F87A-E502-6A801E765CCA}"/>
          </ac:spMkLst>
        </pc:spChg>
        <pc:grpChg chg="add mod">
          <ac:chgData name="Nataliia Chornii (UA)" userId="4e4b8b3d-5f31-49bb-9f80-8a25c04abfff" providerId="ADAL" clId="{EE97D3FE-9ACA-4467-98E5-532EC45D9D1C}" dt="2024-03-11T14:27:05.304" v="24115"/>
          <ac:grpSpMkLst>
            <pc:docMk/>
            <pc:sldMk cId="1511441995" sldId="962"/>
            <ac:grpSpMk id="16" creationId="{7F93A433-E642-8CCA-5948-57184688ECEE}"/>
          </ac:grpSpMkLst>
        </pc:grpChg>
      </pc:sldChg>
      <pc:sldChg chg="addSp delSp modSp mod">
        <pc:chgData name="Nataliia Chornii (UA)" userId="4e4b8b3d-5f31-49bb-9f80-8a25c04abfff" providerId="ADAL" clId="{EE97D3FE-9ACA-4467-98E5-532EC45D9D1C}" dt="2024-03-11T14:34:00.729" v="25034"/>
        <pc:sldMkLst>
          <pc:docMk/>
          <pc:sldMk cId="4141191697" sldId="963"/>
        </pc:sldMkLst>
        <pc:spChg chg="del">
          <ac:chgData name="Nataliia Chornii (UA)" userId="4e4b8b3d-5f31-49bb-9f80-8a25c04abfff" providerId="ADAL" clId="{EE97D3FE-9ACA-4467-98E5-532EC45D9D1C}" dt="2024-03-11T14:34:00.411" v="25033" actId="478"/>
          <ac:spMkLst>
            <pc:docMk/>
            <pc:sldMk cId="4141191697" sldId="963"/>
            <ac:spMk id="6" creationId="{898887DF-9190-F283-B120-8AE08B7645FA}"/>
          </ac:spMkLst>
        </pc:spChg>
        <pc:spChg chg="add mod">
          <ac:chgData name="Nataliia Chornii (UA)" userId="4e4b8b3d-5f31-49bb-9f80-8a25c04abfff" providerId="ADAL" clId="{EE97D3FE-9ACA-4467-98E5-532EC45D9D1C}" dt="2024-03-11T14:26:57.250" v="24109"/>
          <ac:spMkLst>
            <pc:docMk/>
            <pc:sldMk cId="4141191697" sldId="963"/>
            <ac:spMk id="10" creationId="{8CC33394-EBA6-F8B3-884F-79BAB196D95C}"/>
          </ac:spMkLst>
        </pc:spChg>
        <pc:spChg chg="mod">
          <ac:chgData name="Nataliia Chornii (UA)" userId="4e4b8b3d-5f31-49bb-9f80-8a25c04abfff" providerId="ADAL" clId="{EE97D3FE-9ACA-4467-98E5-532EC45D9D1C}" dt="2024-03-11T14:26:57.250" v="24109"/>
          <ac:spMkLst>
            <pc:docMk/>
            <pc:sldMk cId="4141191697" sldId="963"/>
            <ac:spMk id="13" creationId="{57753D9C-E521-C04C-D589-23E0C0A31E9A}"/>
          </ac:spMkLst>
        </pc:spChg>
        <pc:spChg chg="mod">
          <ac:chgData name="Nataliia Chornii (UA)" userId="4e4b8b3d-5f31-49bb-9f80-8a25c04abfff" providerId="ADAL" clId="{EE97D3FE-9ACA-4467-98E5-532EC45D9D1C}" dt="2024-03-11T14:26:57.250" v="24109"/>
          <ac:spMkLst>
            <pc:docMk/>
            <pc:sldMk cId="4141191697" sldId="963"/>
            <ac:spMk id="14" creationId="{4E9225F2-95E0-C0B8-9027-B3D18F0D73C1}"/>
          </ac:spMkLst>
        </pc:spChg>
        <pc:spChg chg="mod">
          <ac:chgData name="Nataliia Chornii (UA)" userId="4e4b8b3d-5f31-49bb-9f80-8a25c04abfff" providerId="ADAL" clId="{EE97D3FE-9ACA-4467-98E5-532EC45D9D1C}" dt="2024-03-11T14:26:57.250" v="24109"/>
          <ac:spMkLst>
            <pc:docMk/>
            <pc:sldMk cId="4141191697" sldId="963"/>
            <ac:spMk id="15" creationId="{13C1D357-1582-C632-7499-0D4A7C272BEE}"/>
          </ac:spMkLst>
        </pc:spChg>
        <pc:spChg chg="mod">
          <ac:chgData name="Nataliia Chornii (UA)" userId="4e4b8b3d-5f31-49bb-9f80-8a25c04abfff" providerId="ADAL" clId="{EE97D3FE-9ACA-4467-98E5-532EC45D9D1C}" dt="2024-03-11T14:26:57.250" v="24109"/>
          <ac:spMkLst>
            <pc:docMk/>
            <pc:sldMk cId="4141191697" sldId="963"/>
            <ac:spMk id="16" creationId="{BF6544D2-05A9-61AE-E32B-B62FE805F9D4}"/>
          </ac:spMkLst>
        </pc:spChg>
        <pc:spChg chg="mod">
          <ac:chgData name="Nataliia Chornii (UA)" userId="4e4b8b3d-5f31-49bb-9f80-8a25c04abfff" providerId="ADAL" clId="{EE97D3FE-9ACA-4467-98E5-532EC45D9D1C}" dt="2024-03-11T14:26:57.250" v="24109"/>
          <ac:spMkLst>
            <pc:docMk/>
            <pc:sldMk cId="4141191697" sldId="963"/>
            <ac:spMk id="17" creationId="{F6CA5E7C-DD3F-76C1-D98D-CF8162FA09CB}"/>
          </ac:spMkLst>
        </pc:spChg>
        <pc:spChg chg="mod">
          <ac:chgData name="Nataliia Chornii (UA)" userId="4e4b8b3d-5f31-49bb-9f80-8a25c04abfff" providerId="ADAL" clId="{EE97D3FE-9ACA-4467-98E5-532EC45D9D1C}" dt="2024-03-11T14:26:57.250" v="24109"/>
          <ac:spMkLst>
            <pc:docMk/>
            <pc:sldMk cId="4141191697" sldId="963"/>
            <ac:spMk id="18" creationId="{646D6257-1366-8C73-AC02-64C83373E213}"/>
          </ac:spMkLst>
        </pc:spChg>
        <pc:spChg chg="add mod">
          <ac:chgData name="Nataliia Chornii (UA)" userId="4e4b8b3d-5f31-49bb-9f80-8a25c04abfff" providerId="ADAL" clId="{EE97D3FE-9ACA-4467-98E5-532EC45D9D1C}" dt="2024-03-11T14:34:00.729" v="25034"/>
          <ac:spMkLst>
            <pc:docMk/>
            <pc:sldMk cId="4141191697" sldId="963"/>
            <ac:spMk id="19" creationId="{FABB8E7C-60CE-09CB-AEBF-C00E7EB1273A}"/>
          </ac:spMkLst>
        </pc:spChg>
        <pc:grpChg chg="add mod">
          <ac:chgData name="Nataliia Chornii (UA)" userId="4e4b8b3d-5f31-49bb-9f80-8a25c04abfff" providerId="ADAL" clId="{EE97D3FE-9ACA-4467-98E5-532EC45D9D1C}" dt="2024-03-11T14:26:57.250" v="24109"/>
          <ac:grpSpMkLst>
            <pc:docMk/>
            <pc:sldMk cId="4141191697" sldId="963"/>
            <ac:grpSpMk id="11" creationId="{7ED52A36-420B-20FB-FC71-B6C4A5EF3012}"/>
          </ac:grpSpMkLst>
        </pc:grpChg>
      </pc:sldChg>
      <pc:sldChg chg="addSp delSp modSp mod">
        <pc:chgData name="Nataliia Chornii (UA)" userId="4e4b8b3d-5f31-49bb-9f80-8a25c04abfff" providerId="ADAL" clId="{EE97D3FE-9ACA-4467-98E5-532EC45D9D1C}" dt="2024-03-11T14:34:03.053" v="25036"/>
        <pc:sldMkLst>
          <pc:docMk/>
          <pc:sldMk cId="1785961526" sldId="964"/>
        </pc:sldMkLst>
        <pc:spChg chg="add mod">
          <ac:chgData name="Nataliia Chornii (UA)" userId="4e4b8b3d-5f31-49bb-9f80-8a25c04abfff" providerId="ADAL" clId="{EE97D3FE-9ACA-4467-98E5-532EC45D9D1C}" dt="2024-03-11T14:26:58.957" v="24110"/>
          <ac:spMkLst>
            <pc:docMk/>
            <pc:sldMk cId="1785961526" sldId="964"/>
            <ac:spMk id="2" creationId="{704047AB-6DDC-C2CE-C1C1-09F2077282B4}"/>
          </ac:spMkLst>
        </pc:spChg>
        <pc:spChg chg="del">
          <ac:chgData name="Nataliia Chornii (UA)" userId="4e4b8b3d-5f31-49bb-9f80-8a25c04abfff" providerId="ADAL" clId="{EE97D3FE-9ACA-4467-98E5-532EC45D9D1C}" dt="2024-03-11T14:34:02.779" v="25035" actId="478"/>
          <ac:spMkLst>
            <pc:docMk/>
            <pc:sldMk cId="1785961526" sldId="964"/>
            <ac:spMk id="5" creationId="{B8117B57-8E39-5418-6527-0CB9323D2C76}"/>
          </ac:spMkLst>
        </pc:spChg>
        <pc:spChg chg="mod">
          <ac:chgData name="Nataliia Chornii (UA)" userId="4e4b8b3d-5f31-49bb-9f80-8a25c04abfff" providerId="ADAL" clId="{EE97D3FE-9ACA-4467-98E5-532EC45D9D1C}" dt="2024-03-11T14:26:58.957" v="24110"/>
          <ac:spMkLst>
            <pc:docMk/>
            <pc:sldMk cId="1785961526" sldId="964"/>
            <ac:spMk id="7" creationId="{BD8D9E96-1678-DA49-7F47-1AFEC753B178}"/>
          </ac:spMkLst>
        </pc:spChg>
        <pc:spChg chg="mod">
          <ac:chgData name="Nataliia Chornii (UA)" userId="4e4b8b3d-5f31-49bb-9f80-8a25c04abfff" providerId="ADAL" clId="{EE97D3FE-9ACA-4467-98E5-532EC45D9D1C}" dt="2024-03-11T14:26:58.957" v="24110"/>
          <ac:spMkLst>
            <pc:docMk/>
            <pc:sldMk cId="1785961526" sldId="964"/>
            <ac:spMk id="18" creationId="{0172CD59-9744-ADB4-4863-BCE92525D495}"/>
          </ac:spMkLst>
        </pc:spChg>
        <pc:spChg chg="mod">
          <ac:chgData name="Nataliia Chornii (UA)" userId="4e4b8b3d-5f31-49bb-9f80-8a25c04abfff" providerId="ADAL" clId="{EE97D3FE-9ACA-4467-98E5-532EC45D9D1C}" dt="2024-03-11T14:26:58.957" v="24110"/>
          <ac:spMkLst>
            <pc:docMk/>
            <pc:sldMk cId="1785961526" sldId="964"/>
            <ac:spMk id="19" creationId="{4358BCB3-A5E1-2361-0A2E-610449D7A130}"/>
          </ac:spMkLst>
        </pc:spChg>
        <pc:spChg chg="mod">
          <ac:chgData name="Nataliia Chornii (UA)" userId="4e4b8b3d-5f31-49bb-9f80-8a25c04abfff" providerId="ADAL" clId="{EE97D3FE-9ACA-4467-98E5-532EC45D9D1C}" dt="2024-03-11T14:26:58.957" v="24110"/>
          <ac:spMkLst>
            <pc:docMk/>
            <pc:sldMk cId="1785961526" sldId="964"/>
            <ac:spMk id="20" creationId="{D0DF8A67-8EFA-417A-F7A3-93C07FDC1EA0}"/>
          </ac:spMkLst>
        </pc:spChg>
        <pc:spChg chg="mod">
          <ac:chgData name="Nataliia Chornii (UA)" userId="4e4b8b3d-5f31-49bb-9f80-8a25c04abfff" providerId="ADAL" clId="{EE97D3FE-9ACA-4467-98E5-532EC45D9D1C}" dt="2024-03-11T14:26:58.957" v="24110"/>
          <ac:spMkLst>
            <pc:docMk/>
            <pc:sldMk cId="1785961526" sldId="964"/>
            <ac:spMk id="21" creationId="{87C700E6-6609-64CB-CE3B-B58C928BE19D}"/>
          </ac:spMkLst>
        </pc:spChg>
        <pc:spChg chg="mod">
          <ac:chgData name="Nataliia Chornii (UA)" userId="4e4b8b3d-5f31-49bb-9f80-8a25c04abfff" providerId="ADAL" clId="{EE97D3FE-9ACA-4467-98E5-532EC45D9D1C}" dt="2024-03-11T14:26:58.957" v="24110"/>
          <ac:spMkLst>
            <pc:docMk/>
            <pc:sldMk cId="1785961526" sldId="964"/>
            <ac:spMk id="22" creationId="{96B88103-10B2-C35E-D127-6A8408C199E9}"/>
          </ac:spMkLst>
        </pc:spChg>
        <pc:spChg chg="add mod">
          <ac:chgData name="Nataliia Chornii (UA)" userId="4e4b8b3d-5f31-49bb-9f80-8a25c04abfff" providerId="ADAL" clId="{EE97D3FE-9ACA-4467-98E5-532EC45D9D1C}" dt="2024-03-11T14:34:03.053" v="25036"/>
          <ac:spMkLst>
            <pc:docMk/>
            <pc:sldMk cId="1785961526" sldId="964"/>
            <ac:spMk id="23" creationId="{DC3639F2-FAC5-DA12-818F-826192DCE10F}"/>
          </ac:spMkLst>
        </pc:spChg>
        <pc:grpChg chg="add mod">
          <ac:chgData name="Nataliia Chornii (UA)" userId="4e4b8b3d-5f31-49bb-9f80-8a25c04abfff" providerId="ADAL" clId="{EE97D3FE-9ACA-4467-98E5-532EC45D9D1C}" dt="2024-03-11T14:26:58.957" v="24110"/>
          <ac:grpSpMkLst>
            <pc:docMk/>
            <pc:sldMk cId="1785961526" sldId="964"/>
            <ac:grpSpMk id="6" creationId="{F8DC2B36-F945-99C2-8710-1BD7F3813485}"/>
          </ac:grpSpMkLst>
        </pc:grpChg>
      </pc:sldChg>
      <pc:sldChg chg="addSp modSp">
        <pc:chgData name="Nataliia Chornii (UA)" userId="4e4b8b3d-5f31-49bb-9f80-8a25c04abfff" providerId="ADAL" clId="{EE97D3FE-9ACA-4467-98E5-532EC45D9D1C}" dt="2024-03-11T14:27:02.939" v="24113"/>
        <pc:sldMkLst>
          <pc:docMk/>
          <pc:sldMk cId="3788013194" sldId="965"/>
        </pc:sldMkLst>
        <pc:spChg chg="add mod">
          <ac:chgData name="Nataliia Chornii (UA)" userId="4e4b8b3d-5f31-49bb-9f80-8a25c04abfff" providerId="ADAL" clId="{EE97D3FE-9ACA-4467-98E5-532EC45D9D1C}" dt="2024-03-11T14:27:02.939" v="24113"/>
          <ac:spMkLst>
            <pc:docMk/>
            <pc:sldMk cId="3788013194" sldId="965"/>
            <ac:spMk id="2" creationId="{6E1B2AB8-E92F-2ADE-A05F-E56CA9F1158F}"/>
          </ac:spMkLst>
        </pc:spChg>
        <pc:spChg chg="mod">
          <ac:chgData name="Nataliia Chornii (UA)" userId="4e4b8b3d-5f31-49bb-9f80-8a25c04abfff" providerId="ADAL" clId="{EE97D3FE-9ACA-4467-98E5-532EC45D9D1C}" dt="2024-03-11T14:27:02.939" v="24113"/>
          <ac:spMkLst>
            <pc:docMk/>
            <pc:sldMk cId="3788013194" sldId="965"/>
            <ac:spMk id="7" creationId="{9371B167-13F8-0144-D5B3-F6CA02B823A2}"/>
          </ac:spMkLst>
        </pc:spChg>
        <pc:spChg chg="mod">
          <ac:chgData name="Nataliia Chornii (UA)" userId="4e4b8b3d-5f31-49bb-9f80-8a25c04abfff" providerId="ADAL" clId="{EE97D3FE-9ACA-4467-98E5-532EC45D9D1C}" dt="2024-03-11T14:27:02.939" v="24113"/>
          <ac:spMkLst>
            <pc:docMk/>
            <pc:sldMk cId="3788013194" sldId="965"/>
            <ac:spMk id="11" creationId="{4D2C03E9-93F6-A54E-B9D1-B5D6D13B4246}"/>
          </ac:spMkLst>
        </pc:spChg>
        <pc:spChg chg="mod">
          <ac:chgData name="Nataliia Chornii (UA)" userId="4e4b8b3d-5f31-49bb-9f80-8a25c04abfff" providerId="ADAL" clId="{EE97D3FE-9ACA-4467-98E5-532EC45D9D1C}" dt="2024-03-11T14:27:02.939" v="24113"/>
          <ac:spMkLst>
            <pc:docMk/>
            <pc:sldMk cId="3788013194" sldId="965"/>
            <ac:spMk id="19" creationId="{CE213EF1-65DE-20EE-674C-AEB98D23CC87}"/>
          </ac:spMkLst>
        </pc:spChg>
        <pc:spChg chg="mod">
          <ac:chgData name="Nataliia Chornii (UA)" userId="4e4b8b3d-5f31-49bb-9f80-8a25c04abfff" providerId="ADAL" clId="{EE97D3FE-9ACA-4467-98E5-532EC45D9D1C}" dt="2024-03-11T14:27:02.939" v="24113"/>
          <ac:spMkLst>
            <pc:docMk/>
            <pc:sldMk cId="3788013194" sldId="965"/>
            <ac:spMk id="20" creationId="{3E964793-09F0-23AC-C002-9E307253A793}"/>
          </ac:spMkLst>
        </pc:spChg>
        <pc:spChg chg="mod">
          <ac:chgData name="Nataliia Chornii (UA)" userId="4e4b8b3d-5f31-49bb-9f80-8a25c04abfff" providerId="ADAL" clId="{EE97D3FE-9ACA-4467-98E5-532EC45D9D1C}" dt="2024-03-11T14:27:02.939" v="24113"/>
          <ac:spMkLst>
            <pc:docMk/>
            <pc:sldMk cId="3788013194" sldId="965"/>
            <ac:spMk id="21" creationId="{FEEF6356-A07A-0AB0-E82A-984191E6DCD4}"/>
          </ac:spMkLst>
        </pc:spChg>
        <pc:spChg chg="mod">
          <ac:chgData name="Nataliia Chornii (UA)" userId="4e4b8b3d-5f31-49bb-9f80-8a25c04abfff" providerId="ADAL" clId="{EE97D3FE-9ACA-4467-98E5-532EC45D9D1C}" dt="2024-03-11T14:27:02.939" v="24113"/>
          <ac:spMkLst>
            <pc:docMk/>
            <pc:sldMk cId="3788013194" sldId="965"/>
            <ac:spMk id="22" creationId="{1E6CAF6B-F5CC-C0EA-7422-32B7C4BDFD3C}"/>
          </ac:spMkLst>
        </pc:spChg>
        <pc:grpChg chg="add mod">
          <ac:chgData name="Nataliia Chornii (UA)" userId="4e4b8b3d-5f31-49bb-9f80-8a25c04abfff" providerId="ADAL" clId="{EE97D3FE-9ACA-4467-98E5-532EC45D9D1C}" dt="2024-03-11T14:27:02.939" v="24113"/>
          <ac:grpSpMkLst>
            <pc:docMk/>
            <pc:sldMk cId="3788013194" sldId="965"/>
            <ac:grpSpMk id="5" creationId="{B36BD8E9-DD4C-1920-C794-714187D9809E}"/>
          </ac:grpSpMkLst>
        </pc:grpChg>
      </pc:sldChg>
      <pc:sldChg chg="addSp delSp modSp mod">
        <pc:chgData name="Nataliia Chornii (UA)" userId="4e4b8b3d-5f31-49bb-9f80-8a25c04abfff" providerId="ADAL" clId="{EE97D3FE-9ACA-4467-98E5-532EC45D9D1C}" dt="2024-03-11T14:34:19.375" v="25143"/>
        <pc:sldMkLst>
          <pc:docMk/>
          <pc:sldMk cId="1812328710" sldId="966"/>
        </pc:sldMkLst>
        <pc:spChg chg="add mod ord">
          <ac:chgData name="Nataliia Chornii (UA)" userId="4e4b8b3d-5f31-49bb-9f80-8a25c04abfff" providerId="ADAL" clId="{EE97D3FE-9ACA-4467-98E5-532EC45D9D1C}" dt="2024-03-11T14:34:17.528" v="25135"/>
          <ac:spMkLst>
            <pc:docMk/>
            <pc:sldMk cId="1812328710" sldId="966"/>
            <ac:spMk id="2" creationId="{A6597E2B-AA27-A19B-A670-2C44E00740B8}"/>
          </ac:spMkLst>
        </pc:spChg>
        <pc:spChg chg="mod ord">
          <ac:chgData name="Nataliia Chornii (UA)" userId="4e4b8b3d-5f31-49bb-9f80-8a25c04abfff" providerId="ADAL" clId="{EE97D3FE-9ACA-4467-98E5-532EC45D9D1C}" dt="2024-03-11T14:34:17.528" v="25113"/>
          <ac:spMkLst>
            <pc:docMk/>
            <pc:sldMk cId="1812328710" sldId="966"/>
            <ac:spMk id="3" creationId="{F4CCF02E-F3C4-C376-8F56-61BD85A2E74B}"/>
          </ac:spMkLst>
        </pc:spChg>
        <pc:spChg chg="mod ord">
          <ac:chgData name="Nataliia Chornii (UA)" userId="4e4b8b3d-5f31-49bb-9f80-8a25c04abfff" providerId="ADAL" clId="{EE97D3FE-9ACA-4467-98E5-532EC45D9D1C}" dt="2024-03-11T14:34:17.528" v="25133"/>
          <ac:spMkLst>
            <pc:docMk/>
            <pc:sldMk cId="1812328710" sldId="966"/>
            <ac:spMk id="4" creationId="{872966CD-924A-B939-E655-A6BAF817DCBF}"/>
          </ac:spMkLst>
        </pc:spChg>
        <pc:spChg chg="del mod ord">
          <ac:chgData name="Nataliia Chornii (UA)" userId="4e4b8b3d-5f31-49bb-9f80-8a25c04abfff" providerId="ADAL" clId="{EE97D3FE-9ACA-4467-98E5-532EC45D9D1C}" dt="2024-03-11T14:34:19.107" v="25142" actId="478"/>
          <ac:spMkLst>
            <pc:docMk/>
            <pc:sldMk cId="1812328710" sldId="966"/>
            <ac:spMk id="5" creationId="{947D8C6D-59FC-B70D-62E8-4E05ED8582AC}"/>
          </ac:spMkLst>
        </pc:spChg>
        <pc:spChg chg="mod ord">
          <ac:chgData name="Nataliia Chornii (UA)" userId="4e4b8b3d-5f31-49bb-9f80-8a25c04abfff" providerId="ADAL" clId="{EE97D3FE-9ACA-4467-98E5-532EC45D9D1C}" dt="2024-03-11T14:34:17.528" v="25127"/>
          <ac:spMkLst>
            <pc:docMk/>
            <pc:sldMk cId="1812328710" sldId="966"/>
            <ac:spMk id="6" creationId="{33073C2D-7A64-3891-000E-CBC2D879D3D6}"/>
          </ac:spMkLst>
        </pc:spChg>
        <pc:spChg chg="mod ord">
          <ac:chgData name="Nataliia Chornii (UA)" userId="4e4b8b3d-5f31-49bb-9f80-8a25c04abfff" providerId="ADAL" clId="{EE97D3FE-9ACA-4467-98E5-532EC45D9D1C}" dt="2024-03-11T14:34:17.528" v="25129"/>
          <ac:spMkLst>
            <pc:docMk/>
            <pc:sldMk cId="1812328710" sldId="966"/>
            <ac:spMk id="7" creationId="{476838B8-1342-3A4D-BDA8-A2B47757767A}"/>
          </ac:spMkLst>
        </pc:spChg>
        <pc:spChg chg="mod ord">
          <ac:chgData name="Nataliia Chornii (UA)" userId="4e4b8b3d-5f31-49bb-9f80-8a25c04abfff" providerId="ADAL" clId="{EE97D3FE-9ACA-4467-98E5-532EC45D9D1C}" dt="2024-03-11T14:34:17.528" v="25123"/>
          <ac:spMkLst>
            <pc:docMk/>
            <pc:sldMk cId="1812328710" sldId="966"/>
            <ac:spMk id="8" creationId="{8F84A1C1-A3B2-78F7-2F05-EA937E442831}"/>
          </ac:spMkLst>
        </pc:spChg>
        <pc:spChg chg="mod">
          <ac:chgData name="Nataliia Chornii (UA)" userId="4e4b8b3d-5f31-49bb-9f80-8a25c04abfff" providerId="ADAL" clId="{EE97D3FE-9ACA-4467-98E5-532EC45D9D1C}" dt="2024-03-11T14:27:06.800" v="24116"/>
          <ac:spMkLst>
            <pc:docMk/>
            <pc:sldMk cId="1812328710" sldId="966"/>
            <ac:spMk id="15" creationId="{B7305523-7F8F-88A6-B858-3A81F582633A}"/>
          </ac:spMkLst>
        </pc:spChg>
        <pc:spChg chg="mod ord">
          <ac:chgData name="Nataliia Chornii (UA)" userId="4e4b8b3d-5f31-49bb-9f80-8a25c04abfff" providerId="ADAL" clId="{EE97D3FE-9ACA-4467-98E5-532EC45D9D1C}" dt="2024-03-11T14:34:17.528" v="25111"/>
          <ac:spMkLst>
            <pc:docMk/>
            <pc:sldMk cId="1812328710" sldId="966"/>
            <ac:spMk id="17" creationId="{CFE25C31-2E0D-B821-CD9F-08F679B602F1}"/>
          </ac:spMkLst>
        </pc:spChg>
        <pc:spChg chg="mod">
          <ac:chgData name="Nataliia Chornii (UA)" userId="4e4b8b3d-5f31-49bb-9f80-8a25c04abfff" providerId="ADAL" clId="{EE97D3FE-9ACA-4467-98E5-532EC45D9D1C}" dt="2024-03-11T14:27:06.800" v="24116"/>
          <ac:spMkLst>
            <pc:docMk/>
            <pc:sldMk cId="1812328710" sldId="966"/>
            <ac:spMk id="18" creationId="{6D9E12E9-E4BD-F3AA-9F14-5502D01D7518}"/>
          </ac:spMkLst>
        </pc:spChg>
        <pc:spChg chg="mod">
          <ac:chgData name="Nataliia Chornii (UA)" userId="4e4b8b3d-5f31-49bb-9f80-8a25c04abfff" providerId="ADAL" clId="{EE97D3FE-9ACA-4467-98E5-532EC45D9D1C}" dt="2024-03-11T14:27:06.800" v="24116"/>
          <ac:spMkLst>
            <pc:docMk/>
            <pc:sldMk cId="1812328710" sldId="966"/>
            <ac:spMk id="19" creationId="{334E5C37-3488-A6B5-154B-9D1B71CE077E}"/>
          </ac:spMkLst>
        </pc:spChg>
        <pc:spChg chg="mod">
          <ac:chgData name="Nataliia Chornii (UA)" userId="4e4b8b3d-5f31-49bb-9f80-8a25c04abfff" providerId="ADAL" clId="{EE97D3FE-9ACA-4467-98E5-532EC45D9D1C}" dt="2024-03-11T14:27:06.800" v="24116"/>
          <ac:spMkLst>
            <pc:docMk/>
            <pc:sldMk cId="1812328710" sldId="966"/>
            <ac:spMk id="20" creationId="{97E592A4-626F-8146-5FE6-292A74E4348A}"/>
          </ac:spMkLst>
        </pc:spChg>
        <pc:spChg chg="mod">
          <ac:chgData name="Nataliia Chornii (UA)" userId="4e4b8b3d-5f31-49bb-9f80-8a25c04abfff" providerId="ADAL" clId="{EE97D3FE-9ACA-4467-98E5-532EC45D9D1C}" dt="2024-03-11T14:27:06.800" v="24116"/>
          <ac:spMkLst>
            <pc:docMk/>
            <pc:sldMk cId="1812328710" sldId="966"/>
            <ac:spMk id="21" creationId="{DE854132-859D-89D8-5838-D73F792C8775}"/>
          </ac:spMkLst>
        </pc:spChg>
        <pc:spChg chg="mod">
          <ac:chgData name="Nataliia Chornii (UA)" userId="4e4b8b3d-5f31-49bb-9f80-8a25c04abfff" providerId="ADAL" clId="{EE97D3FE-9ACA-4467-98E5-532EC45D9D1C}" dt="2024-03-11T14:27:06.800" v="24116"/>
          <ac:spMkLst>
            <pc:docMk/>
            <pc:sldMk cId="1812328710" sldId="966"/>
            <ac:spMk id="22" creationId="{5A0211A2-232F-6C31-8031-AA40CC3F34A9}"/>
          </ac:spMkLst>
        </pc:spChg>
        <pc:spChg chg="add del mod modVis">
          <ac:chgData name="Nataliia Chornii (UA)" userId="4e4b8b3d-5f31-49bb-9f80-8a25c04abfff" providerId="ADAL" clId="{EE97D3FE-9ACA-4467-98E5-532EC45D9D1C}" dt="2024-03-11T14:34:16.190" v="25104"/>
          <ac:spMkLst>
            <pc:docMk/>
            <pc:sldMk cId="1812328710" sldId="966"/>
            <ac:spMk id="23" creationId="{E133FAC6-5856-394F-55E7-40F24B395F89}"/>
          </ac:spMkLst>
        </pc:spChg>
        <pc:spChg chg="add mod">
          <ac:chgData name="Nataliia Chornii (UA)" userId="4e4b8b3d-5f31-49bb-9f80-8a25c04abfff" providerId="ADAL" clId="{EE97D3FE-9ACA-4467-98E5-532EC45D9D1C}" dt="2024-03-11T14:34:19.375" v="25143"/>
          <ac:spMkLst>
            <pc:docMk/>
            <pc:sldMk cId="1812328710" sldId="966"/>
            <ac:spMk id="24" creationId="{E52BCA88-182C-349F-08F3-199990769806}"/>
          </ac:spMkLst>
        </pc:spChg>
        <pc:spChg chg="mod ord">
          <ac:chgData name="Nataliia Chornii (UA)" userId="4e4b8b3d-5f31-49bb-9f80-8a25c04abfff" providerId="ADAL" clId="{EE97D3FE-9ACA-4467-98E5-532EC45D9D1C}" dt="2024-03-11T14:34:17.528" v="25115"/>
          <ac:spMkLst>
            <pc:docMk/>
            <pc:sldMk cId="1812328710" sldId="966"/>
            <ac:spMk id="26" creationId="{5EC1F9AE-82A4-85FE-592B-EF659F76F7EC}"/>
          </ac:spMkLst>
        </pc:spChg>
        <pc:spChg chg="mod ord">
          <ac:chgData name="Nataliia Chornii (UA)" userId="4e4b8b3d-5f31-49bb-9f80-8a25c04abfff" providerId="ADAL" clId="{EE97D3FE-9ACA-4467-98E5-532EC45D9D1C}" dt="2024-03-11T14:34:17.528" v="25117"/>
          <ac:spMkLst>
            <pc:docMk/>
            <pc:sldMk cId="1812328710" sldId="966"/>
            <ac:spMk id="29" creationId="{3915AD89-6428-4A75-0915-328643F1703C}"/>
          </ac:spMkLst>
        </pc:spChg>
        <pc:spChg chg="mod ord">
          <ac:chgData name="Nataliia Chornii (UA)" userId="4e4b8b3d-5f31-49bb-9f80-8a25c04abfff" providerId="ADAL" clId="{EE97D3FE-9ACA-4467-98E5-532EC45D9D1C}" dt="2024-03-11T14:34:17.528" v="25119"/>
          <ac:spMkLst>
            <pc:docMk/>
            <pc:sldMk cId="1812328710" sldId="966"/>
            <ac:spMk id="30" creationId="{373AB206-F1F0-CC72-8C15-85605D9AF2AC}"/>
          </ac:spMkLst>
        </pc:spChg>
        <pc:spChg chg="mod ord">
          <ac:chgData name="Nataliia Chornii (UA)" userId="4e4b8b3d-5f31-49bb-9f80-8a25c04abfff" providerId="ADAL" clId="{EE97D3FE-9ACA-4467-98E5-532EC45D9D1C}" dt="2024-03-11T14:34:17.528" v="25121"/>
          <ac:spMkLst>
            <pc:docMk/>
            <pc:sldMk cId="1812328710" sldId="966"/>
            <ac:spMk id="46" creationId="{09BF84D6-F468-7005-FAB5-AA0B6AE5CFB4}"/>
          </ac:spMkLst>
        </pc:spChg>
        <pc:grpChg chg="mod ord">
          <ac:chgData name="Nataliia Chornii (UA)" userId="4e4b8b3d-5f31-49bb-9f80-8a25c04abfff" providerId="ADAL" clId="{EE97D3FE-9ACA-4467-98E5-532EC45D9D1C}" dt="2024-03-11T14:34:17.528" v="25131"/>
          <ac:grpSpMkLst>
            <pc:docMk/>
            <pc:sldMk cId="1812328710" sldId="966"/>
            <ac:grpSpMk id="9" creationId="{05942C02-ABC3-6D55-D5DF-35A9DC4B4128}"/>
          </ac:grpSpMkLst>
        </pc:grpChg>
        <pc:grpChg chg="add mod ord">
          <ac:chgData name="Nataliia Chornii (UA)" userId="4e4b8b3d-5f31-49bb-9f80-8a25c04abfff" providerId="ADAL" clId="{EE97D3FE-9ACA-4467-98E5-532EC45D9D1C}" dt="2024-03-11T14:34:17.528" v="25137"/>
          <ac:grpSpMkLst>
            <pc:docMk/>
            <pc:sldMk cId="1812328710" sldId="966"/>
            <ac:grpSpMk id="10" creationId="{34AFC9CC-F4B6-1952-9C33-4822476B3794}"/>
          </ac:grpSpMkLst>
        </pc:grpChg>
        <pc:graphicFrameChg chg="mod">
          <ac:chgData name="Nataliia Chornii (UA)" userId="4e4b8b3d-5f31-49bb-9f80-8a25c04abfff" providerId="ADAL" clId="{EE97D3FE-9ACA-4467-98E5-532EC45D9D1C}" dt="2024-03-11T14:34:17.543" v="25141"/>
          <ac:graphicFrameMkLst>
            <pc:docMk/>
            <pc:sldMk cId="1812328710" sldId="966"/>
            <ac:graphicFrameMk id="12" creationId="{F6E6AF23-7B86-113A-F559-513B41FEC1FE}"/>
          </ac:graphicFrameMkLst>
        </pc:graphicFrameChg>
        <pc:picChg chg="mod ord">
          <ac:chgData name="Nataliia Chornii (UA)" userId="4e4b8b3d-5f31-49bb-9f80-8a25c04abfff" providerId="ADAL" clId="{EE97D3FE-9ACA-4467-98E5-532EC45D9D1C}" dt="2024-03-11T14:34:17.528" v="25109"/>
          <ac:picMkLst>
            <pc:docMk/>
            <pc:sldMk cId="1812328710" sldId="966"/>
            <ac:picMk id="16" creationId="{BEC14796-3D14-4E06-C7DF-C8049A12DCC1}"/>
          </ac:picMkLst>
        </pc:picChg>
      </pc:sldChg>
      <pc:sldChg chg="addSp delSp modSp add del mod">
        <pc:chgData name="Nataliia Chornii (UA)" userId="4e4b8b3d-5f31-49bb-9f80-8a25c04abfff" providerId="ADAL" clId="{EE97D3FE-9ACA-4467-98E5-532EC45D9D1C}" dt="2024-03-11T14:20:37.047" v="23956" actId="47"/>
        <pc:sldMkLst>
          <pc:docMk/>
          <pc:sldMk cId="4154961774" sldId="967"/>
        </pc:sldMkLst>
        <pc:spChg chg="mod">
          <ac:chgData name="Nataliia Chornii (UA)" userId="4e4b8b3d-5f31-49bb-9f80-8a25c04abfff" providerId="ADAL" clId="{EE97D3FE-9ACA-4467-98E5-532EC45D9D1C}" dt="2024-03-11T14:10:21.018" v="23552" actId="948"/>
          <ac:spMkLst>
            <pc:docMk/>
            <pc:sldMk cId="4154961774" sldId="967"/>
            <ac:spMk id="3" creationId="{AAFE076C-9B8C-9BB3-8680-7E4B60DEC21C}"/>
          </ac:spMkLst>
        </pc:spChg>
        <pc:spChg chg="mod topLvl">
          <ac:chgData name="Nataliia Chornii (UA)" userId="4e4b8b3d-5f31-49bb-9f80-8a25c04abfff" providerId="ADAL" clId="{EE97D3FE-9ACA-4467-98E5-532EC45D9D1C}" dt="2024-03-11T14:13:39.281" v="23609" actId="3064"/>
          <ac:spMkLst>
            <pc:docMk/>
            <pc:sldMk cId="4154961774" sldId="967"/>
            <ac:spMk id="28" creationId="{5064B5A9-52F3-41A2-AF96-FFD5338C92F3}"/>
          </ac:spMkLst>
        </pc:spChg>
        <pc:spChg chg="add del mod modVis">
          <ac:chgData name="Nataliia Chornii (UA)" userId="4e4b8b3d-5f31-49bb-9f80-8a25c04abfff" providerId="ADAL" clId="{EE97D3FE-9ACA-4467-98E5-532EC45D9D1C}" dt="2024-03-11T14:10:16.887" v="23549"/>
          <ac:spMkLst>
            <pc:docMk/>
            <pc:sldMk cId="4154961774" sldId="967"/>
            <ac:spMk id="29" creationId="{2676FAF9-D54E-6A41-7649-EB7321605EA3}"/>
          </ac:spMkLst>
        </pc:spChg>
        <pc:spChg chg="add mod">
          <ac:chgData name="Nataliia Chornii (UA)" userId="4e4b8b3d-5f31-49bb-9f80-8a25c04abfff" providerId="ADAL" clId="{EE97D3FE-9ACA-4467-98E5-532EC45D9D1C}" dt="2024-03-11T14:13:37.379" v="23607" actId="207"/>
          <ac:spMkLst>
            <pc:docMk/>
            <pc:sldMk cId="4154961774" sldId="967"/>
            <ac:spMk id="31" creationId="{C45681CB-7BD2-584D-F298-47BD07E13A81}"/>
          </ac:spMkLst>
        </pc:spChg>
        <pc:spChg chg="add del mod">
          <ac:chgData name="Nataliia Chornii (UA)" userId="4e4b8b3d-5f31-49bb-9f80-8a25c04abfff" providerId="ADAL" clId="{EE97D3FE-9ACA-4467-98E5-532EC45D9D1C}" dt="2024-03-11T14:13:37.379" v="23607" actId="207"/>
          <ac:spMkLst>
            <pc:docMk/>
            <pc:sldMk cId="4154961774" sldId="967"/>
            <ac:spMk id="32" creationId="{6B5545EF-0636-5117-5CB3-190D22484886}"/>
          </ac:spMkLst>
        </pc:spChg>
        <pc:spChg chg="mod topLvl">
          <ac:chgData name="Nataliia Chornii (UA)" userId="4e4b8b3d-5f31-49bb-9f80-8a25c04abfff" providerId="ADAL" clId="{EE97D3FE-9ACA-4467-98E5-532EC45D9D1C}" dt="2024-03-11T14:13:39.281" v="23609" actId="3064"/>
          <ac:spMkLst>
            <pc:docMk/>
            <pc:sldMk cId="4154961774" sldId="967"/>
            <ac:spMk id="39" creationId="{FD0FA554-773D-9959-6DCA-0B871496783A}"/>
          </ac:spMkLst>
        </pc:spChg>
        <pc:grpChg chg="add del mod">
          <ac:chgData name="Nataliia Chornii (UA)" userId="4e4b8b3d-5f31-49bb-9f80-8a25c04abfff" providerId="ADAL" clId="{EE97D3FE-9ACA-4467-98E5-532EC45D9D1C}" dt="2024-03-11T14:11:10.836" v="23574" actId="165"/>
          <ac:grpSpMkLst>
            <pc:docMk/>
            <pc:sldMk cId="4154961774" sldId="967"/>
            <ac:grpSpMk id="30" creationId="{73017B6D-5795-BC42-F941-CAD67D4ED9CF}"/>
          </ac:grpSpMkLst>
        </pc:grpChg>
        <pc:graphicFrameChg chg="mod">
          <ac:chgData name="Nataliia Chornii (UA)" userId="4e4b8b3d-5f31-49bb-9f80-8a25c04abfff" providerId="ADAL" clId="{EE97D3FE-9ACA-4467-98E5-532EC45D9D1C}" dt="2024-03-11T14:20:31.094" v="23955"/>
          <ac:graphicFrameMkLst>
            <pc:docMk/>
            <pc:sldMk cId="4154961774" sldId="967"/>
            <ac:graphicFrameMk id="13" creationId="{DC2DF85F-5191-4C4E-A171-D5D7BF03C769}"/>
          </ac:graphicFrameMkLst>
        </pc:graphicFrameChg>
      </pc:sldChg>
      <pc:sldMasterChg chg="addSp delSp modSp mod delSldLayout modSldLayout">
        <pc:chgData name="Nataliia Chornii (UA)" userId="4e4b8b3d-5f31-49bb-9f80-8a25c04abfff" providerId="ADAL" clId="{EE97D3FE-9ACA-4467-98E5-532EC45D9D1C}" dt="2024-03-04T13:02:22.040" v="23305" actId="2696"/>
        <pc:sldMasterMkLst>
          <pc:docMk/>
          <pc:sldMasterMk cId="3011101579" sldId="2147483723"/>
        </pc:sldMasterMkLst>
        <pc:spChg chg="mod">
          <ac:chgData name="Nataliia Chornii (UA)" userId="4e4b8b3d-5f31-49bb-9f80-8a25c04abfff" providerId="ADAL" clId="{EE97D3FE-9ACA-4467-98E5-532EC45D9D1C}" dt="2024-03-01T08:27:29.600" v="3" actId="948"/>
          <ac:spMkLst>
            <pc:docMk/>
            <pc:sldMasterMk cId="3011101579" sldId="2147483723"/>
            <ac:spMk id="2" creationId="{00000000-0000-0000-0000-000000000000}"/>
          </ac:spMkLst>
        </pc:spChg>
        <pc:spChg chg="add del mod modVis">
          <ac:chgData name="Nataliia Chornii (UA)" userId="4e4b8b3d-5f31-49bb-9f80-8a25c04abfff" providerId="ADAL" clId="{EE97D3FE-9ACA-4467-98E5-532EC45D9D1C}" dt="2024-03-01T08:27:29.745" v="41"/>
          <ac:spMkLst>
            <pc:docMk/>
            <pc:sldMasterMk cId="3011101579" sldId="2147483723"/>
            <ac:spMk id="7" creationId="{4D9D4A16-66B4-3128-09C9-E320FE81883C}"/>
          </ac:spMkLst>
        </pc:spChg>
        <pc:spChg chg="del">
          <ac:chgData name="Nataliia Chornii (UA)" userId="4e4b8b3d-5f31-49bb-9f80-8a25c04abfff" providerId="ADAL" clId="{EE97D3FE-9ACA-4467-98E5-532EC45D9D1C}" dt="2024-03-01T09:07:00.007" v="7859" actId="478"/>
          <ac:spMkLst>
            <pc:docMk/>
            <pc:sldMasterMk cId="3011101579" sldId="2147483723"/>
            <ac:spMk id="8" creationId="{00000000-0000-0000-0000-000000000000}"/>
          </ac:spMkLst>
        </pc:spChg>
        <pc:graphicFrameChg chg="add mod ord modVis replST">
          <ac:chgData name="Nataliia Chornii (UA)" userId="4e4b8b3d-5f31-49bb-9f80-8a25c04abfff" providerId="ADAL" clId="{EE97D3FE-9ACA-4467-98E5-532EC45D9D1C}" dt="2024-03-01T08:27:29.794" v="56"/>
          <ac:graphicFrameMkLst>
            <pc:docMk/>
            <pc:sldMasterMk cId="3011101579" sldId="2147483723"/>
            <ac:graphicFrameMk id="9" creationId="{BB1482CA-31CA-3B52-3F46-FD91ED32E52A}"/>
          </ac:graphicFrameMkLst>
        </pc:graphicFrameChg>
        <pc:sldLayoutChg chg="del">
          <pc:chgData name="Nataliia Chornii (UA)" userId="4e4b8b3d-5f31-49bb-9f80-8a25c04abfff" providerId="ADAL" clId="{EE97D3FE-9ACA-4467-98E5-532EC45D9D1C}" dt="2024-03-04T13:01:43.837" v="23262" actId="2696"/>
          <pc:sldLayoutMkLst>
            <pc:docMk/>
            <pc:sldMasterMk cId="3011101579" sldId="2147483723"/>
            <pc:sldLayoutMk cId="3260771726" sldId="2147483724"/>
          </pc:sldLayoutMkLst>
        </pc:sldLayoutChg>
        <pc:sldLayoutChg chg="del">
          <pc:chgData name="Nataliia Chornii (UA)" userId="4e4b8b3d-5f31-49bb-9f80-8a25c04abfff" providerId="ADAL" clId="{EE97D3FE-9ACA-4467-98E5-532EC45D9D1C}" dt="2024-03-04T13:01:44.343" v="23263" actId="2696"/>
          <pc:sldLayoutMkLst>
            <pc:docMk/>
            <pc:sldMasterMk cId="3011101579" sldId="2147483723"/>
            <pc:sldLayoutMk cId="2542230256" sldId="2147483725"/>
          </pc:sldLayoutMkLst>
        </pc:sldLayoutChg>
        <pc:sldLayoutChg chg="del">
          <pc:chgData name="Nataliia Chornii (UA)" userId="4e4b8b3d-5f31-49bb-9f80-8a25c04abfff" providerId="ADAL" clId="{EE97D3FE-9ACA-4467-98E5-532EC45D9D1C}" dt="2024-03-04T13:01:44.817" v="23264" actId="2696"/>
          <pc:sldLayoutMkLst>
            <pc:docMk/>
            <pc:sldMasterMk cId="3011101579" sldId="2147483723"/>
            <pc:sldLayoutMk cId="205800333" sldId="2147483726"/>
          </pc:sldLayoutMkLst>
        </pc:sldLayoutChg>
        <pc:sldLayoutChg chg="del">
          <pc:chgData name="Nataliia Chornii (UA)" userId="4e4b8b3d-5f31-49bb-9f80-8a25c04abfff" providerId="ADAL" clId="{EE97D3FE-9ACA-4467-98E5-532EC45D9D1C}" dt="2024-03-04T13:01:45.307" v="23265" actId="2696"/>
          <pc:sldLayoutMkLst>
            <pc:docMk/>
            <pc:sldMasterMk cId="3011101579" sldId="2147483723"/>
            <pc:sldLayoutMk cId="726920648" sldId="2147483727"/>
          </pc:sldLayoutMkLst>
        </pc:sldLayoutChg>
        <pc:sldLayoutChg chg="delSp mod">
          <pc:chgData name="Nataliia Chornii (UA)" userId="4e4b8b3d-5f31-49bb-9f80-8a25c04abfff" providerId="ADAL" clId="{EE97D3FE-9ACA-4467-98E5-532EC45D9D1C}" dt="2024-03-04T13:01:47.438" v="23266" actId="478"/>
          <pc:sldLayoutMkLst>
            <pc:docMk/>
            <pc:sldMasterMk cId="3011101579" sldId="2147483723"/>
            <pc:sldLayoutMk cId="3917376436" sldId="2147483728"/>
          </pc:sldLayoutMkLst>
          <pc:picChg chg="del">
            <ac:chgData name="Nataliia Chornii (UA)" userId="4e4b8b3d-5f31-49bb-9f80-8a25c04abfff" providerId="ADAL" clId="{EE97D3FE-9ACA-4467-98E5-532EC45D9D1C}" dt="2024-03-04T13:01:47.438" v="23266" actId="478"/>
            <ac:picMkLst>
              <pc:docMk/>
              <pc:sldMasterMk cId="3011101579" sldId="2147483723"/>
              <pc:sldLayoutMk cId="3917376436" sldId="2147483728"/>
              <ac:picMk id="5" creationId="{B067EFBB-B928-AC40-8026-93C731DCE1E1}"/>
            </ac:picMkLst>
          </pc:picChg>
        </pc:sldLayoutChg>
        <pc:sldLayoutChg chg="del">
          <pc:chgData name="Nataliia Chornii (UA)" userId="4e4b8b3d-5f31-49bb-9f80-8a25c04abfff" providerId="ADAL" clId="{EE97D3FE-9ACA-4467-98E5-532EC45D9D1C}" dt="2024-03-04T13:01:48.782" v="23267" actId="2696"/>
          <pc:sldLayoutMkLst>
            <pc:docMk/>
            <pc:sldMasterMk cId="3011101579" sldId="2147483723"/>
            <pc:sldLayoutMk cId="3649151057" sldId="2147483729"/>
          </pc:sldLayoutMkLst>
        </pc:sldLayoutChg>
        <pc:sldLayoutChg chg="del">
          <pc:chgData name="Nataliia Chornii (UA)" userId="4e4b8b3d-5f31-49bb-9f80-8a25c04abfff" providerId="ADAL" clId="{EE97D3FE-9ACA-4467-98E5-532EC45D9D1C}" dt="2024-03-04T13:01:49.384" v="23268" actId="2696"/>
          <pc:sldLayoutMkLst>
            <pc:docMk/>
            <pc:sldMasterMk cId="3011101579" sldId="2147483723"/>
            <pc:sldLayoutMk cId="3746488802" sldId="2147483730"/>
          </pc:sldLayoutMkLst>
        </pc:sldLayoutChg>
        <pc:sldLayoutChg chg="del">
          <pc:chgData name="Nataliia Chornii (UA)" userId="4e4b8b3d-5f31-49bb-9f80-8a25c04abfff" providerId="ADAL" clId="{EE97D3FE-9ACA-4467-98E5-532EC45D9D1C}" dt="2024-03-04T13:01:49.854" v="23269" actId="2696"/>
          <pc:sldLayoutMkLst>
            <pc:docMk/>
            <pc:sldMasterMk cId="3011101579" sldId="2147483723"/>
            <pc:sldLayoutMk cId="1291893499" sldId="2147483731"/>
          </pc:sldLayoutMkLst>
        </pc:sldLayoutChg>
        <pc:sldLayoutChg chg="del">
          <pc:chgData name="Nataliia Chornii (UA)" userId="4e4b8b3d-5f31-49bb-9f80-8a25c04abfff" providerId="ADAL" clId="{EE97D3FE-9ACA-4467-98E5-532EC45D9D1C}" dt="2024-03-04T13:01:50.249" v="23270" actId="2696"/>
          <pc:sldLayoutMkLst>
            <pc:docMk/>
            <pc:sldMasterMk cId="3011101579" sldId="2147483723"/>
            <pc:sldLayoutMk cId="2803711686" sldId="2147483732"/>
          </pc:sldLayoutMkLst>
        </pc:sldLayoutChg>
        <pc:sldLayoutChg chg="del">
          <pc:chgData name="Nataliia Chornii (UA)" userId="4e4b8b3d-5f31-49bb-9f80-8a25c04abfff" providerId="ADAL" clId="{EE97D3FE-9ACA-4467-98E5-532EC45D9D1C}" dt="2024-03-04T13:01:50.643" v="23271" actId="2696"/>
          <pc:sldLayoutMkLst>
            <pc:docMk/>
            <pc:sldMasterMk cId="3011101579" sldId="2147483723"/>
            <pc:sldLayoutMk cId="1886173175" sldId="2147483733"/>
          </pc:sldLayoutMkLst>
        </pc:sldLayoutChg>
        <pc:sldLayoutChg chg="del">
          <pc:chgData name="Nataliia Chornii (UA)" userId="4e4b8b3d-5f31-49bb-9f80-8a25c04abfff" providerId="ADAL" clId="{EE97D3FE-9ACA-4467-98E5-532EC45D9D1C}" dt="2024-03-04T13:01:51.054" v="23272" actId="2696"/>
          <pc:sldLayoutMkLst>
            <pc:docMk/>
            <pc:sldMasterMk cId="3011101579" sldId="2147483723"/>
            <pc:sldLayoutMk cId="1974237231" sldId="2147483734"/>
          </pc:sldLayoutMkLst>
        </pc:sldLayoutChg>
        <pc:sldLayoutChg chg="del">
          <pc:chgData name="Nataliia Chornii (UA)" userId="4e4b8b3d-5f31-49bb-9f80-8a25c04abfff" providerId="ADAL" clId="{EE97D3FE-9ACA-4467-98E5-532EC45D9D1C}" dt="2024-03-04T13:01:51.527" v="23273" actId="2696"/>
          <pc:sldLayoutMkLst>
            <pc:docMk/>
            <pc:sldMasterMk cId="3011101579" sldId="2147483723"/>
            <pc:sldLayoutMk cId="695867191" sldId="2147483735"/>
          </pc:sldLayoutMkLst>
        </pc:sldLayoutChg>
        <pc:sldLayoutChg chg="del">
          <pc:chgData name="Nataliia Chornii (UA)" userId="4e4b8b3d-5f31-49bb-9f80-8a25c04abfff" providerId="ADAL" clId="{EE97D3FE-9ACA-4467-98E5-532EC45D9D1C}" dt="2024-03-04T13:01:52.030" v="23274" actId="2696"/>
          <pc:sldLayoutMkLst>
            <pc:docMk/>
            <pc:sldMasterMk cId="3011101579" sldId="2147483723"/>
            <pc:sldLayoutMk cId="1343462460" sldId="2147483736"/>
          </pc:sldLayoutMkLst>
        </pc:sldLayoutChg>
        <pc:sldLayoutChg chg="del">
          <pc:chgData name="Nataliia Chornii (UA)" userId="4e4b8b3d-5f31-49bb-9f80-8a25c04abfff" providerId="ADAL" clId="{EE97D3FE-9ACA-4467-98E5-532EC45D9D1C}" dt="2024-03-04T13:01:52.347" v="23275" actId="2696"/>
          <pc:sldLayoutMkLst>
            <pc:docMk/>
            <pc:sldMasterMk cId="3011101579" sldId="2147483723"/>
            <pc:sldLayoutMk cId="3587134479" sldId="2147483737"/>
          </pc:sldLayoutMkLst>
        </pc:sldLayoutChg>
        <pc:sldLayoutChg chg="del">
          <pc:chgData name="Nataliia Chornii (UA)" userId="4e4b8b3d-5f31-49bb-9f80-8a25c04abfff" providerId="ADAL" clId="{EE97D3FE-9ACA-4467-98E5-532EC45D9D1C}" dt="2024-03-04T13:01:52.678" v="23276" actId="2696"/>
          <pc:sldLayoutMkLst>
            <pc:docMk/>
            <pc:sldMasterMk cId="3011101579" sldId="2147483723"/>
            <pc:sldLayoutMk cId="3395183948" sldId="2147483738"/>
          </pc:sldLayoutMkLst>
        </pc:sldLayoutChg>
        <pc:sldLayoutChg chg="del">
          <pc:chgData name="Nataliia Chornii (UA)" userId="4e4b8b3d-5f31-49bb-9f80-8a25c04abfff" providerId="ADAL" clId="{EE97D3FE-9ACA-4467-98E5-532EC45D9D1C}" dt="2024-03-04T13:01:53.308" v="23277" actId="2696"/>
          <pc:sldLayoutMkLst>
            <pc:docMk/>
            <pc:sldMasterMk cId="3011101579" sldId="2147483723"/>
            <pc:sldLayoutMk cId="1948574040" sldId="2147483739"/>
          </pc:sldLayoutMkLst>
        </pc:sldLayoutChg>
        <pc:sldLayoutChg chg="del">
          <pc:chgData name="Nataliia Chornii (UA)" userId="4e4b8b3d-5f31-49bb-9f80-8a25c04abfff" providerId="ADAL" clId="{EE97D3FE-9ACA-4467-98E5-532EC45D9D1C}" dt="2024-03-04T13:02:03.729" v="23278" actId="2696"/>
          <pc:sldLayoutMkLst>
            <pc:docMk/>
            <pc:sldMasterMk cId="3011101579" sldId="2147483723"/>
            <pc:sldLayoutMk cId="2165727502" sldId="2147483744"/>
          </pc:sldLayoutMkLst>
        </pc:sldLayoutChg>
        <pc:sldLayoutChg chg="del">
          <pc:chgData name="Nataliia Chornii (UA)" userId="4e4b8b3d-5f31-49bb-9f80-8a25c04abfff" providerId="ADAL" clId="{EE97D3FE-9ACA-4467-98E5-532EC45D9D1C}" dt="2024-03-04T13:02:04.803" v="23279" actId="2696"/>
          <pc:sldLayoutMkLst>
            <pc:docMk/>
            <pc:sldMasterMk cId="3011101579" sldId="2147483723"/>
            <pc:sldLayoutMk cId="31623870" sldId="2147483745"/>
          </pc:sldLayoutMkLst>
        </pc:sldLayoutChg>
        <pc:sldLayoutChg chg="del">
          <pc:chgData name="Nataliia Chornii (UA)" userId="4e4b8b3d-5f31-49bb-9f80-8a25c04abfff" providerId="ADAL" clId="{EE97D3FE-9ACA-4467-98E5-532EC45D9D1C}" dt="2024-03-04T13:02:05.497" v="23280" actId="2696"/>
          <pc:sldLayoutMkLst>
            <pc:docMk/>
            <pc:sldMasterMk cId="3011101579" sldId="2147483723"/>
            <pc:sldLayoutMk cId="2323019015" sldId="2147483746"/>
          </pc:sldLayoutMkLst>
        </pc:sldLayoutChg>
        <pc:sldLayoutChg chg="del">
          <pc:chgData name="Nataliia Chornii (UA)" userId="4e4b8b3d-5f31-49bb-9f80-8a25c04abfff" providerId="ADAL" clId="{EE97D3FE-9ACA-4467-98E5-532EC45D9D1C}" dt="2024-03-04T13:02:05.830" v="23281" actId="2696"/>
          <pc:sldLayoutMkLst>
            <pc:docMk/>
            <pc:sldMasterMk cId="3011101579" sldId="2147483723"/>
            <pc:sldLayoutMk cId="1139664725" sldId="2147483747"/>
          </pc:sldLayoutMkLst>
        </pc:sldLayoutChg>
        <pc:sldLayoutChg chg="del">
          <pc:chgData name="Nataliia Chornii (UA)" userId="4e4b8b3d-5f31-49bb-9f80-8a25c04abfff" providerId="ADAL" clId="{EE97D3FE-9ACA-4467-98E5-532EC45D9D1C}" dt="2024-03-04T13:02:07.104" v="23282" actId="2696"/>
          <pc:sldLayoutMkLst>
            <pc:docMk/>
            <pc:sldMasterMk cId="3011101579" sldId="2147483723"/>
            <pc:sldLayoutMk cId="1045707198" sldId="2147483748"/>
          </pc:sldLayoutMkLst>
        </pc:sldLayoutChg>
        <pc:sldLayoutChg chg="del">
          <pc:chgData name="Nataliia Chornii (UA)" userId="4e4b8b3d-5f31-49bb-9f80-8a25c04abfff" providerId="ADAL" clId="{EE97D3FE-9ACA-4467-98E5-532EC45D9D1C}" dt="2024-03-04T13:02:07.549" v="23283" actId="2696"/>
          <pc:sldLayoutMkLst>
            <pc:docMk/>
            <pc:sldMasterMk cId="3011101579" sldId="2147483723"/>
            <pc:sldLayoutMk cId="2335327034" sldId="2147483749"/>
          </pc:sldLayoutMkLst>
        </pc:sldLayoutChg>
        <pc:sldLayoutChg chg="del">
          <pc:chgData name="Nataliia Chornii (UA)" userId="4e4b8b3d-5f31-49bb-9f80-8a25c04abfff" providerId="ADAL" clId="{EE97D3FE-9ACA-4467-98E5-532EC45D9D1C}" dt="2024-03-04T13:02:09.949" v="23284" actId="2696"/>
          <pc:sldLayoutMkLst>
            <pc:docMk/>
            <pc:sldMasterMk cId="3011101579" sldId="2147483723"/>
            <pc:sldLayoutMk cId="3532200888" sldId="2147483751"/>
          </pc:sldLayoutMkLst>
        </pc:sldLayoutChg>
        <pc:sldLayoutChg chg="del">
          <pc:chgData name="Nataliia Chornii (UA)" userId="4e4b8b3d-5f31-49bb-9f80-8a25c04abfff" providerId="ADAL" clId="{EE97D3FE-9ACA-4467-98E5-532EC45D9D1C}" dt="2024-03-04T13:02:10.662" v="23285" actId="2696"/>
          <pc:sldLayoutMkLst>
            <pc:docMk/>
            <pc:sldMasterMk cId="3011101579" sldId="2147483723"/>
            <pc:sldLayoutMk cId="1034817547" sldId="2147483752"/>
          </pc:sldLayoutMkLst>
        </pc:sldLayoutChg>
        <pc:sldLayoutChg chg="del">
          <pc:chgData name="Nataliia Chornii (UA)" userId="4e4b8b3d-5f31-49bb-9f80-8a25c04abfff" providerId="ADAL" clId="{EE97D3FE-9ACA-4467-98E5-532EC45D9D1C}" dt="2024-03-04T13:02:11.109" v="23286" actId="2696"/>
          <pc:sldLayoutMkLst>
            <pc:docMk/>
            <pc:sldMasterMk cId="3011101579" sldId="2147483723"/>
            <pc:sldLayoutMk cId="2919097541" sldId="2147483753"/>
          </pc:sldLayoutMkLst>
        </pc:sldLayoutChg>
        <pc:sldLayoutChg chg="del">
          <pc:chgData name="Nataliia Chornii (UA)" userId="4e4b8b3d-5f31-49bb-9f80-8a25c04abfff" providerId="ADAL" clId="{EE97D3FE-9ACA-4467-98E5-532EC45D9D1C}" dt="2024-03-04T13:02:11.441" v="23287" actId="2696"/>
          <pc:sldLayoutMkLst>
            <pc:docMk/>
            <pc:sldMasterMk cId="3011101579" sldId="2147483723"/>
            <pc:sldLayoutMk cId="4663278" sldId="2147483754"/>
          </pc:sldLayoutMkLst>
        </pc:sldLayoutChg>
        <pc:sldLayoutChg chg="del">
          <pc:chgData name="Nataliia Chornii (UA)" userId="4e4b8b3d-5f31-49bb-9f80-8a25c04abfff" providerId="ADAL" clId="{EE97D3FE-9ACA-4467-98E5-532EC45D9D1C}" dt="2024-03-04T13:02:12.589" v="23288" actId="2696"/>
          <pc:sldLayoutMkLst>
            <pc:docMk/>
            <pc:sldMasterMk cId="3011101579" sldId="2147483723"/>
            <pc:sldLayoutMk cId="11233039" sldId="2147483755"/>
          </pc:sldLayoutMkLst>
        </pc:sldLayoutChg>
        <pc:sldLayoutChg chg="del">
          <pc:chgData name="Nataliia Chornii (UA)" userId="4e4b8b3d-5f31-49bb-9f80-8a25c04abfff" providerId="ADAL" clId="{EE97D3FE-9ACA-4467-98E5-532EC45D9D1C}" dt="2024-03-04T13:02:13.064" v="23289" actId="2696"/>
          <pc:sldLayoutMkLst>
            <pc:docMk/>
            <pc:sldMasterMk cId="3011101579" sldId="2147483723"/>
            <pc:sldLayoutMk cId="3641426661" sldId="2147483756"/>
          </pc:sldLayoutMkLst>
        </pc:sldLayoutChg>
        <pc:sldLayoutChg chg="del">
          <pc:chgData name="Nataliia Chornii (UA)" userId="4e4b8b3d-5f31-49bb-9f80-8a25c04abfff" providerId="ADAL" clId="{EE97D3FE-9ACA-4467-98E5-532EC45D9D1C}" dt="2024-03-04T13:02:13.439" v="23290" actId="2696"/>
          <pc:sldLayoutMkLst>
            <pc:docMk/>
            <pc:sldMasterMk cId="3011101579" sldId="2147483723"/>
            <pc:sldLayoutMk cId="1556111294" sldId="2147483757"/>
          </pc:sldLayoutMkLst>
        </pc:sldLayoutChg>
        <pc:sldLayoutChg chg="del">
          <pc:chgData name="Nataliia Chornii (UA)" userId="4e4b8b3d-5f31-49bb-9f80-8a25c04abfff" providerId="ADAL" clId="{EE97D3FE-9ACA-4467-98E5-532EC45D9D1C}" dt="2024-03-04T13:02:14.291" v="23291" actId="2696"/>
          <pc:sldLayoutMkLst>
            <pc:docMk/>
            <pc:sldMasterMk cId="3011101579" sldId="2147483723"/>
            <pc:sldLayoutMk cId="552856060" sldId="2147483758"/>
          </pc:sldLayoutMkLst>
        </pc:sldLayoutChg>
        <pc:sldLayoutChg chg="del">
          <pc:chgData name="Nataliia Chornii (UA)" userId="4e4b8b3d-5f31-49bb-9f80-8a25c04abfff" providerId="ADAL" clId="{EE97D3FE-9ACA-4467-98E5-532EC45D9D1C}" dt="2024-03-04T13:02:14.622" v="23292" actId="2696"/>
          <pc:sldLayoutMkLst>
            <pc:docMk/>
            <pc:sldMasterMk cId="3011101579" sldId="2147483723"/>
            <pc:sldLayoutMk cId="2543479323" sldId="2147483759"/>
          </pc:sldLayoutMkLst>
        </pc:sldLayoutChg>
        <pc:sldLayoutChg chg="del">
          <pc:chgData name="Nataliia Chornii (UA)" userId="4e4b8b3d-5f31-49bb-9f80-8a25c04abfff" providerId="ADAL" clId="{EE97D3FE-9ACA-4467-98E5-532EC45D9D1C}" dt="2024-03-04T13:02:14.971" v="23293" actId="2696"/>
          <pc:sldLayoutMkLst>
            <pc:docMk/>
            <pc:sldMasterMk cId="3011101579" sldId="2147483723"/>
            <pc:sldLayoutMk cId="3129817039" sldId="2147483760"/>
          </pc:sldLayoutMkLst>
        </pc:sldLayoutChg>
        <pc:sldLayoutChg chg="del">
          <pc:chgData name="Nataliia Chornii (UA)" userId="4e4b8b3d-5f31-49bb-9f80-8a25c04abfff" providerId="ADAL" clId="{EE97D3FE-9ACA-4467-98E5-532EC45D9D1C}" dt="2024-03-04T13:02:15.648" v="23294" actId="2696"/>
          <pc:sldLayoutMkLst>
            <pc:docMk/>
            <pc:sldMasterMk cId="3011101579" sldId="2147483723"/>
            <pc:sldLayoutMk cId="1127466074" sldId="2147483761"/>
          </pc:sldLayoutMkLst>
        </pc:sldLayoutChg>
        <pc:sldLayoutChg chg="del">
          <pc:chgData name="Nataliia Chornii (UA)" userId="4e4b8b3d-5f31-49bb-9f80-8a25c04abfff" providerId="ADAL" clId="{EE97D3FE-9ACA-4467-98E5-532EC45D9D1C}" dt="2024-03-04T13:02:16.106" v="23295" actId="2696"/>
          <pc:sldLayoutMkLst>
            <pc:docMk/>
            <pc:sldMasterMk cId="3011101579" sldId="2147483723"/>
            <pc:sldLayoutMk cId="726970495" sldId="2147483762"/>
          </pc:sldLayoutMkLst>
        </pc:sldLayoutChg>
        <pc:sldLayoutChg chg="del">
          <pc:chgData name="Nataliia Chornii (UA)" userId="4e4b8b3d-5f31-49bb-9f80-8a25c04abfff" providerId="ADAL" clId="{EE97D3FE-9ACA-4467-98E5-532EC45D9D1C}" dt="2024-03-04T13:02:17.163" v="23296" actId="2696"/>
          <pc:sldLayoutMkLst>
            <pc:docMk/>
            <pc:sldMasterMk cId="3011101579" sldId="2147483723"/>
            <pc:sldLayoutMk cId="1512142920" sldId="2147483763"/>
          </pc:sldLayoutMkLst>
        </pc:sldLayoutChg>
        <pc:sldLayoutChg chg="del">
          <pc:chgData name="Nataliia Chornii (UA)" userId="4e4b8b3d-5f31-49bb-9f80-8a25c04abfff" providerId="ADAL" clId="{EE97D3FE-9ACA-4467-98E5-532EC45D9D1C}" dt="2024-03-04T13:02:17.511" v="23297" actId="2696"/>
          <pc:sldLayoutMkLst>
            <pc:docMk/>
            <pc:sldMasterMk cId="3011101579" sldId="2147483723"/>
            <pc:sldLayoutMk cId="911374972" sldId="2147483764"/>
          </pc:sldLayoutMkLst>
        </pc:sldLayoutChg>
        <pc:sldLayoutChg chg="del">
          <pc:chgData name="Nataliia Chornii (UA)" userId="4e4b8b3d-5f31-49bb-9f80-8a25c04abfff" providerId="ADAL" clId="{EE97D3FE-9ACA-4467-98E5-532EC45D9D1C}" dt="2024-03-04T13:02:18.377" v="23298" actId="2696"/>
          <pc:sldLayoutMkLst>
            <pc:docMk/>
            <pc:sldMasterMk cId="3011101579" sldId="2147483723"/>
            <pc:sldLayoutMk cId="1444418572" sldId="2147483765"/>
          </pc:sldLayoutMkLst>
        </pc:sldLayoutChg>
        <pc:sldLayoutChg chg="del">
          <pc:chgData name="Nataliia Chornii (UA)" userId="4e4b8b3d-5f31-49bb-9f80-8a25c04abfff" providerId="ADAL" clId="{EE97D3FE-9ACA-4467-98E5-532EC45D9D1C}" dt="2024-03-04T13:02:18.959" v="23299" actId="2696"/>
          <pc:sldLayoutMkLst>
            <pc:docMk/>
            <pc:sldMasterMk cId="3011101579" sldId="2147483723"/>
            <pc:sldLayoutMk cId="626635183" sldId="2147483766"/>
          </pc:sldLayoutMkLst>
        </pc:sldLayoutChg>
        <pc:sldLayoutChg chg="del">
          <pc:chgData name="Nataliia Chornii (UA)" userId="4e4b8b3d-5f31-49bb-9f80-8a25c04abfff" providerId="ADAL" clId="{EE97D3FE-9ACA-4467-98E5-532EC45D9D1C}" dt="2024-03-04T13:02:19.435" v="23300" actId="2696"/>
          <pc:sldLayoutMkLst>
            <pc:docMk/>
            <pc:sldMasterMk cId="3011101579" sldId="2147483723"/>
            <pc:sldLayoutMk cId="767746839" sldId="2147483767"/>
          </pc:sldLayoutMkLst>
        </pc:sldLayoutChg>
        <pc:sldLayoutChg chg="del">
          <pc:chgData name="Nataliia Chornii (UA)" userId="4e4b8b3d-5f31-49bb-9f80-8a25c04abfff" providerId="ADAL" clId="{EE97D3FE-9ACA-4467-98E5-532EC45D9D1C}" dt="2024-03-04T13:02:20.162" v="23301" actId="2696"/>
          <pc:sldLayoutMkLst>
            <pc:docMk/>
            <pc:sldMasterMk cId="3011101579" sldId="2147483723"/>
            <pc:sldLayoutMk cId="3581681609" sldId="2147483768"/>
          </pc:sldLayoutMkLst>
        </pc:sldLayoutChg>
        <pc:sldLayoutChg chg="del">
          <pc:chgData name="Nataliia Chornii (UA)" userId="4e4b8b3d-5f31-49bb-9f80-8a25c04abfff" providerId="ADAL" clId="{EE97D3FE-9ACA-4467-98E5-532EC45D9D1C}" dt="2024-03-04T13:02:20.617" v="23302" actId="2696"/>
          <pc:sldLayoutMkLst>
            <pc:docMk/>
            <pc:sldMasterMk cId="3011101579" sldId="2147483723"/>
            <pc:sldLayoutMk cId="1735232353" sldId="2147483769"/>
          </pc:sldLayoutMkLst>
        </pc:sldLayoutChg>
        <pc:sldLayoutChg chg="del">
          <pc:chgData name="Nataliia Chornii (UA)" userId="4e4b8b3d-5f31-49bb-9f80-8a25c04abfff" providerId="ADAL" clId="{EE97D3FE-9ACA-4467-98E5-532EC45D9D1C}" dt="2024-03-04T13:02:21.327" v="23303" actId="2696"/>
          <pc:sldLayoutMkLst>
            <pc:docMk/>
            <pc:sldMasterMk cId="3011101579" sldId="2147483723"/>
            <pc:sldLayoutMk cId="554471822" sldId="2147483770"/>
          </pc:sldLayoutMkLst>
        </pc:sldLayoutChg>
        <pc:sldLayoutChg chg="del">
          <pc:chgData name="Nataliia Chornii (UA)" userId="4e4b8b3d-5f31-49bb-9f80-8a25c04abfff" providerId="ADAL" clId="{EE97D3FE-9ACA-4467-98E5-532EC45D9D1C}" dt="2024-03-04T13:02:21.706" v="23304" actId="2696"/>
          <pc:sldLayoutMkLst>
            <pc:docMk/>
            <pc:sldMasterMk cId="3011101579" sldId="2147483723"/>
            <pc:sldLayoutMk cId="3874301331" sldId="2147483771"/>
          </pc:sldLayoutMkLst>
        </pc:sldLayoutChg>
        <pc:sldLayoutChg chg="del">
          <pc:chgData name="Nataliia Chornii (UA)" userId="4e4b8b3d-5f31-49bb-9f80-8a25c04abfff" providerId="ADAL" clId="{EE97D3FE-9ACA-4467-98E5-532EC45D9D1C}" dt="2024-03-04T13:02:22.040" v="23305" actId="2696"/>
          <pc:sldLayoutMkLst>
            <pc:docMk/>
            <pc:sldMasterMk cId="3011101579" sldId="2147483723"/>
            <pc:sldLayoutMk cId="873285981" sldId="2147483772"/>
          </pc:sldLayoutMkLst>
        </pc:sldLayoutChg>
        <pc:sldLayoutChg chg="del">
          <pc:chgData name="Nataliia Chornii (UA)" userId="4e4b8b3d-5f31-49bb-9f80-8a25c04abfff" providerId="ADAL" clId="{EE97D3FE-9ACA-4467-98E5-532EC45D9D1C}" dt="2024-03-04T13:01:32.200" v="23250" actId="2696"/>
          <pc:sldLayoutMkLst>
            <pc:docMk/>
            <pc:sldMasterMk cId="3011101579" sldId="2147483723"/>
            <pc:sldLayoutMk cId="3156153303" sldId="2147483773"/>
          </pc:sldLayoutMkLst>
        </pc:sldLayoutChg>
        <pc:sldLayoutChg chg="del">
          <pc:chgData name="Nataliia Chornii (UA)" userId="4e4b8b3d-5f31-49bb-9f80-8a25c04abfff" providerId="ADAL" clId="{EE97D3FE-9ACA-4467-98E5-532EC45D9D1C}" dt="2024-03-04T13:01:32.200" v="23251" actId="2696"/>
          <pc:sldLayoutMkLst>
            <pc:docMk/>
            <pc:sldMasterMk cId="3011101579" sldId="2147483723"/>
            <pc:sldLayoutMk cId="224423923" sldId="2147483774"/>
          </pc:sldLayoutMkLst>
        </pc:sldLayoutChg>
        <pc:sldLayoutChg chg="del">
          <pc:chgData name="Nataliia Chornii (UA)" userId="4e4b8b3d-5f31-49bb-9f80-8a25c04abfff" providerId="ADAL" clId="{EE97D3FE-9ACA-4467-98E5-532EC45D9D1C}" dt="2024-03-04T13:01:32.200" v="23252" actId="2696"/>
          <pc:sldLayoutMkLst>
            <pc:docMk/>
            <pc:sldMasterMk cId="3011101579" sldId="2147483723"/>
            <pc:sldLayoutMk cId="3838994459" sldId="2147483775"/>
          </pc:sldLayoutMkLst>
        </pc:sldLayoutChg>
        <pc:sldLayoutChg chg="del">
          <pc:chgData name="Nataliia Chornii (UA)" userId="4e4b8b3d-5f31-49bb-9f80-8a25c04abfff" providerId="ADAL" clId="{EE97D3FE-9ACA-4467-98E5-532EC45D9D1C}" dt="2024-03-04T13:01:32.200" v="23253" actId="2696"/>
          <pc:sldLayoutMkLst>
            <pc:docMk/>
            <pc:sldMasterMk cId="3011101579" sldId="2147483723"/>
            <pc:sldLayoutMk cId="956678414" sldId="2147483776"/>
          </pc:sldLayoutMkLst>
        </pc:sldLayoutChg>
        <pc:sldLayoutChg chg="del">
          <pc:chgData name="Nataliia Chornii (UA)" userId="4e4b8b3d-5f31-49bb-9f80-8a25c04abfff" providerId="ADAL" clId="{EE97D3FE-9ACA-4467-98E5-532EC45D9D1C}" dt="2024-03-04T13:01:32.216" v="23254" actId="2696"/>
          <pc:sldLayoutMkLst>
            <pc:docMk/>
            <pc:sldMasterMk cId="3011101579" sldId="2147483723"/>
            <pc:sldLayoutMk cId="2692726678" sldId="2147483777"/>
          </pc:sldLayoutMkLst>
        </pc:sldLayoutChg>
        <pc:sldLayoutChg chg="del">
          <pc:chgData name="Nataliia Chornii (UA)" userId="4e4b8b3d-5f31-49bb-9f80-8a25c04abfff" providerId="ADAL" clId="{EE97D3FE-9ACA-4467-98E5-532EC45D9D1C}" dt="2024-03-04T13:01:32.216" v="23255" actId="2696"/>
          <pc:sldLayoutMkLst>
            <pc:docMk/>
            <pc:sldMasterMk cId="3011101579" sldId="2147483723"/>
            <pc:sldLayoutMk cId="2375197682" sldId="2147483778"/>
          </pc:sldLayoutMkLst>
        </pc:sldLayoutChg>
        <pc:sldLayoutChg chg="del">
          <pc:chgData name="Nataliia Chornii (UA)" userId="4e4b8b3d-5f31-49bb-9f80-8a25c04abfff" providerId="ADAL" clId="{EE97D3FE-9ACA-4467-98E5-532EC45D9D1C}" dt="2024-03-04T13:01:32.216" v="23256" actId="2696"/>
          <pc:sldLayoutMkLst>
            <pc:docMk/>
            <pc:sldMasterMk cId="3011101579" sldId="2147483723"/>
            <pc:sldLayoutMk cId="99252688" sldId="2147483779"/>
          </pc:sldLayoutMkLst>
        </pc:sldLayoutChg>
        <pc:sldLayoutChg chg="del">
          <pc:chgData name="Nataliia Chornii (UA)" userId="4e4b8b3d-5f31-49bb-9f80-8a25c04abfff" providerId="ADAL" clId="{EE97D3FE-9ACA-4467-98E5-532EC45D9D1C}" dt="2024-03-04T13:01:32.216" v="23257" actId="2696"/>
          <pc:sldLayoutMkLst>
            <pc:docMk/>
            <pc:sldMasterMk cId="3011101579" sldId="2147483723"/>
            <pc:sldLayoutMk cId="422854080" sldId="2147483780"/>
          </pc:sldLayoutMkLst>
        </pc:sldLayoutChg>
        <pc:sldLayoutChg chg="del">
          <pc:chgData name="Nataliia Chornii (UA)" userId="4e4b8b3d-5f31-49bb-9f80-8a25c04abfff" providerId="ADAL" clId="{EE97D3FE-9ACA-4467-98E5-532EC45D9D1C}" dt="2024-03-04T13:01:32.216" v="23258" actId="2696"/>
          <pc:sldLayoutMkLst>
            <pc:docMk/>
            <pc:sldMasterMk cId="3011101579" sldId="2147483723"/>
            <pc:sldLayoutMk cId="1210266359" sldId="2147483781"/>
          </pc:sldLayoutMkLst>
        </pc:sldLayoutChg>
        <pc:sldLayoutChg chg="del">
          <pc:chgData name="Nataliia Chornii (UA)" userId="4e4b8b3d-5f31-49bb-9f80-8a25c04abfff" providerId="ADAL" clId="{EE97D3FE-9ACA-4467-98E5-532EC45D9D1C}" dt="2024-03-04T13:01:32.216" v="23259" actId="2696"/>
          <pc:sldLayoutMkLst>
            <pc:docMk/>
            <pc:sldMasterMk cId="3011101579" sldId="2147483723"/>
            <pc:sldLayoutMk cId="237858898" sldId="2147483782"/>
          </pc:sldLayoutMkLst>
        </pc:sldLayoutChg>
        <pc:sldLayoutChg chg="del">
          <pc:chgData name="Nataliia Chornii (UA)" userId="4e4b8b3d-5f31-49bb-9f80-8a25c04abfff" providerId="ADAL" clId="{EE97D3FE-9ACA-4467-98E5-532EC45D9D1C}" dt="2024-03-04T13:01:32.216" v="23260" actId="2696"/>
          <pc:sldLayoutMkLst>
            <pc:docMk/>
            <pc:sldMasterMk cId="3011101579" sldId="2147483723"/>
            <pc:sldLayoutMk cId="2558926449" sldId="2147483783"/>
          </pc:sldLayoutMkLst>
        </pc:sldLayoutChg>
        <pc:sldLayoutChg chg="del">
          <pc:chgData name="Nataliia Chornii (UA)" userId="4e4b8b3d-5f31-49bb-9f80-8a25c04abfff" providerId="ADAL" clId="{EE97D3FE-9ACA-4467-98E5-532EC45D9D1C}" dt="2024-03-04T13:01:32.231" v="23261" actId="2696"/>
          <pc:sldLayoutMkLst>
            <pc:docMk/>
            <pc:sldMasterMk cId="3011101579" sldId="2147483723"/>
            <pc:sldLayoutMk cId="1686717012" sldId="2147483784"/>
          </pc:sldLayoutMkLst>
        </pc:sldLayoutChg>
        <pc:sldLayoutChg chg="del">
          <pc:chgData name="Nataliia Chornii (UA)" userId="4e4b8b3d-5f31-49bb-9f80-8a25c04abfff" providerId="ADAL" clId="{EE97D3FE-9ACA-4467-98E5-532EC45D9D1C}" dt="2024-03-04T13:01:32.011" v="23249" actId="2696"/>
          <pc:sldLayoutMkLst>
            <pc:docMk/>
            <pc:sldMasterMk cId="3011101579" sldId="2147483723"/>
            <pc:sldLayoutMk cId="3874444732" sldId="2147483785"/>
          </pc:sldLayoutMkLst>
        </pc:sldLayoutChg>
        <pc:sldLayoutChg chg="addSp delSp modSp mod">
          <pc:chgData name="Nataliia Chornii (UA)" userId="4e4b8b3d-5f31-49bb-9f80-8a25c04abfff" providerId="ADAL" clId="{EE97D3FE-9ACA-4467-98E5-532EC45D9D1C}" dt="2024-03-01T09:07:16.249" v="7860" actId="555"/>
          <pc:sldLayoutMkLst>
            <pc:docMk/>
            <pc:sldMasterMk cId="3011101579" sldId="2147483723"/>
            <pc:sldLayoutMk cId="1531588365" sldId="2147483786"/>
          </pc:sldLayoutMkLst>
          <pc:spChg chg="mod">
            <ac:chgData name="Nataliia Chornii (UA)" userId="4e4b8b3d-5f31-49bb-9f80-8a25c04abfff" providerId="ADAL" clId="{EE97D3FE-9ACA-4467-98E5-532EC45D9D1C}" dt="2024-03-01T08:57:07.846" v="7289" actId="552"/>
            <ac:spMkLst>
              <pc:docMk/>
              <pc:sldMasterMk cId="3011101579" sldId="2147483723"/>
              <pc:sldLayoutMk cId="1531588365" sldId="2147483786"/>
              <ac:spMk id="2" creationId="{00000000-0000-0000-0000-000000000000}"/>
            </ac:spMkLst>
          </pc:spChg>
          <pc:spChg chg="mod">
            <ac:chgData name="Nataliia Chornii (UA)" userId="4e4b8b3d-5f31-49bb-9f80-8a25c04abfff" providerId="ADAL" clId="{EE97D3FE-9ACA-4467-98E5-532EC45D9D1C}" dt="2024-03-01T08:57:04.787" v="7288" actId="555"/>
            <ac:spMkLst>
              <pc:docMk/>
              <pc:sldMasterMk cId="3011101579" sldId="2147483723"/>
              <pc:sldLayoutMk cId="1531588365" sldId="2147483786"/>
              <ac:spMk id="3" creationId="{78ADAC9E-8878-DA41-A1D3-2D5C54FB456A}"/>
            </ac:spMkLst>
          </pc:spChg>
          <pc:spChg chg="del mod">
            <ac:chgData name="Nataliia Chornii (UA)" userId="4e4b8b3d-5f31-49bb-9f80-8a25c04abfff" providerId="ADAL" clId="{EE97D3FE-9ACA-4467-98E5-532EC45D9D1C}" dt="2024-03-01T08:56:39.014" v="7224" actId="478"/>
            <ac:spMkLst>
              <pc:docMk/>
              <pc:sldMasterMk cId="3011101579" sldId="2147483723"/>
              <pc:sldLayoutMk cId="1531588365" sldId="2147483786"/>
              <ac:spMk id="4" creationId="{839088E2-6117-534E-A3B5-65400594E309}"/>
            </ac:spMkLst>
          </pc:spChg>
          <pc:spChg chg="mod">
            <ac:chgData name="Nataliia Chornii (UA)" userId="4e4b8b3d-5f31-49bb-9f80-8a25c04abfff" providerId="ADAL" clId="{EE97D3FE-9ACA-4467-98E5-532EC45D9D1C}" dt="2024-03-01T09:07:16.249" v="7860" actId="555"/>
            <ac:spMkLst>
              <pc:docMk/>
              <pc:sldMasterMk cId="3011101579" sldId="2147483723"/>
              <pc:sldLayoutMk cId="1531588365" sldId="2147483786"/>
              <ac:spMk id="5" creationId="{5AE750E3-3DF6-B94E-959B-C6E962A30CCF}"/>
            </ac:spMkLst>
          </pc:spChg>
          <pc:spChg chg="add del mod">
            <ac:chgData name="Nataliia Chornii (UA)" userId="4e4b8b3d-5f31-49bb-9f80-8a25c04abfff" providerId="ADAL" clId="{EE97D3FE-9ACA-4467-98E5-532EC45D9D1C}" dt="2024-03-01T08:54:34.163" v="6984"/>
            <ac:spMkLst>
              <pc:docMk/>
              <pc:sldMasterMk cId="3011101579" sldId="2147483723"/>
              <pc:sldLayoutMk cId="1531588365" sldId="2147483786"/>
              <ac:spMk id="6" creationId="{2D7A56B5-55EB-BF54-4994-38A799C84D12}"/>
            </ac:spMkLst>
          </pc:spChg>
          <pc:spChg chg="add del mod">
            <ac:chgData name="Nataliia Chornii (UA)" userId="4e4b8b3d-5f31-49bb-9f80-8a25c04abfff" providerId="ADAL" clId="{EE97D3FE-9ACA-4467-98E5-532EC45D9D1C}" dt="2024-03-01T08:54:34.163" v="6984"/>
            <ac:spMkLst>
              <pc:docMk/>
              <pc:sldMasterMk cId="3011101579" sldId="2147483723"/>
              <pc:sldLayoutMk cId="1531588365" sldId="2147483786"/>
              <ac:spMk id="7" creationId="{145E6D3D-2BCA-3840-C60D-6C12B2229A88}"/>
            </ac:spMkLst>
          </pc:spChg>
          <pc:spChg chg="add del">
            <ac:chgData name="Nataliia Chornii (UA)" userId="4e4b8b3d-5f31-49bb-9f80-8a25c04abfff" providerId="ADAL" clId="{EE97D3FE-9ACA-4467-98E5-532EC45D9D1C}" dt="2024-03-01T08:56:45.026" v="7225" actId="11529"/>
            <ac:spMkLst>
              <pc:docMk/>
              <pc:sldMasterMk cId="3011101579" sldId="2147483723"/>
              <pc:sldLayoutMk cId="1531588365" sldId="2147483786"/>
              <ac:spMk id="8" creationId="{668B370A-0CA7-5D08-26A0-2C52CD0025A6}"/>
            </ac:spMkLst>
          </pc:spChg>
          <pc:spChg chg="add mod">
            <ac:chgData name="Nataliia Chornii (UA)" userId="4e4b8b3d-5f31-49bb-9f80-8a25c04abfff" providerId="ADAL" clId="{EE97D3FE-9ACA-4467-98E5-532EC45D9D1C}" dt="2024-03-01T09:07:16.249" v="7860" actId="555"/>
            <ac:spMkLst>
              <pc:docMk/>
              <pc:sldMasterMk cId="3011101579" sldId="2147483723"/>
              <pc:sldLayoutMk cId="1531588365" sldId="2147483786"/>
              <ac:spMk id="9" creationId="{DD2FB3D1-7235-0BBC-7185-07B5EA3F3CD8}"/>
            </ac:spMkLst>
          </pc:spChg>
          <pc:spChg chg="add del mod modVis">
            <ac:chgData name="Nataliia Chornii (UA)" userId="4e4b8b3d-5f31-49bb-9f80-8a25c04abfff" providerId="ADAL" clId="{EE97D3FE-9ACA-4467-98E5-532EC45D9D1C}" dt="2024-03-01T08:56:48.918" v="7253"/>
            <ac:spMkLst>
              <pc:docMk/>
              <pc:sldMasterMk cId="3011101579" sldId="2147483723"/>
              <pc:sldLayoutMk cId="1531588365" sldId="2147483786"/>
              <ac:spMk id="10" creationId="{A3C8EDB5-DFDD-F676-0E1F-19E939FB35B9}"/>
            </ac:spMkLst>
          </pc:spChg>
          <pc:graphicFrameChg chg="add mod ord modVis replST">
            <ac:chgData name="Nataliia Chornii (UA)" userId="4e4b8b3d-5f31-49bb-9f80-8a25c04abfff" providerId="ADAL" clId="{EE97D3FE-9ACA-4467-98E5-532EC45D9D1C}" dt="2024-03-01T08:56:49.279" v="7277"/>
            <ac:graphicFrameMkLst>
              <pc:docMk/>
              <pc:sldMasterMk cId="3011101579" sldId="2147483723"/>
              <pc:sldLayoutMk cId="1531588365" sldId="2147483786"/>
              <ac:graphicFrameMk id="11" creationId="{8D441EEF-A6BC-2368-26BE-D00D5952AFE6}"/>
            </ac:graphicFrameMkLst>
          </pc:graphicFrameChg>
        </pc:sldLayoutChg>
        <pc:sldLayoutChg chg="delSp mod">
          <pc:chgData name="Nataliia Chornii (UA)" userId="4e4b8b3d-5f31-49bb-9f80-8a25c04abfff" providerId="ADAL" clId="{EE97D3FE-9ACA-4467-98E5-532EC45D9D1C}" dt="2024-03-04T13:01:25.851" v="23248" actId="478"/>
          <pc:sldLayoutMkLst>
            <pc:docMk/>
            <pc:sldMasterMk cId="3011101579" sldId="2147483723"/>
            <pc:sldLayoutMk cId="3079579716" sldId="2147483787"/>
          </pc:sldLayoutMkLst>
          <pc:spChg chg="del">
            <ac:chgData name="Nataliia Chornii (UA)" userId="4e4b8b3d-5f31-49bb-9f80-8a25c04abfff" providerId="ADAL" clId="{EE97D3FE-9ACA-4467-98E5-532EC45D9D1C}" dt="2024-03-04T13:01:25.851" v="23248" actId="478"/>
            <ac:spMkLst>
              <pc:docMk/>
              <pc:sldMasterMk cId="3011101579" sldId="2147483723"/>
              <pc:sldLayoutMk cId="3079579716" sldId="2147483787"/>
              <ac:spMk id="2" creationId="{859B7FC3-54D3-A044-9662-AED001F4D972}"/>
            </ac:spMkLst>
          </pc:spChg>
          <pc:spChg chg="del">
            <ac:chgData name="Nataliia Chornii (UA)" userId="4e4b8b3d-5f31-49bb-9f80-8a25c04abfff" providerId="ADAL" clId="{EE97D3FE-9ACA-4467-98E5-532EC45D9D1C}" dt="2024-03-04T13:01:23.797" v="23247" actId="478"/>
            <ac:spMkLst>
              <pc:docMk/>
              <pc:sldMasterMk cId="3011101579" sldId="2147483723"/>
              <pc:sldLayoutMk cId="3079579716" sldId="2147483787"/>
              <ac:spMk id="3" creationId="{03092CA8-9C8A-8146-8F00-4833507614AE}"/>
            </ac:spMkLst>
          </pc:spChg>
          <pc:spChg chg="del">
            <ac:chgData name="Nataliia Chornii (UA)" userId="4e4b8b3d-5f31-49bb-9f80-8a25c04abfff" providerId="ADAL" clId="{EE97D3FE-9ACA-4467-98E5-532EC45D9D1C}" dt="2024-03-04T13:01:25.851" v="23248" actId="478"/>
            <ac:spMkLst>
              <pc:docMk/>
              <pc:sldMasterMk cId="3011101579" sldId="2147483723"/>
              <pc:sldLayoutMk cId="3079579716" sldId="2147483787"/>
              <ac:spMk id="4" creationId="{36E9B7AB-8379-3341-BEF5-2E85A7299A74}"/>
            </ac:spMkLst>
          </pc:spChg>
        </pc:sldLayoutChg>
        <pc:sldLayoutChg chg="del">
          <pc:chgData name="Nataliia Chornii (UA)" userId="4e4b8b3d-5f31-49bb-9f80-8a25c04abfff" providerId="ADAL" clId="{EE97D3FE-9ACA-4467-98E5-532EC45D9D1C}" dt="2024-03-04T13:00:38.175" v="23230" actId="2696"/>
          <pc:sldLayoutMkLst>
            <pc:docMk/>
            <pc:sldMasterMk cId="3011101579" sldId="2147483723"/>
            <pc:sldLayoutMk cId="869499770" sldId="2147483788"/>
          </pc:sldLayoutMkLst>
        </pc:sldLayoutChg>
        <pc:sldLayoutChg chg="del">
          <pc:chgData name="Nataliia Chornii (UA)" userId="4e4b8b3d-5f31-49bb-9f80-8a25c04abfff" providerId="ADAL" clId="{EE97D3FE-9ACA-4467-98E5-532EC45D9D1C}" dt="2024-03-04T13:00:38.186" v="23231" actId="2696"/>
          <pc:sldLayoutMkLst>
            <pc:docMk/>
            <pc:sldMasterMk cId="3011101579" sldId="2147483723"/>
            <pc:sldLayoutMk cId="327065129" sldId="2147483789"/>
          </pc:sldLayoutMkLst>
        </pc:sldLayoutChg>
        <pc:sldLayoutChg chg="delSp modSp mod">
          <pc:chgData name="Nataliia Chornii (UA)" userId="4e4b8b3d-5f31-49bb-9f80-8a25c04abfff" providerId="ADAL" clId="{EE97D3FE-9ACA-4467-98E5-532EC45D9D1C}" dt="2024-03-04T13:01:04.140" v="23246" actId="478"/>
          <pc:sldLayoutMkLst>
            <pc:docMk/>
            <pc:sldMasterMk cId="3011101579" sldId="2147483723"/>
            <pc:sldLayoutMk cId="57987620" sldId="2147483791"/>
          </pc:sldLayoutMkLst>
          <pc:spChg chg="mod">
            <ac:chgData name="Nataliia Chornii (UA)" userId="4e4b8b3d-5f31-49bb-9f80-8a25c04abfff" providerId="ADAL" clId="{EE97D3FE-9ACA-4467-98E5-532EC45D9D1C}" dt="2024-03-04T13:01:01.676" v="23241" actId="948"/>
            <ac:spMkLst>
              <pc:docMk/>
              <pc:sldMasterMk cId="3011101579" sldId="2147483723"/>
              <pc:sldLayoutMk cId="57987620" sldId="2147483791"/>
              <ac:spMk id="2" creationId="{00000000-0000-0000-0000-000000000000}"/>
            </ac:spMkLst>
          </pc:spChg>
          <pc:spChg chg="del">
            <ac:chgData name="Nataliia Chornii (UA)" userId="4e4b8b3d-5f31-49bb-9f80-8a25c04abfff" providerId="ADAL" clId="{EE97D3FE-9ACA-4467-98E5-532EC45D9D1C}" dt="2024-03-04T13:01:04.140" v="23246" actId="478"/>
            <ac:spMkLst>
              <pc:docMk/>
              <pc:sldMasterMk cId="3011101579" sldId="2147483723"/>
              <pc:sldLayoutMk cId="57987620" sldId="2147483791"/>
              <ac:spMk id="3" creationId="{00000000-0000-0000-0000-000000000000}"/>
            </ac:spMkLst>
          </pc:spChg>
          <pc:spChg chg="topLvl">
            <ac:chgData name="Nataliia Chornii (UA)" userId="4e4b8b3d-5f31-49bb-9f80-8a25c04abfff" providerId="ADAL" clId="{EE97D3FE-9ACA-4467-98E5-532EC45D9D1C}" dt="2024-03-04T13:00:48.338" v="23233" actId="478"/>
            <ac:spMkLst>
              <pc:docMk/>
              <pc:sldMasterMk cId="3011101579" sldId="2147483723"/>
              <pc:sldLayoutMk cId="57987620" sldId="2147483791"/>
              <ac:spMk id="5" creationId="{3FECC16A-B1FD-FAF5-EB5C-6894270D0777}"/>
            </ac:spMkLst>
          </pc:spChg>
          <pc:grpChg chg="del">
            <ac:chgData name="Nataliia Chornii (UA)" userId="4e4b8b3d-5f31-49bb-9f80-8a25c04abfff" providerId="ADAL" clId="{EE97D3FE-9ACA-4467-98E5-532EC45D9D1C}" dt="2024-03-04T13:00:48.338" v="23233" actId="478"/>
            <ac:grpSpMkLst>
              <pc:docMk/>
              <pc:sldMasterMk cId="3011101579" sldId="2147483723"/>
              <pc:sldLayoutMk cId="57987620" sldId="2147483791"/>
              <ac:grpSpMk id="4" creationId="{0B63678F-DB3A-4415-7580-95B39A40636E}"/>
            </ac:grpSpMkLst>
          </pc:grpChg>
          <pc:graphicFrameChg chg="mod">
            <ac:chgData name="Nataliia Chornii (UA)" userId="4e4b8b3d-5f31-49bb-9f80-8a25c04abfff" providerId="ADAL" clId="{EE97D3FE-9ACA-4467-98E5-532EC45D9D1C}" dt="2024-03-04T13:01:01.692" v="23245"/>
            <ac:graphicFrameMkLst>
              <pc:docMk/>
              <pc:sldMasterMk cId="3011101579" sldId="2147483723"/>
              <pc:sldLayoutMk cId="57987620" sldId="2147483791"/>
              <ac:graphicFrameMk id="12" creationId="{7EB58BF2-7720-951A-0737-25DCDFC44C9A}"/>
            </ac:graphicFrameMkLst>
          </pc:graphicFrameChg>
          <pc:picChg chg="del topLvl">
            <ac:chgData name="Nataliia Chornii (UA)" userId="4e4b8b3d-5f31-49bb-9f80-8a25c04abfff" providerId="ADAL" clId="{EE97D3FE-9ACA-4467-98E5-532EC45D9D1C}" dt="2024-03-04T13:00:48.338" v="23233" actId="478"/>
            <ac:picMkLst>
              <pc:docMk/>
              <pc:sldMasterMk cId="3011101579" sldId="2147483723"/>
              <pc:sldLayoutMk cId="57987620" sldId="2147483791"/>
              <ac:picMk id="6" creationId="{C11D32D6-B442-BFC3-1C38-B121D9F32369}"/>
            </ac:picMkLst>
          </pc:picChg>
          <pc:picChg chg="del">
            <ac:chgData name="Nataliia Chornii (UA)" userId="4e4b8b3d-5f31-49bb-9f80-8a25c04abfff" providerId="ADAL" clId="{EE97D3FE-9ACA-4467-98E5-532EC45D9D1C}" dt="2024-03-04T13:00:46.542" v="23232" actId="478"/>
            <ac:picMkLst>
              <pc:docMk/>
              <pc:sldMasterMk cId="3011101579" sldId="2147483723"/>
              <pc:sldLayoutMk cId="57987620" sldId="2147483791"/>
              <ac:picMk id="8" creationId="{9C024489-97EC-1D48-A1FA-019C1228618C}"/>
            </ac:picMkLst>
          </pc:picChg>
        </pc:sldLayoutChg>
      </pc:sldMasterChg>
    </pc:docChg>
  </pc:docChgLst>
  <pc:docChgLst>
    <pc:chgData name="Sindija Kirsteine (LV)" userId="5f25501a-2215-4bb3-9d9c-8d1484ffa7c1" providerId="ADAL" clId="{980D4520-5614-45AD-8222-CC2CACE3F4BC}"/>
    <pc:docChg chg="undo custSel modSld replTag">
      <pc:chgData name="Sindija Kirsteine (LV)" userId="5f25501a-2215-4bb3-9d9c-8d1484ffa7c1" providerId="ADAL" clId="{980D4520-5614-45AD-8222-CC2CACE3F4BC}" dt="2024-06-03T15:26:25.136" v="50"/>
      <pc:docMkLst>
        <pc:docMk/>
      </pc:docMkLst>
      <pc:sldChg chg="addSp delSp modSp mod">
        <pc:chgData name="Sindija Kirsteine (LV)" userId="5f25501a-2215-4bb3-9d9c-8d1484ffa7c1" providerId="ADAL" clId="{980D4520-5614-45AD-8222-CC2CACE3F4BC}" dt="2024-05-27T11:54:59.546" v="6" actId="20577"/>
        <pc:sldMkLst>
          <pc:docMk/>
          <pc:sldMk cId="817197616" sldId="332"/>
        </pc:sldMkLst>
        <pc:spChg chg="del">
          <ac:chgData name="Sindija Kirsteine (LV)" userId="5f25501a-2215-4bb3-9d9c-8d1484ffa7c1" providerId="ADAL" clId="{980D4520-5614-45AD-8222-CC2CACE3F4BC}" dt="2024-05-27T11:54:39.017" v="1" actId="478"/>
          <ac:spMkLst>
            <pc:docMk/>
            <pc:sldMk cId="817197616" sldId="332"/>
            <ac:spMk id="2" creationId="{6CD79AD3-DFF9-757B-88AD-BE561ACC5FF3}"/>
          </ac:spMkLst>
        </pc:spChg>
        <pc:spChg chg="add mod">
          <ac:chgData name="Sindija Kirsteine (LV)" userId="5f25501a-2215-4bb3-9d9c-8d1484ffa7c1" providerId="ADAL" clId="{980D4520-5614-45AD-8222-CC2CACE3F4BC}" dt="2024-05-27T11:54:45.069" v="3" actId="1076"/>
          <ac:spMkLst>
            <pc:docMk/>
            <pc:sldMk cId="817197616" sldId="332"/>
            <ac:spMk id="3" creationId="{E1CE47AC-97D8-9F49-5273-9267AA784BE2}"/>
          </ac:spMkLst>
        </pc:spChg>
        <pc:spChg chg="mod">
          <ac:chgData name="Sindija Kirsteine (LV)" userId="5f25501a-2215-4bb3-9d9c-8d1484ffa7c1" providerId="ADAL" clId="{980D4520-5614-45AD-8222-CC2CACE3F4BC}" dt="2024-05-27T11:54:59.546" v="6" actId="20577"/>
          <ac:spMkLst>
            <pc:docMk/>
            <pc:sldMk cId="817197616" sldId="332"/>
            <ac:spMk id="9" creationId="{9C917BBD-747E-ABCB-3683-E8C68F33230D}"/>
          </ac:spMkLst>
        </pc:spChg>
      </pc:sldChg>
      <pc:sldChg chg="addSp delSp modSp mod addCm">
        <pc:chgData name="Sindija Kirsteine (LV)" userId="5f25501a-2215-4bb3-9d9c-8d1484ffa7c1" providerId="ADAL" clId="{980D4520-5614-45AD-8222-CC2CACE3F4BC}" dt="2024-05-29T10:47:40.210" v="49"/>
        <pc:sldMkLst>
          <pc:docMk/>
          <pc:sldMk cId="192098022" sldId="769"/>
        </pc:sldMkLst>
        <pc:spChg chg="add mod">
          <ac:chgData name="Sindija Kirsteine (LV)" userId="5f25501a-2215-4bb3-9d9c-8d1484ffa7c1" providerId="ADAL" clId="{980D4520-5614-45AD-8222-CC2CACE3F4BC}" dt="2024-05-29T10:46:48.365" v="38" actId="20577"/>
          <ac:spMkLst>
            <pc:docMk/>
            <pc:sldMk cId="192098022" sldId="769"/>
            <ac:spMk id="3" creationId="{A5FB0AAC-8B81-C097-B341-CC9C039BA733}"/>
          </ac:spMkLst>
        </pc:spChg>
        <pc:spChg chg="add mod">
          <ac:chgData name="Sindija Kirsteine (LV)" userId="5f25501a-2215-4bb3-9d9c-8d1484ffa7c1" providerId="ADAL" clId="{980D4520-5614-45AD-8222-CC2CACE3F4BC}" dt="2024-05-29T10:47:04.480" v="41" actId="14100"/>
          <ac:spMkLst>
            <pc:docMk/>
            <pc:sldMk cId="192098022" sldId="769"/>
            <ac:spMk id="4" creationId="{8D7B80AE-D9DB-FB73-A85E-F049533F27D7}"/>
          </ac:spMkLst>
        </pc:spChg>
        <pc:spChg chg="mod">
          <ac:chgData name="Sindija Kirsteine (LV)" userId="5f25501a-2215-4bb3-9d9c-8d1484ffa7c1" providerId="ADAL" clId="{980D4520-5614-45AD-8222-CC2CACE3F4BC}" dt="2024-05-29T10:46:00.181" v="12" actId="14100"/>
          <ac:spMkLst>
            <pc:docMk/>
            <pc:sldMk cId="192098022" sldId="769"/>
            <ac:spMk id="6" creationId="{2CB3F9F5-858C-1D21-4D13-EAEDABE2E74A}"/>
          </ac:spMkLst>
        </pc:spChg>
        <pc:spChg chg="add del">
          <ac:chgData name="Sindija Kirsteine (LV)" userId="5f25501a-2215-4bb3-9d9c-8d1484ffa7c1" providerId="ADAL" clId="{980D4520-5614-45AD-8222-CC2CACE3F4BC}" dt="2024-05-29T10:47:17.728" v="45" actId="478"/>
          <ac:spMkLst>
            <pc:docMk/>
            <pc:sldMk cId="192098022" sldId="769"/>
            <ac:spMk id="18" creationId="{31F5B033-E36B-F124-637C-AF0345D3C1E2}"/>
          </ac:spMkLst>
        </pc:spChg>
        <pc:extLst>
          <p:ext xmlns:p="http://schemas.openxmlformats.org/presentationml/2006/main" uri="{D6D511B9-2390-475A-947B-AFAB55BFBCF1}">
            <pc226:cmChg xmlns:pc226="http://schemas.microsoft.com/office/powerpoint/2022/06/main/command" chg="add">
              <pc226:chgData name="Sindija Kirsteine (LV)" userId="5f25501a-2215-4bb3-9d9c-8d1484ffa7c1" providerId="ADAL" clId="{980D4520-5614-45AD-8222-CC2CACE3F4BC}" dt="2024-05-29T10:47:40.210" v="49"/>
              <pc2:cmMkLst xmlns:pc2="http://schemas.microsoft.com/office/powerpoint/2019/9/main/command">
                <pc:docMk/>
                <pc:sldMk cId="192098022" sldId="769"/>
                <pc2:cmMk id="{A1A5CF71-3A21-48F9-B74E-DB559F8AA98B}"/>
              </pc2:cmMkLst>
            </pc226:cmChg>
          </p:ext>
        </pc:extLst>
      </pc:sldChg>
    </pc:docChg>
  </pc:docChgLst>
  <pc:docChgLst>
    <pc:chgData name="Annemarija Apine (LV)" userId="546f5c59-3b8d-47fd-b739-a8fadc631053" providerId="ADAL" clId="{2AE8E1E3-3DC2-4192-B2CA-714F532A5DEA}"/>
    <pc:docChg chg="custSel replTag">
      <pc:chgData name="Annemarija Apine (LV)" userId="546f5c59-3b8d-47fd-b739-a8fadc631053" providerId="ADAL" clId="{2AE8E1E3-3DC2-4192-B2CA-714F532A5DEA}" dt="2024-07-08T10:58:02.819" v="6"/>
      <pc:docMkLst>
        <pc:docMk/>
      </pc:docMkLst>
    </pc:docChg>
  </pc:docChgLst>
  <pc:docChgLst>
    <pc:chgData name="Ramona Daukste (LV)" userId="cb110d71-928f-4029-96c9-9e7c32e592fe" providerId="ADAL" clId="{94A07C31-1F07-4017-B324-4EA15E8EE33B}"/>
    <pc:docChg chg="">
      <pc:chgData name="Ramona Daukste (LV)" userId="cb110d71-928f-4029-96c9-9e7c32e592fe" providerId="ADAL" clId="{94A07C31-1F07-4017-B324-4EA15E8EE33B}" dt="2024-03-04T14:52:29.260" v="7"/>
      <pc:docMkLst>
        <pc:docMk/>
      </pc:docMkLst>
      <pc:sldChg chg="modCm">
        <pc:chgData name="Ramona Daukste (LV)" userId="cb110d71-928f-4029-96c9-9e7c32e592fe" providerId="ADAL" clId="{94A07C31-1F07-4017-B324-4EA15E8EE33B}" dt="2024-03-04T11:37:40.663" v="0"/>
        <pc:sldMkLst>
          <pc:docMk/>
          <pc:sldMk cId="817197616" sldId="332"/>
        </pc:sldMkLst>
        <pc:extLst>
          <p:ext xmlns:p="http://schemas.openxmlformats.org/presentationml/2006/main" uri="{D6D511B9-2390-475A-947B-AFAB55BFBCF1}">
            <pc226:cmChg xmlns:pc226="http://schemas.microsoft.com/office/powerpoint/2022/06/main/command" chg="">
              <pc226:chgData name="Ramona Daukste (LV)" userId="cb110d71-928f-4029-96c9-9e7c32e592fe" providerId="ADAL" clId="{94A07C31-1F07-4017-B324-4EA15E8EE33B}" dt="2024-03-04T11:37:40.663" v="0"/>
              <pc2:cmMkLst xmlns:pc2="http://schemas.microsoft.com/office/powerpoint/2019/9/main/command">
                <pc:docMk/>
                <pc:sldMk cId="817197616" sldId="332"/>
                <pc2:cmMk id="{2A26C7E2-A8DA-4B24-952F-5705AD58D1EA}"/>
              </pc2:cmMkLst>
              <pc226:cmRplyChg chg="add">
                <pc226:chgData name="Ramona Daukste (LV)" userId="cb110d71-928f-4029-96c9-9e7c32e592fe" providerId="ADAL" clId="{94A07C31-1F07-4017-B324-4EA15E8EE33B}" dt="2024-03-04T11:37:40.663" v="0"/>
                <pc2:cmRplyMkLst xmlns:pc2="http://schemas.microsoft.com/office/powerpoint/2019/9/main/command">
                  <pc:docMk/>
                  <pc:sldMk cId="817197616" sldId="332"/>
                  <pc2:cmMk id="{2A26C7E2-A8DA-4B24-952F-5705AD58D1EA}"/>
                  <pc2:cmRplyMk id="{15697054-EEDC-4EDD-86DC-5A09AB6F4D9F}"/>
                </pc2:cmRplyMkLst>
              </pc226:cmRplyChg>
            </pc226:cmChg>
          </p:ext>
        </pc:extLst>
      </pc:sldChg>
      <pc:sldChg chg="addCm delCm modCm">
        <pc:chgData name="Ramona Daukste (LV)" userId="cb110d71-928f-4029-96c9-9e7c32e592fe" providerId="ADAL" clId="{94A07C31-1F07-4017-B324-4EA15E8EE33B}" dt="2024-03-04T11:44:30.150" v="4"/>
        <pc:sldMkLst>
          <pc:docMk/>
          <pc:sldMk cId="2067837237" sldId="899"/>
        </pc:sldMkLst>
        <pc:extLst>
          <p:ext xmlns:p="http://schemas.openxmlformats.org/presentationml/2006/main" uri="{D6D511B9-2390-475A-947B-AFAB55BFBCF1}">
            <pc226:cmChg xmlns:pc226="http://schemas.microsoft.com/office/powerpoint/2022/06/main/command" chg="add del">
              <pc226:chgData name="Ramona Daukste (LV)" userId="cb110d71-928f-4029-96c9-9e7c32e592fe" providerId="ADAL" clId="{94A07C31-1F07-4017-B324-4EA15E8EE33B}" dt="2024-03-04T11:41:53.123" v="2"/>
              <pc2:cmMkLst xmlns:pc2="http://schemas.microsoft.com/office/powerpoint/2019/9/main/command">
                <pc:docMk/>
                <pc:sldMk cId="2067837237" sldId="899"/>
                <pc2:cmMk id="{983BD659-C6FA-4C45-BA7C-ACBB1FE3D052}"/>
              </pc2:cmMkLst>
            </pc226:cmChg>
            <pc226:cmChg xmlns:pc226="http://schemas.microsoft.com/office/powerpoint/2022/06/main/command" chg="add">
              <pc226:chgData name="Ramona Daukste (LV)" userId="cb110d71-928f-4029-96c9-9e7c32e592fe" providerId="ADAL" clId="{94A07C31-1F07-4017-B324-4EA15E8EE33B}" dt="2024-03-04T11:44:30.150" v="4"/>
              <pc2:cmMkLst xmlns:pc2="http://schemas.microsoft.com/office/powerpoint/2019/9/main/command">
                <pc:docMk/>
                <pc:sldMk cId="2067837237" sldId="899"/>
                <pc2:cmMk id="{CE1513BC-B112-49D4-AE42-231DAE7C0B41}"/>
              </pc2:cmMkLst>
              <pc226:cmRplyChg chg="add">
                <pc226:chgData name="Ramona Daukste (LV)" userId="cb110d71-928f-4029-96c9-9e7c32e592fe" providerId="ADAL" clId="{94A07C31-1F07-4017-B324-4EA15E8EE33B}" dt="2024-03-04T11:44:30.150" v="4"/>
                <pc2:cmRplyMkLst xmlns:pc2="http://schemas.microsoft.com/office/powerpoint/2019/9/main/command">
                  <pc:docMk/>
                  <pc:sldMk cId="2067837237" sldId="899"/>
                  <pc2:cmMk id="{CE1513BC-B112-49D4-AE42-231DAE7C0B41}"/>
                  <pc2:cmRplyMk id="{489D26DA-1656-4AC6-AE75-656CC3EE028A}"/>
                </pc2:cmRplyMkLst>
              </pc226:cmRplyChg>
            </pc226:cmChg>
          </p:ext>
        </pc:extLst>
      </pc:sldChg>
      <pc:sldChg chg="addCm">
        <pc:chgData name="Ramona Daukste (LV)" userId="cb110d71-928f-4029-96c9-9e7c32e592fe" providerId="ADAL" clId="{94A07C31-1F07-4017-B324-4EA15E8EE33B}" dt="2024-03-04T14:51:21.180" v="6"/>
        <pc:sldMkLst>
          <pc:docMk/>
          <pc:sldMk cId="2603595337" sldId="945"/>
        </pc:sldMkLst>
        <pc:extLst>
          <p:ext xmlns:p="http://schemas.openxmlformats.org/presentationml/2006/main" uri="{D6D511B9-2390-475A-947B-AFAB55BFBCF1}">
            <pc226:cmChg xmlns:pc226="http://schemas.microsoft.com/office/powerpoint/2022/06/main/command" chg="add">
              <pc226:chgData name="Ramona Daukste (LV)" userId="cb110d71-928f-4029-96c9-9e7c32e592fe" providerId="ADAL" clId="{94A07C31-1F07-4017-B324-4EA15E8EE33B}" dt="2024-03-04T14:51:21.180" v="6"/>
              <pc2:cmMkLst xmlns:pc2="http://schemas.microsoft.com/office/powerpoint/2019/9/main/command">
                <pc:docMk/>
                <pc:sldMk cId="2603595337" sldId="945"/>
                <pc2:cmMk id="{4554295C-C573-4900-ADF3-493984DC3EF2}"/>
              </pc2:cmMkLst>
            </pc226:cmChg>
          </p:ext>
        </pc:extLst>
      </pc:sldChg>
      <pc:sldChg chg="addCm">
        <pc:chgData name="Ramona Daukste (LV)" userId="cb110d71-928f-4029-96c9-9e7c32e592fe" providerId="ADAL" clId="{94A07C31-1F07-4017-B324-4EA15E8EE33B}" dt="2024-03-04T14:52:29.260" v="7"/>
        <pc:sldMkLst>
          <pc:docMk/>
          <pc:sldMk cId="3488828484" sldId="946"/>
        </pc:sldMkLst>
        <pc:extLst>
          <p:ext xmlns:p="http://schemas.openxmlformats.org/presentationml/2006/main" uri="{D6D511B9-2390-475A-947B-AFAB55BFBCF1}">
            <pc226:cmChg xmlns:pc226="http://schemas.microsoft.com/office/powerpoint/2022/06/main/command" chg="add">
              <pc226:chgData name="Ramona Daukste (LV)" userId="cb110d71-928f-4029-96c9-9e7c32e592fe" providerId="ADAL" clId="{94A07C31-1F07-4017-B324-4EA15E8EE33B}" dt="2024-03-04T14:52:29.260" v="7"/>
              <pc2:cmMkLst xmlns:pc2="http://schemas.microsoft.com/office/powerpoint/2019/9/main/command">
                <pc:docMk/>
                <pc:sldMk cId="3488828484" sldId="946"/>
                <pc2:cmMk id="{AC23C74C-3720-4878-B4F8-7C07253CC342}"/>
              </pc2:cmMkLst>
            </pc226:cmChg>
          </p:ext>
        </pc:extLst>
      </pc:sldChg>
      <pc:sldChg chg="modCm">
        <pc:chgData name="Ramona Daukste (LV)" userId="cb110d71-928f-4029-96c9-9e7c32e592fe" providerId="ADAL" clId="{94A07C31-1F07-4017-B324-4EA15E8EE33B}" dt="2024-03-04T12:37:36.263" v="5" actId="2056"/>
        <pc:sldMkLst>
          <pc:docMk/>
          <pc:sldMk cId="3911462717" sldId="947"/>
        </pc:sldMkLst>
        <pc:extLst>
          <p:ext xmlns:p="http://schemas.openxmlformats.org/presentationml/2006/main" uri="{D6D511B9-2390-475A-947B-AFAB55BFBCF1}">
            <pc226:cmChg xmlns:pc226="http://schemas.microsoft.com/office/powerpoint/2022/06/main/command" chg="mod">
              <pc226:chgData name="Ramona Daukste (LV)" userId="cb110d71-928f-4029-96c9-9e7c32e592fe" providerId="ADAL" clId="{94A07C31-1F07-4017-B324-4EA15E8EE33B}" dt="2024-03-04T12:37:36.263" v="5" actId="2056"/>
              <pc2:cmMkLst xmlns:pc2="http://schemas.microsoft.com/office/powerpoint/2019/9/main/command">
                <pc:docMk/>
                <pc:sldMk cId="3911462717" sldId="947"/>
                <pc2:cmMk id="{1428E94F-96AA-42F8-9E12-E7A740490D75}"/>
              </pc2:cmMkLst>
            </pc226:cmChg>
          </p:ext>
        </pc:extLst>
      </pc:sldChg>
    </pc:docChg>
  </pc:docChgLst>
  <pc:docChgLst>
    <pc:chgData name="Annemarija Apine (LV)" userId="S::annemarija.apine@pwc.com::546f5c59-3b8d-47fd-b739-a8fadc631053" providerId="AD" clId="Web-{D7E0C1B3-ADDF-70E6-514A-3F77B3B9520B}"/>
    <pc:docChg chg="modSld">
      <pc:chgData name="Annemarija Apine (LV)" userId="S::annemarija.apine@pwc.com::546f5c59-3b8d-47fd-b739-a8fadc631053" providerId="AD" clId="Web-{D7E0C1B3-ADDF-70E6-514A-3F77B3B9520B}" dt="2024-03-12T07:10:14.094" v="2" actId="20577"/>
      <pc:docMkLst>
        <pc:docMk/>
      </pc:docMkLst>
      <pc:sldChg chg="modSp">
        <pc:chgData name="Annemarija Apine (LV)" userId="S::annemarija.apine@pwc.com::546f5c59-3b8d-47fd-b739-a8fadc631053" providerId="AD" clId="Web-{D7E0C1B3-ADDF-70E6-514A-3F77B3B9520B}" dt="2024-03-12T07:10:14.094" v="2" actId="20577"/>
        <pc:sldMkLst>
          <pc:docMk/>
          <pc:sldMk cId="192098022" sldId="769"/>
        </pc:sldMkLst>
        <pc:spChg chg="mod">
          <ac:chgData name="Annemarija Apine (LV)" userId="S::annemarija.apine@pwc.com::546f5c59-3b8d-47fd-b739-a8fadc631053" providerId="AD" clId="Web-{D7E0C1B3-ADDF-70E6-514A-3F77B3B9520B}" dt="2024-03-12T07:10:14.094" v="2" actId="20577"/>
          <ac:spMkLst>
            <pc:docMk/>
            <pc:sldMk cId="192098022" sldId="769"/>
            <ac:spMk id="6" creationId="{2CB3F9F5-858C-1D21-4D13-EAEDABE2E74A}"/>
          </ac:spMkLst>
        </pc:spChg>
      </pc:sldChg>
    </pc:docChg>
  </pc:docChgLst>
  <pc:docChgLst>
    <pc:chgData name="Annemarija Apine (LV)" userId="S::annemarija.apine@pwc.com::546f5c59-3b8d-47fd-b739-a8fadc631053" providerId="AD" clId="Web-{B7C4A154-3DAF-566B-4576-DE036AB3E5FC}"/>
    <pc:docChg chg="">
      <pc:chgData name="Annemarija Apine (LV)" userId="S::annemarija.apine@pwc.com::546f5c59-3b8d-47fd-b739-a8fadc631053" providerId="AD" clId="Web-{B7C4A154-3DAF-566B-4576-DE036AB3E5FC}" dt="2024-05-16T14:30:56.249" v="0"/>
      <pc:docMkLst>
        <pc:docMk/>
      </pc:docMkLst>
      <pc:sldChg chg="addCm">
        <pc:chgData name="Annemarija Apine (LV)" userId="S::annemarija.apine@pwc.com::546f5c59-3b8d-47fd-b739-a8fadc631053" providerId="AD" clId="Web-{B7C4A154-3DAF-566B-4576-DE036AB3E5FC}" dt="2024-05-16T14:30:56.249" v="0"/>
        <pc:sldMkLst>
          <pc:docMk/>
          <pc:sldMk cId="817197616" sldId="332"/>
        </pc:sldMkLst>
        <pc:extLst>
          <p:ext xmlns:p="http://schemas.openxmlformats.org/presentationml/2006/main" uri="{D6D511B9-2390-475A-947B-AFAB55BFBCF1}">
            <pc226:cmChg xmlns:pc226="http://schemas.microsoft.com/office/powerpoint/2022/06/main/command" chg="add">
              <pc226:chgData name="Annemarija Apine (LV)" userId="S::annemarija.apine@pwc.com::546f5c59-3b8d-47fd-b739-a8fadc631053" providerId="AD" clId="Web-{B7C4A154-3DAF-566B-4576-DE036AB3E5FC}" dt="2024-05-16T14:30:56.249" v="0"/>
              <pc2:cmMkLst xmlns:pc2="http://schemas.microsoft.com/office/powerpoint/2019/9/main/command">
                <pc:docMk/>
                <pc:sldMk cId="817197616" sldId="332"/>
                <pc2:cmMk id="{69F160DB-06BC-46A5-9BCA-853736F4564C}"/>
              </pc2:cmMkLst>
            </pc226:cmChg>
          </p:ext>
        </pc:extLst>
      </pc:sldChg>
    </pc:docChg>
  </pc:docChgLst>
  <pc:docChgLst>
    <pc:chgData name="Annemarija Apine (LV)" userId="546f5c59-3b8d-47fd-b739-a8fadc631053" providerId="ADAL" clId="{4D36828E-3311-40CE-B559-D4F9700E9CE1}"/>
    <pc:docChg chg="undo custSel modSld replTag">
      <pc:chgData name="Annemarija Apine (LV)" userId="546f5c59-3b8d-47fd-b739-a8fadc631053" providerId="ADAL" clId="{4D36828E-3311-40CE-B559-D4F9700E9CE1}" dt="2024-05-09T20:09:28.784" v="26"/>
      <pc:docMkLst>
        <pc:docMk/>
      </pc:docMkLst>
      <pc:sldChg chg="addSp delSp modSp mod">
        <pc:chgData name="Annemarija Apine (LV)" userId="546f5c59-3b8d-47fd-b739-a8fadc631053" providerId="ADAL" clId="{4D36828E-3311-40CE-B559-D4F9700E9CE1}" dt="2024-05-09T20:09:22.525" v="24" actId="207"/>
        <pc:sldMkLst>
          <pc:docMk/>
          <pc:sldMk cId="817197616" sldId="332"/>
        </pc:sldMkLst>
        <pc:spChg chg="add del mod">
          <ac:chgData name="Annemarija Apine (LV)" userId="546f5c59-3b8d-47fd-b739-a8fadc631053" providerId="ADAL" clId="{4D36828E-3311-40CE-B559-D4F9700E9CE1}" dt="2024-05-09T20:08:45.708" v="15" actId="478"/>
          <ac:spMkLst>
            <pc:docMk/>
            <pc:sldMk cId="817197616" sldId="332"/>
            <ac:spMk id="5" creationId="{C96382F6-4886-AE1D-4E3B-B7A6D20F4B2E}"/>
          </ac:spMkLst>
        </pc:spChg>
        <pc:spChg chg="mod">
          <ac:chgData name="Annemarija Apine (LV)" userId="546f5c59-3b8d-47fd-b739-a8fadc631053" providerId="ADAL" clId="{4D36828E-3311-40CE-B559-D4F9700E9CE1}" dt="2024-05-09T20:09:22.525" v="24" actId="207"/>
          <ac:spMkLst>
            <pc:docMk/>
            <pc:sldMk cId="817197616" sldId="332"/>
            <ac:spMk id="7" creationId="{087A0670-7B05-0F04-BB8E-80FDBC9F6D59}"/>
          </ac:spMkLst>
        </pc:spChg>
        <pc:spChg chg="mod">
          <ac:chgData name="Annemarija Apine (LV)" userId="546f5c59-3b8d-47fd-b739-a8fadc631053" providerId="ADAL" clId="{4D36828E-3311-40CE-B559-D4F9700E9CE1}" dt="2024-05-09T20:09:13.890" v="23" actId="20577"/>
          <ac:spMkLst>
            <pc:docMk/>
            <pc:sldMk cId="817197616" sldId="332"/>
            <ac:spMk id="9" creationId="{9C917BBD-747E-ABCB-3683-E8C68F33230D}"/>
          </ac:spMkLst>
        </pc:spChg>
        <pc:spChg chg="mod">
          <ac:chgData name="Annemarija Apine (LV)" userId="546f5c59-3b8d-47fd-b739-a8fadc631053" providerId="ADAL" clId="{4D36828E-3311-40CE-B559-D4F9700E9CE1}" dt="2024-05-09T20:08:35.768" v="11" actId="14100"/>
          <ac:spMkLst>
            <pc:docMk/>
            <pc:sldMk cId="817197616" sldId="332"/>
            <ac:spMk id="23" creationId="{82B2653B-EFB9-4261-D74B-45F171FB8BD0}"/>
          </ac:spMkLst>
        </pc:spChg>
        <pc:spChg chg="add mod">
          <ac:chgData name="Annemarija Apine (LV)" userId="546f5c59-3b8d-47fd-b739-a8fadc631053" providerId="ADAL" clId="{4D36828E-3311-40CE-B559-D4F9700E9CE1}" dt="2024-05-09T20:08:55.263" v="18" actId="1076"/>
          <ac:spMkLst>
            <pc:docMk/>
            <pc:sldMk cId="817197616" sldId="332"/>
            <ac:spMk id="27" creationId="{4E56288C-5827-FCC2-D7B5-F3182D7FDEE0}"/>
          </ac:spMkLst>
        </pc:spChg>
        <pc:picChg chg="add del mod">
          <ac:chgData name="Annemarija Apine (LV)" userId="546f5c59-3b8d-47fd-b739-a8fadc631053" providerId="ADAL" clId="{4D36828E-3311-40CE-B559-D4F9700E9CE1}" dt="2024-05-09T20:08:06.548" v="3"/>
          <ac:picMkLst>
            <pc:docMk/>
            <pc:sldMk cId="817197616" sldId="332"/>
            <ac:picMk id="3" creationId="{7009BE34-143D-5C7B-907F-FDFE43999D35}"/>
          </ac:picMkLst>
        </pc:picChg>
        <pc:picChg chg="add del mod">
          <ac:chgData name="Annemarija Apine (LV)" userId="546f5c59-3b8d-47fd-b739-a8fadc631053" providerId="ADAL" clId="{4D36828E-3311-40CE-B559-D4F9700E9CE1}" dt="2024-05-09T20:08:06.548" v="3"/>
          <ac:picMkLst>
            <pc:docMk/>
            <pc:sldMk cId="817197616" sldId="332"/>
            <ac:picMk id="8" creationId="{FAFCF0CB-C5DB-94B5-B629-DD735CBA1F33}"/>
          </ac:picMkLst>
        </pc:picChg>
        <pc:picChg chg="add del">
          <ac:chgData name="Annemarija Apine (LV)" userId="546f5c59-3b8d-47fd-b739-a8fadc631053" providerId="ADAL" clId="{4D36828E-3311-40CE-B559-D4F9700E9CE1}" dt="2024-05-09T20:08:12.975" v="7" actId="478"/>
          <ac:picMkLst>
            <pc:docMk/>
            <pc:sldMk cId="817197616" sldId="332"/>
            <ac:picMk id="22" creationId="{25C36F20-0FAA-47F0-980A-D1C8C7D453C3}"/>
          </ac:picMkLst>
        </pc:picChg>
        <pc:picChg chg="add mod">
          <ac:chgData name="Annemarija Apine (LV)" userId="546f5c59-3b8d-47fd-b739-a8fadc631053" providerId="ADAL" clId="{4D36828E-3311-40CE-B559-D4F9700E9CE1}" dt="2024-05-09T20:09:05.849" v="22" actId="1076"/>
          <ac:picMkLst>
            <pc:docMk/>
            <pc:sldMk cId="817197616" sldId="332"/>
            <ac:picMk id="24" creationId="{DD7FB036-F50E-866E-27D7-8D1C7F525956}"/>
          </ac:picMkLst>
        </pc:picChg>
        <pc:picChg chg="add mod">
          <ac:chgData name="Annemarija Apine (LV)" userId="546f5c59-3b8d-47fd-b739-a8fadc631053" providerId="ADAL" clId="{4D36828E-3311-40CE-B559-D4F9700E9CE1}" dt="2024-05-09T20:08:58.904" v="19" actId="1076"/>
          <ac:picMkLst>
            <pc:docMk/>
            <pc:sldMk cId="817197616" sldId="332"/>
            <ac:picMk id="26" creationId="{D80CFE8D-2180-D6E3-BBA8-F0DCE222FE75}"/>
          </ac:picMkLst>
        </pc:picChg>
        <pc:picChg chg="del">
          <ac:chgData name="Annemarija Apine (LV)" userId="546f5c59-3b8d-47fd-b739-a8fadc631053" providerId="ADAL" clId="{4D36828E-3311-40CE-B559-D4F9700E9CE1}" dt="2024-05-09T20:08:10.211" v="6" actId="478"/>
          <ac:picMkLst>
            <pc:docMk/>
            <pc:sldMk cId="817197616" sldId="332"/>
            <ac:picMk id="1028" creationId="{49D69959-2997-0541-EBD2-EA679BB87816}"/>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0301B5-88AD-1849-891D-EA2905EB5A88}" type="datetimeFigureOut">
              <a:rPr lang="en-US" smtClean="0"/>
              <a:t>9/2/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50AB23-24A6-494C-BA00-B87242B78CB4}" type="datetimeFigureOut">
              <a:rPr lang="en-GB" smtClean="0"/>
              <a:t>02/09/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a:t>
            </a:fld>
            <a:endParaRPr lang="en-GB"/>
          </a:p>
        </p:txBody>
      </p:sp>
    </p:spTree>
    <p:extLst>
      <p:ext uri="{BB962C8B-B14F-4D97-AF65-F5344CB8AC3E}">
        <p14:creationId xmlns:p14="http://schemas.microsoft.com/office/powerpoint/2010/main" val="11282563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5</a:t>
            </a:fld>
            <a:endParaRPr lang="en-GB"/>
          </a:p>
        </p:txBody>
      </p:sp>
    </p:spTree>
    <p:extLst>
      <p:ext uri="{BB962C8B-B14F-4D97-AF65-F5344CB8AC3E}">
        <p14:creationId xmlns:p14="http://schemas.microsoft.com/office/powerpoint/2010/main" val="40805446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6</a:t>
            </a:fld>
            <a:endParaRPr lang="en-GB"/>
          </a:p>
        </p:txBody>
      </p:sp>
    </p:spTree>
    <p:extLst>
      <p:ext uri="{BB962C8B-B14F-4D97-AF65-F5344CB8AC3E}">
        <p14:creationId xmlns:p14="http://schemas.microsoft.com/office/powerpoint/2010/main" val="13723977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17</a:t>
            </a:fld>
            <a:endParaRPr lang="en-GB"/>
          </a:p>
        </p:txBody>
      </p:sp>
    </p:spTree>
    <p:extLst>
      <p:ext uri="{BB962C8B-B14F-4D97-AF65-F5344CB8AC3E}">
        <p14:creationId xmlns:p14="http://schemas.microsoft.com/office/powerpoint/2010/main" val="35076012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18</a:t>
            </a:fld>
            <a:endParaRPr lang="en-GB"/>
          </a:p>
        </p:txBody>
      </p:sp>
    </p:spTree>
    <p:extLst>
      <p:ext uri="{BB962C8B-B14F-4D97-AF65-F5344CB8AC3E}">
        <p14:creationId xmlns:p14="http://schemas.microsoft.com/office/powerpoint/2010/main" val="34122407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9</a:t>
            </a:fld>
            <a:endParaRPr lang="en-GB"/>
          </a:p>
        </p:txBody>
      </p:sp>
    </p:spTree>
    <p:extLst>
      <p:ext uri="{BB962C8B-B14F-4D97-AF65-F5344CB8AC3E}">
        <p14:creationId xmlns:p14="http://schemas.microsoft.com/office/powerpoint/2010/main" val="28616312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0</a:t>
            </a:fld>
            <a:endParaRPr lang="en-GB"/>
          </a:p>
        </p:txBody>
      </p:sp>
    </p:spTree>
    <p:extLst>
      <p:ext uri="{BB962C8B-B14F-4D97-AF65-F5344CB8AC3E}">
        <p14:creationId xmlns:p14="http://schemas.microsoft.com/office/powerpoint/2010/main" val="41731335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1</a:t>
            </a:fld>
            <a:endParaRPr lang="en-GB"/>
          </a:p>
        </p:txBody>
      </p:sp>
    </p:spTree>
    <p:extLst>
      <p:ext uri="{BB962C8B-B14F-4D97-AF65-F5344CB8AC3E}">
        <p14:creationId xmlns:p14="http://schemas.microsoft.com/office/powerpoint/2010/main" val="12179238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2</a:t>
            </a:fld>
            <a:endParaRPr lang="en-GB"/>
          </a:p>
        </p:txBody>
      </p:sp>
    </p:spTree>
    <p:extLst>
      <p:ext uri="{BB962C8B-B14F-4D97-AF65-F5344CB8AC3E}">
        <p14:creationId xmlns:p14="http://schemas.microsoft.com/office/powerpoint/2010/main" val="29453180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3</a:t>
            </a:fld>
            <a:endParaRPr lang="en-GB"/>
          </a:p>
        </p:txBody>
      </p:sp>
    </p:spTree>
    <p:extLst>
      <p:ext uri="{BB962C8B-B14F-4D97-AF65-F5344CB8AC3E}">
        <p14:creationId xmlns:p14="http://schemas.microsoft.com/office/powerpoint/2010/main" val="30158576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24</a:t>
            </a:fld>
            <a:endParaRPr lang="en-GB"/>
          </a:p>
        </p:txBody>
      </p:sp>
    </p:spTree>
    <p:extLst>
      <p:ext uri="{BB962C8B-B14F-4D97-AF65-F5344CB8AC3E}">
        <p14:creationId xmlns:p14="http://schemas.microsoft.com/office/powerpoint/2010/main" val="2087960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4</a:t>
            </a:fld>
            <a:endParaRPr lang="en-GB"/>
          </a:p>
        </p:txBody>
      </p:sp>
    </p:spTree>
    <p:extLst>
      <p:ext uri="{BB962C8B-B14F-4D97-AF65-F5344CB8AC3E}">
        <p14:creationId xmlns:p14="http://schemas.microsoft.com/office/powerpoint/2010/main" val="155168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GB" sz="12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25</a:t>
            </a:fld>
            <a:endParaRPr lang="en-GB"/>
          </a:p>
        </p:txBody>
      </p:sp>
    </p:spTree>
    <p:extLst>
      <p:ext uri="{BB962C8B-B14F-4D97-AF65-F5344CB8AC3E}">
        <p14:creationId xmlns:p14="http://schemas.microsoft.com/office/powerpoint/2010/main" val="25657675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GB" sz="12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26</a:t>
            </a:fld>
            <a:endParaRPr lang="en-GB"/>
          </a:p>
        </p:txBody>
      </p:sp>
    </p:spTree>
    <p:extLst>
      <p:ext uri="{BB962C8B-B14F-4D97-AF65-F5344CB8AC3E}">
        <p14:creationId xmlns:p14="http://schemas.microsoft.com/office/powerpoint/2010/main" val="22134394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6695" algn="just" hangingPunct="0"/>
            <a:endParaRPr lang="en-GB"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27</a:t>
            </a:fld>
            <a:endParaRPr lang="en-GB"/>
          </a:p>
        </p:txBody>
      </p:sp>
    </p:spTree>
    <p:extLst>
      <p:ext uri="{BB962C8B-B14F-4D97-AF65-F5344CB8AC3E}">
        <p14:creationId xmlns:p14="http://schemas.microsoft.com/office/powerpoint/2010/main" val="32315455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GB"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28</a:t>
            </a:fld>
            <a:endParaRPr lang="en-GB"/>
          </a:p>
        </p:txBody>
      </p:sp>
    </p:spTree>
    <p:extLst>
      <p:ext uri="{BB962C8B-B14F-4D97-AF65-F5344CB8AC3E}">
        <p14:creationId xmlns:p14="http://schemas.microsoft.com/office/powerpoint/2010/main" val="40718022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29</a:t>
            </a:fld>
            <a:endParaRPr lang="en-GB"/>
          </a:p>
        </p:txBody>
      </p:sp>
    </p:spTree>
    <p:extLst>
      <p:ext uri="{BB962C8B-B14F-4D97-AF65-F5344CB8AC3E}">
        <p14:creationId xmlns:p14="http://schemas.microsoft.com/office/powerpoint/2010/main" val="29236752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GB"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30</a:t>
            </a:fld>
            <a:endParaRPr lang="en-GB"/>
          </a:p>
        </p:txBody>
      </p:sp>
    </p:spTree>
    <p:extLst>
      <p:ext uri="{BB962C8B-B14F-4D97-AF65-F5344CB8AC3E}">
        <p14:creationId xmlns:p14="http://schemas.microsoft.com/office/powerpoint/2010/main" val="38287563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GB"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31</a:t>
            </a:fld>
            <a:endParaRPr lang="en-GB"/>
          </a:p>
        </p:txBody>
      </p:sp>
    </p:spTree>
    <p:extLst>
      <p:ext uri="{BB962C8B-B14F-4D97-AF65-F5344CB8AC3E}">
        <p14:creationId xmlns:p14="http://schemas.microsoft.com/office/powerpoint/2010/main" val="23190331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GB"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32</a:t>
            </a:fld>
            <a:endParaRPr lang="en-GB"/>
          </a:p>
        </p:txBody>
      </p:sp>
    </p:spTree>
    <p:extLst>
      <p:ext uri="{BB962C8B-B14F-4D97-AF65-F5344CB8AC3E}">
        <p14:creationId xmlns:p14="http://schemas.microsoft.com/office/powerpoint/2010/main" val="5192233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33</a:t>
            </a:fld>
            <a:endParaRPr lang="en-GB"/>
          </a:p>
        </p:txBody>
      </p:sp>
    </p:spTree>
    <p:extLst>
      <p:ext uri="{BB962C8B-B14F-4D97-AF65-F5344CB8AC3E}">
        <p14:creationId xmlns:p14="http://schemas.microsoft.com/office/powerpoint/2010/main" val="37682342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34</a:t>
            </a:fld>
            <a:endParaRPr lang="en-GB"/>
          </a:p>
        </p:txBody>
      </p:sp>
    </p:spTree>
    <p:extLst>
      <p:ext uri="{BB962C8B-B14F-4D97-AF65-F5344CB8AC3E}">
        <p14:creationId xmlns:p14="http://schemas.microsoft.com/office/powerpoint/2010/main" val="15547894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5</a:t>
            </a:fld>
            <a:endParaRPr lang="en-GB"/>
          </a:p>
        </p:txBody>
      </p:sp>
    </p:spTree>
    <p:extLst>
      <p:ext uri="{BB962C8B-B14F-4D97-AF65-F5344CB8AC3E}">
        <p14:creationId xmlns:p14="http://schemas.microsoft.com/office/powerpoint/2010/main" val="12661510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35</a:t>
            </a:fld>
            <a:endParaRPr lang="en-GB"/>
          </a:p>
        </p:txBody>
      </p:sp>
    </p:spTree>
    <p:extLst>
      <p:ext uri="{BB962C8B-B14F-4D97-AF65-F5344CB8AC3E}">
        <p14:creationId xmlns:p14="http://schemas.microsoft.com/office/powerpoint/2010/main" val="2427784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36</a:t>
            </a:fld>
            <a:endParaRPr lang="en-GB"/>
          </a:p>
        </p:txBody>
      </p:sp>
    </p:spTree>
    <p:extLst>
      <p:ext uri="{BB962C8B-B14F-4D97-AF65-F5344CB8AC3E}">
        <p14:creationId xmlns:p14="http://schemas.microsoft.com/office/powerpoint/2010/main" val="9682795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37</a:t>
            </a:fld>
            <a:endParaRPr lang="en-GB"/>
          </a:p>
        </p:txBody>
      </p:sp>
    </p:spTree>
    <p:extLst>
      <p:ext uri="{BB962C8B-B14F-4D97-AF65-F5344CB8AC3E}">
        <p14:creationId xmlns:p14="http://schemas.microsoft.com/office/powerpoint/2010/main" val="34851849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GB"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38</a:t>
            </a:fld>
            <a:endParaRPr lang="en-GB"/>
          </a:p>
        </p:txBody>
      </p:sp>
    </p:spTree>
    <p:extLst>
      <p:ext uri="{BB962C8B-B14F-4D97-AF65-F5344CB8AC3E}">
        <p14:creationId xmlns:p14="http://schemas.microsoft.com/office/powerpoint/2010/main" val="2473891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39</a:t>
            </a:fld>
            <a:endParaRPr lang="en-GB"/>
          </a:p>
        </p:txBody>
      </p:sp>
    </p:spTree>
    <p:extLst>
      <p:ext uri="{BB962C8B-B14F-4D97-AF65-F5344CB8AC3E}">
        <p14:creationId xmlns:p14="http://schemas.microsoft.com/office/powerpoint/2010/main" val="21651763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40</a:t>
            </a:fld>
            <a:endParaRPr lang="en-GB"/>
          </a:p>
        </p:txBody>
      </p:sp>
    </p:spTree>
    <p:extLst>
      <p:ext uri="{BB962C8B-B14F-4D97-AF65-F5344CB8AC3E}">
        <p14:creationId xmlns:p14="http://schemas.microsoft.com/office/powerpoint/2010/main" val="39519067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41</a:t>
            </a:fld>
            <a:endParaRPr lang="en-GB"/>
          </a:p>
        </p:txBody>
      </p:sp>
    </p:spTree>
    <p:extLst>
      <p:ext uri="{BB962C8B-B14F-4D97-AF65-F5344CB8AC3E}">
        <p14:creationId xmlns:p14="http://schemas.microsoft.com/office/powerpoint/2010/main" val="134839271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42</a:t>
            </a:fld>
            <a:endParaRPr lang="en-GB"/>
          </a:p>
        </p:txBody>
      </p:sp>
    </p:spTree>
    <p:extLst>
      <p:ext uri="{BB962C8B-B14F-4D97-AF65-F5344CB8AC3E}">
        <p14:creationId xmlns:p14="http://schemas.microsoft.com/office/powerpoint/2010/main" val="39707307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43</a:t>
            </a:fld>
            <a:endParaRPr lang="en-GB"/>
          </a:p>
        </p:txBody>
      </p:sp>
    </p:spTree>
    <p:extLst>
      <p:ext uri="{BB962C8B-B14F-4D97-AF65-F5344CB8AC3E}">
        <p14:creationId xmlns:p14="http://schemas.microsoft.com/office/powerpoint/2010/main" val="168471386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44</a:t>
            </a:fld>
            <a:endParaRPr lang="en-GB"/>
          </a:p>
        </p:txBody>
      </p:sp>
    </p:spTree>
    <p:extLst>
      <p:ext uri="{BB962C8B-B14F-4D97-AF65-F5344CB8AC3E}">
        <p14:creationId xmlns:p14="http://schemas.microsoft.com/office/powerpoint/2010/main" val="8237200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7</a:t>
            </a:fld>
            <a:endParaRPr lang="en-GB"/>
          </a:p>
        </p:txBody>
      </p:sp>
    </p:spTree>
    <p:extLst>
      <p:ext uri="{BB962C8B-B14F-4D97-AF65-F5344CB8AC3E}">
        <p14:creationId xmlns:p14="http://schemas.microsoft.com/office/powerpoint/2010/main" val="22555873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45</a:t>
            </a:fld>
            <a:endParaRPr lang="en-GB"/>
          </a:p>
        </p:txBody>
      </p:sp>
    </p:spTree>
    <p:extLst>
      <p:ext uri="{BB962C8B-B14F-4D97-AF65-F5344CB8AC3E}">
        <p14:creationId xmlns:p14="http://schemas.microsoft.com/office/powerpoint/2010/main" val="12954496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46</a:t>
            </a:fld>
            <a:endParaRPr lang="en-GB"/>
          </a:p>
        </p:txBody>
      </p:sp>
    </p:spTree>
    <p:extLst>
      <p:ext uri="{BB962C8B-B14F-4D97-AF65-F5344CB8AC3E}">
        <p14:creationId xmlns:p14="http://schemas.microsoft.com/office/powerpoint/2010/main" val="163870170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47</a:t>
            </a:fld>
            <a:endParaRPr lang="en-GB"/>
          </a:p>
        </p:txBody>
      </p:sp>
    </p:spTree>
    <p:extLst>
      <p:ext uri="{BB962C8B-B14F-4D97-AF65-F5344CB8AC3E}">
        <p14:creationId xmlns:p14="http://schemas.microsoft.com/office/powerpoint/2010/main" val="12833198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8</a:t>
            </a:fld>
            <a:endParaRPr lang="en-GB"/>
          </a:p>
        </p:txBody>
      </p:sp>
    </p:spTree>
    <p:extLst>
      <p:ext uri="{BB962C8B-B14F-4D97-AF65-F5344CB8AC3E}">
        <p14:creationId xmlns:p14="http://schemas.microsoft.com/office/powerpoint/2010/main" val="19901586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hangingPunct="0">
              <a:tabLst>
                <a:tab pos="90170" algn="l"/>
              </a:tabLst>
            </a:pPr>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1</a:t>
            </a:fld>
            <a:endParaRPr lang="en-GB"/>
          </a:p>
        </p:txBody>
      </p:sp>
    </p:spTree>
    <p:extLst>
      <p:ext uri="{BB962C8B-B14F-4D97-AF65-F5344CB8AC3E}">
        <p14:creationId xmlns:p14="http://schemas.microsoft.com/office/powerpoint/2010/main" val="32978186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hangingPunct="0">
              <a:tabLst>
                <a:tab pos="90170" algn="l"/>
              </a:tabLst>
            </a:pPr>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2</a:t>
            </a:fld>
            <a:endParaRPr lang="en-GB"/>
          </a:p>
        </p:txBody>
      </p:sp>
    </p:spTree>
    <p:extLst>
      <p:ext uri="{BB962C8B-B14F-4D97-AF65-F5344CB8AC3E}">
        <p14:creationId xmlns:p14="http://schemas.microsoft.com/office/powerpoint/2010/main" val="25590198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hangingPunct="0">
              <a:tabLst>
                <a:tab pos="90170" algn="l"/>
              </a:tabLst>
            </a:pPr>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3</a:t>
            </a:fld>
            <a:endParaRPr lang="en-GB"/>
          </a:p>
        </p:txBody>
      </p:sp>
    </p:spTree>
    <p:extLst>
      <p:ext uri="{BB962C8B-B14F-4D97-AF65-F5344CB8AC3E}">
        <p14:creationId xmlns:p14="http://schemas.microsoft.com/office/powerpoint/2010/main" val="5905145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14</a:t>
            </a:fld>
            <a:endParaRPr lang="en-GB"/>
          </a:p>
        </p:txBody>
      </p:sp>
    </p:spTree>
    <p:extLst>
      <p:ext uri="{BB962C8B-B14F-4D97-AF65-F5344CB8AC3E}">
        <p14:creationId xmlns:p14="http://schemas.microsoft.com/office/powerpoint/2010/main" val="6368054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3917376436"/>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EB58BF2-7720-951A-0737-25DCDFC44C9A}"/>
              </a:ext>
            </a:extLst>
          </p:cNvPr>
          <p:cNvGraphicFramePr>
            <a:graphicFrameLocks noChangeAspect="1"/>
          </p:cNvGraphicFramePr>
          <p:nvPr userDrawn="1">
            <p:custDataLst>
              <p:tags r:id="rId1"/>
            </p:custDataLst>
            <p:extLst>
              <p:ext uri="{D42A27DB-BD31-4B8C-83A1-F6EECF244321}">
                <p14:modId xmlns:p14="http://schemas.microsoft.com/office/powerpoint/2010/main" val="1981240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7EB58BF2-7720-951A-0737-25DCDFC44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13">
            <a:extLst>
              <a:ext uri="{FF2B5EF4-FFF2-40B4-BE49-F238E27FC236}">
                <a16:creationId xmlns:a16="http://schemas.microsoft.com/office/drawing/2014/main" id="{A6EC04CA-D2F1-3C13-C6B0-7A92F7B31B2A}"/>
              </a:ext>
            </a:extLst>
          </p:cNvPr>
          <p:cNvSpPr>
            <a:spLocks noGrp="1"/>
          </p:cNvSpPr>
          <p:nvPr>
            <p:ph type="pic" sz="quarter" idx="10"/>
          </p:nvPr>
        </p:nvSpPr>
        <p:spPr>
          <a:xfrm>
            <a:off x="4327525" y="0"/>
            <a:ext cx="7864475" cy="6858000"/>
          </a:xfrm>
        </p:spPr>
        <p:txBody>
          <a:bodyPr/>
          <a:lstStyle/>
          <a:p>
            <a:endParaRPr lang="en-GB"/>
          </a:p>
        </p:txBody>
      </p:sp>
      <p:sp>
        <p:nvSpPr>
          <p:cNvPr id="5" name="Freeform 13">
            <a:extLst>
              <a:ext uri="{FF2B5EF4-FFF2-40B4-BE49-F238E27FC236}">
                <a16:creationId xmlns:a16="http://schemas.microsoft.com/office/drawing/2014/main" id="{3FECC16A-B1FD-FAF5-EB5C-6894270D0777}"/>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hasCustomPrompt="1"/>
          </p:nvPr>
        </p:nvSpPr>
        <p:spPr>
          <a:xfrm>
            <a:off x="442912" y="428625"/>
            <a:ext cx="7418388" cy="2428874"/>
          </a:xfrm>
        </p:spPr>
        <p:txBody>
          <a:bodyPr vert="horz" anchor="b" anchorCtr="0"/>
          <a:lstStyle>
            <a:lvl1pPr algn="l">
              <a:lnSpc>
                <a:spcPct val="85000"/>
              </a:lnSpc>
              <a:defRPr sz="6000">
                <a:solidFill>
                  <a:schemeClr val="bg1"/>
                </a:solidFill>
              </a:defRPr>
            </a:lvl1pPr>
          </a:lstStyle>
          <a:p>
            <a:r>
              <a:rPr lang="en-US"/>
              <a:t>[Divider]</a:t>
            </a:r>
            <a:endParaRPr lang="en-GB"/>
          </a:p>
        </p:txBody>
      </p:sp>
    </p:spTree>
    <p:extLst>
      <p:ext uri="{BB962C8B-B14F-4D97-AF65-F5344CB8AC3E}">
        <p14:creationId xmlns:p14="http://schemas.microsoft.com/office/powerpoint/2010/main" val="579876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5765659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21235206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7418387"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11771131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11306175"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32581720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A1127051-9445-A34F-940C-D451EEF39800}"/>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C5E96824-1DC8-8F4C-9F19-4AA8BD36E946}"/>
              </a:ext>
            </a:extLst>
          </p:cNvPr>
          <p:cNvSpPr>
            <a:spLocks noGrp="1"/>
          </p:cNvSpPr>
          <p:nvPr>
            <p:ph type="dt" sz="half" idx="12"/>
          </p:nvPr>
        </p:nvSpPr>
        <p:spPr/>
        <p:txBody>
          <a:bodyPr/>
          <a:lstStyle/>
          <a:p>
            <a:r>
              <a:rPr lang="en-US"/>
              <a:t>Date</a:t>
            </a:r>
          </a:p>
        </p:txBody>
      </p:sp>
      <p:sp>
        <p:nvSpPr>
          <p:cNvPr id="4" name="Footer Placeholder 3">
            <a:extLst>
              <a:ext uri="{FF2B5EF4-FFF2-40B4-BE49-F238E27FC236}">
                <a16:creationId xmlns:a16="http://schemas.microsoft.com/office/drawing/2014/main" id="{46C406C8-2617-D442-A446-EA4D0CC6D9A3}"/>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31647214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7" name="Text Placeholder 12"/>
          <p:cNvSpPr>
            <a:spLocks noGrp="1"/>
          </p:cNvSpPr>
          <p:nvPr>
            <p:ph type="body" sz="quarter" idx="16" hasCustomPrompt="1"/>
          </p:nvPr>
        </p:nvSpPr>
        <p:spPr>
          <a:xfrm>
            <a:off x="335963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Text Placeholder 12"/>
          <p:cNvSpPr>
            <a:spLocks noGrp="1"/>
          </p:cNvSpPr>
          <p:nvPr>
            <p:ph type="body" sz="quarter" idx="18" hasCustomPrompt="1"/>
          </p:nvPr>
        </p:nvSpPr>
        <p:spPr>
          <a:xfrm>
            <a:off x="627636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Text Placeholder 12"/>
          <p:cNvSpPr>
            <a:spLocks noGrp="1"/>
          </p:cNvSpPr>
          <p:nvPr>
            <p:ph type="body" sz="quarter" idx="20" hasCustomPrompt="1"/>
          </p:nvPr>
        </p:nvSpPr>
        <p:spPr>
          <a:xfrm>
            <a:off x="919308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A3D2E598-676F-DE44-A364-05E35FEB3110}"/>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4EE7D73-CC34-F34E-8E0D-FE9EFCAB5B6D}"/>
              </a:ext>
            </a:extLst>
          </p:cNvPr>
          <p:cNvSpPr>
            <a:spLocks noGrp="1"/>
          </p:cNvSpPr>
          <p:nvPr>
            <p:ph type="dt" sz="half" idx="23"/>
          </p:nvPr>
        </p:nvSpPr>
        <p:spPr/>
        <p:txBody>
          <a:bodyPr/>
          <a:lstStyle/>
          <a:p>
            <a:r>
              <a:rPr lang="en-US"/>
              <a:t>Date</a:t>
            </a:r>
          </a:p>
        </p:txBody>
      </p:sp>
      <p:sp>
        <p:nvSpPr>
          <p:cNvPr id="3" name="Footer Placeholder 2">
            <a:extLst>
              <a:ext uri="{FF2B5EF4-FFF2-40B4-BE49-F238E27FC236}">
                <a16:creationId xmlns:a16="http://schemas.microsoft.com/office/drawing/2014/main" id="{3D69DEA3-5E99-424B-BE2E-8D9202AD4FC0}"/>
              </a:ext>
            </a:extLst>
          </p:cNvPr>
          <p:cNvSpPr>
            <a:spLocks noGrp="1"/>
          </p:cNvSpPr>
          <p:nvPr>
            <p:ph type="ftr" sz="quarter" idx="24"/>
          </p:nvPr>
        </p:nvSpPr>
        <p:spPr/>
        <p:txBody>
          <a:bodyPr/>
          <a:lstStyle/>
          <a:p>
            <a:pPr algn="l"/>
            <a:r>
              <a:rPr lang="en-US"/>
              <a:t>Presentation Title</a:t>
            </a:r>
          </a:p>
        </p:txBody>
      </p:sp>
    </p:spTree>
    <p:extLst>
      <p:ext uri="{BB962C8B-B14F-4D97-AF65-F5344CB8AC3E}">
        <p14:creationId xmlns:p14="http://schemas.microsoft.com/office/powerpoint/2010/main" val="1593770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8D441EEF-A6BC-2368-26BE-D00D5952AFE6}"/>
              </a:ext>
            </a:extLst>
          </p:cNvPr>
          <p:cNvGraphicFramePr>
            <a:graphicFrameLocks noChangeAspect="1"/>
          </p:cNvGraphicFramePr>
          <p:nvPr userDrawn="1">
            <p:custDataLst>
              <p:tags r:id="rId1"/>
            </p:custDataLst>
            <p:extLst>
              <p:ext uri="{D42A27DB-BD31-4B8C-83A1-F6EECF244321}">
                <p14:modId xmlns:p14="http://schemas.microsoft.com/office/powerpoint/2010/main" val="3422456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1" name="think-cell data - do not delete" hidden="1">
                        <a:extLst>
                          <a:ext uri="{FF2B5EF4-FFF2-40B4-BE49-F238E27FC236}">
                            <a16:creationId xmlns:a16="http://schemas.microsoft.com/office/drawing/2014/main" id="{8D441EEF-A6BC-2368-26BE-D00D5952AF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42913" y="432001"/>
            <a:ext cx="11306175" cy="1387274"/>
          </a:xfrm>
        </p:spPr>
        <p:txBody>
          <a:bodyPr vert="horz"/>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a:xfrm>
            <a:off x="9984296" y="6355080"/>
            <a:ext cx="1764792" cy="137160"/>
          </a:xfrm>
        </p:spPr>
        <p:txBody>
          <a:bodyPr/>
          <a:lstStyle/>
          <a:p>
            <a:r>
              <a:rPr lang="en-US"/>
              <a:t>Date</a:t>
            </a:r>
          </a:p>
        </p:txBody>
      </p:sp>
      <p:sp>
        <p:nvSpPr>
          <p:cNvPr id="9" name="Text Placeholder 8">
            <a:extLst>
              <a:ext uri="{FF2B5EF4-FFF2-40B4-BE49-F238E27FC236}">
                <a16:creationId xmlns:a16="http://schemas.microsoft.com/office/drawing/2014/main" id="{DD2FB3D1-7235-0BBC-7185-07B5EA3F3CD8}"/>
              </a:ext>
            </a:extLst>
          </p:cNvPr>
          <p:cNvSpPr>
            <a:spLocks noGrp="1"/>
          </p:cNvSpPr>
          <p:nvPr>
            <p:ph type="body" sz="quarter" idx="13" hasCustomPrompt="1"/>
          </p:nvPr>
        </p:nvSpPr>
        <p:spPr>
          <a:xfrm>
            <a:off x="442913" y="6491287"/>
            <a:ext cx="3600000" cy="138113"/>
          </a:xfrm>
        </p:spPr>
        <p:txBody>
          <a:bodyPr anchor="ctr"/>
          <a:lstStyle>
            <a:lvl1pPr>
              <a:spcAft>
                <a:spcPts val="0"/>
              </a:spcAft>
              <a:defRPr sz="750" b="0">
                <a:solidFill>
                  <a:schemeClr val="accent1"/>
                </a:solidFill>
              </a:defRPr>
            </a:lvl1pPr>
          </a:lstStyle>
          <a:p>
            <a:pPr lvl="0"/>
            <a:r>
              <a:rPr lang="en-US"/>
              <a:t>Footer</a:t>
            </a:r>
            <a:endParaRPr lang="en-GB"/>
          </a:p>
        </p:txBody>
      </p:sp>
    </p:spTree>
    <p:extLst>
      <p:ext uri="{BB962C8B-B14F-4D97-AF65-F5344CB8AC3E}">
        <p14:creationId xmlns:p14="http://schemas.microsoft.com/office/powerpoint/2010/main" val="15315883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95797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251F687-9DDF-5971-6C01-48B246449A4A}"/>
              </a:ext>
            </a:extLst>
          </p:cNvPr>
          <p:cNvSpPr>
            <a:spLocks noGrp="1"/>
          </p:cNvSpPr>
          <p:nvPr>
            <p:ph type="pic" sz="quarter" idx="10"/>
          </p:nvPr>
        </p:nvSpPr>
        <p:spPr>
          <a:xfrm>
            <a:off x="0" y="0"/>
            <a:ext cx="12192000" cy="6858000"/>
          </a:xfrm>
        </p:spPr>
        <p:txBody>
          <a:bodyPr/>
          <a:lstStyle/>
          <a:p>
            <a:endParaRPr lang="en-GB"/>
          </a:p>
        </p:txBody>
      </p:sp>
    </p:spTree>
    <p:extLst>
      <p:ext uri="{BB962C8B-B14F-4D97-AF65-F5344CB8AC3E}">
        <p14:creationId xmlns:p14="http://schemas.microsoft.com/office/powerpoint/2010/main" val="1741556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B1482CA-31CA-3B52-3F46-FD91ED32E52A}"/>
              </a:ext>
            </a:extLst>
          </p:cNvPr>
          <p:cNvGraphicFramePr>
            <a:graphicFrameLocks noChangeAspect="1"/>
          </p:cNvGraphicFramePr>
          <p:nvPr userDrawn="1">
            <p:custDataLst>
              <p:tags r:id="rId13"/>
            </p:custDataLst>
            <p:extLst>
              <p:ext uri="{D42A27DB-BD31-4B8C-83A1-F6EECF244321}">
                <p14:modId xmlns:p14="http://schemas.microsoft.com/office/powerpoint/2010/main" val="835304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73" imgH="476" progId="TCLayout.ActiveDocument.1">
                  <p:embed/>
                </p:oleObj>
              </mc:Choice>
              <mc:Fallback>
                <p:oleObj name="think-cell Slide" r:id="rId14" imgW="473" imgH="476" progId="TCLayout.ActiveDocument.1">
                  <p:embed/>
                  <p:pic>
                    <p:nvPicPr>
                      <p:cNvPr id="9" name="think-cell data - do not delete" hidden="1">
                        <a:extLst>
                          <a:ext uri="{FF2B5EF4-FFF2-40B4-BE49-F238E27FC236}">
                            <a16:creationId xmlns:a16="http://schemas.microsoft.com/office/drawing/2014/main" id="{BB1482CA-31CA-3B52-3F46-FD91ED32E52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en-US"/>
              <a:t>[Slide title]</a:t>
            </a:r>
            <a:endParaRPr lang="en-GB"/>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r>
              <a:rPr lang="en-US"/>
              <a:t>Date</a:t>
            </a:r>
          </a:p>
        </p:txBody>
      </p:sp>
      <p:sp>
        <p:nvSpPr>
          <p:cNvPr id="5" name="Footer Placeholder 4">
            <a:extLst>
              <a:ext uri="{FF2B5EF4-FFF2-40B4-BE49-F238E27FC236}">
                <a16:creationId xmlns:a16="http://schemas.microsoft.com/office/drawing/2014/main" id="{BE929DBE-EF12-9845-B0FD-DF795B823DF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ctr">
              <a:defRPr sz="750">
                <a:solidFill>
                  <a:schemeClr val="tx1"/>
                </a:solidFill>
              </a:defRPr>
            </a:lvl1pPr>
          </a:lstStyle>
          <a:p>
            <a:pPr algn="l"/>
            <a:r>
              <a:rPr lang="en-US"/>
              <a:t>Presentation Title</a:t>
            </a:r>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28" r:id="rId1"/>
    <p:sldLayoutId id="2147483740" r:id="rId2"/>
    <p:sldLayoutId id="2147483741" r:id="rId3"/>
    <p:sldLayoutId id="2147483742" r:id="rId4"/>
    <p:sldLayoutId id="2147483743" r:id="rId5"/>
    <p:sldLayoutId id="2147483750" r:id="rId6"/>
    <p:sldLayoutId id="2147483786" r:id="rId7"/>
    <p:sldLayoutId id="2147483787" r:id="rId8"/>
    <p:sldLayoutId id="2147483790" r:id="rId9"/>
    <p:sldLayoutId id="2147483791" r:id="rId10"/>
    <p:sldLayoutId id="2147483792" r:id="rId11"/>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1.xml"/><Relationship Id="rId7"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5.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5.xml"/><Relationship Id="rId1" Type="http://schemas.openxmlformats.org/officeDocument/2006/relationships/tags" Target="../tags/tag14.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0.xml"/><Relationship Id="rId1" Type="http://schemas.openxmlformats.org/officeDocument/2006/relationships/tags" Target="../tags/tag18.xml"/><Relationship Id="rId6" Type="http://schemas.openxmlformats.org/officeDocument/2006/relationships/image" Target="../media/image15.jpeg"/><Relationship Id="rId5" Type="http://schemas.openxmlformats.org/officeDocument/2006/relationships/image" Target="../media/image2.emf"/><Relationship Id="rId4" Type="http://schemas.openxmlformats.org/officeDocument/2006/relationships/oleObject" Target="../embeddings/oleObject17.bin"/></Relationships>
</file>

<file path=ppt/slides/_rels/slide15.xml.rels><?xml version="1.0" encoding="UTF-8" standalone="yes"?>
<Relationships xmlns="http://schemas.openxmlformats.org/package/2006/relationships"><Relationship Id="rId8" Type="http://schemas.openxmlformats.org/officeDocument/2006/relationships/hyperlink" Target="https://www.youtube.com/watch?v=l83uNiZHdsw" TargetMode="External"/><Relationship Id="rId3" Type="http://schemas.openxmlformats.org/officeDocument/2006/relationships/notesSlide" Target="../notesSlides/notesSlide10.xml"/><Relationship Id="rId7" Type="http://schemas.openxmlformats.org/officeDocument/2006/relationships/hyperlink" Target="https://www.youtube.com/watch?v=9DsVHRubNI4" TargetMode="External"/><Relationship Id="rId2" Type="http://schemas.openxmlformats.org/officeDocument/2006/relationships/slideLayout" Target="../slideLayouts/slideLayout5.xml"/><Relationship Id="rId1" Type="http://schemas.openxmlformats.org/officeDocument/2006/relationships/tags" Target="../tags/tag19.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20.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21.xml"/><Relationship Id="rId6" Type="http://schemas.openxmlformats.org/officeDocument/2006/relationships/image" Target="../media/image18.jpeg"/><Relationship Id="rId5" Type="http://schemas.openxmlformats.org/officeDocument/2006/relationships/image" Target="../media/image2.emf"/><Relationship Id="rId4" Type="http://schemas.openxmlformats.org/officeDocument/2006/relationships/oleObject" Target="../embeddings/oleObject20.bin"/></Relationships>
</file>

<file path=ppt/slides/_rels/slide18.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18" Type="http://schemas.openxmlformats.org/officeDocument/2006/relationships/image" Target="../media/image31.svg"/><Relationship Id="rId3" Type="http://schemas.openxmlformats.org/officeDocument/2006/relationships/notesSlide" Target="../notesSlides/notesSlide13.xml"/><Relationship Id="rId21" Type="http://schemas.openxmlformats.org/officeDocument/2006/relationships/image" Target="../media/image34.png"/><Relationship Id="rId7" Type="http://schemas.openxmlformats.org/officeDocument/2006/relationships/image" Target="../media/image20.png"/><Relationship Id="rId12" Type="http://schemas.openxmlformats.org/officeDocument/2006/relationships/image" Target="../media/image25.svg"/><Relationship Id="rId17" Type="http://schemas.openxmlformats.org/officeDocument/2006/relationships/image" Target="../media/image30.png"/><Relationship Id="rId25" Type="http://schemas.openxmlformats.org/officeDocument/2006/relationships/image" Target="../media/image7.png"/><Relationship Id="rId2" Type="http://schemas.openxmlformats.org/officeDocument/2006/relationships/slideLayout" Target="../slideLayouts/slideLayout11.xml"/><Relationship Id="rId16" Type="http://schemas.openxmlformats.org/officeDocument/2006/relationships/image" Target="../media/image29.svg"/><Relationship Id="rId20" Type="http://schemas.openxmlformats.org/officeDocument/2006/relationships/image" Target="../media/image33.svg"/><Relationship Id="rId1" Type="http://schemas.openxmlformats.org/officeDocument/2006/relationships/tags" Target="../tags/tag22.xml"/><Relationship Id="rId6" Type="http://schemas.openxmlformats.org/officeDocument/2006/relationships/image" Target="../media/image1.emf"/><Relationship Id="rId11" Type="http://schemas.openxmlformats.org/officeDocument/2006/relationships/image" Target="../media/image24.png"/><Relationship Id="rId24" Type="http://schemas.openxmlformats.org/officeDocument/2006/relationships/image" Target="../media/image37.svg"/><Relationship Id="rId5" Type="http://schemas.openxmlformats.org/officeDocument/2006/relationships/oleObject" Target="../embeddings/oleObject21.bin"/><Relationship Id="rId15" Type="http://schemas.openxmlformats.org/officeDocument/2006/relationships/image" Target="../media/image28.png"/><Relationship Id="rId23" Type="http://schemas.openxmlformats.org/officeDocument/2006/relationships/image" Target="../media/image36.png"/><Relationship Id="rId10" Type="http://schemas.openxmlformats.org/officeDocument/2006/relationships/image" Target="../media/image23.svg"/><Relationship Id="rId19" Type="http://schemas.openxmlformats.org/officeDocument/2006/relationships/image" Target="../media/image32.png"/><Relationship Id="rId4" Type="http://schemas.openxmlformats.org/officeDocument/2006/relationships/image" Target="../media/image19.jpeg"/><Relationship Id="rId9" Type="http://schemas.openxmlformats.org/officeDocument/2006/relationships/image" Target="../media/image22.png"/><Relationship Id="rId14" Type="http://schemas.openxmlformats.org/officeDocument/2006/relationships/image" Target="../media/image27.svg"/><Relationship Id="rId22" Type="http://schemas.openxmlformats.org/officeDocument/2006/relationships/image" Target="../media/image35.sv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23.xml"/><Relationship Id="rId6" Type="http://schemas.openxmlformats.org/officeDocument/2006/relationships/image" Target="../media/image38.jpe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tags" Target="../tags/tag6.xml"/><Relationship Id="rId5" Type="http://schemas.openxmlformats.org/officeDocument/2006/relationships/image" Target="../media/image6.jpe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image" Target="../media/image38.jpe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25.xml"/><Relationship Id="rId6" Type="http://schemas.openxmlformats.org/officeDocument/2006/relationships/image" Target="../media/image38.jpe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27.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5.xml"/><Relationship Id="rId1" Type="http://schemas.openxmlformats.org/officeDocument/2006/relationships/tags" Target="../tags/tag3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29.xml.rels><?xml version="1.0" encoding="UTF-8" standalone="yes"?>
<Relationships xmlns="http://schemas.openxmlformats.org/package/2006/relationships"><Relationship Id="rId8" Type="http://schemas.openxmlformats.org/officeDocument/2006/relationships/hyperlink" Target="https://www.nmpd.gov.lv/lv/sliksana" TargetMode="External"/><Relationship Id="rId3" Type="http://schemas.openxmlformats.org/officeDocument/2006/relationships/notesSlide" Target="../notesSlides/notesSlide24.xml"/><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39.jpe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1.xml"/><Relationship Id="rId1" Type="http://schemas.openxmlformats.org/officeDocument/2006/relationships/tags" Target="../tags/tag7.xml"/><Relationship Id="rId6" Type="http://schemas.openxmlformats.org/officeDocument/2006/relationships/image" Target="../media/image8.jpeg"/><Relationship Id="rId5" Type="http://schemas.openxmlformats.org/officeDocument/2006/relationships/image" Target="../media/image7.pn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5.xml"/><Relationship Id="rId1" Type="http://schemas.openxmlformats.org/officeDocument/2006/relationships/tags" Target="../tags/tag3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5.xml"/><Relationship Id="rId1" Type="http://schemas.openxmlformats.org/officeDocument/2006/relationships/tags" Target="../tags/tag3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7.png"/><Relationship Id="rId2" Type="http://schemas.openxmlformats.org/officeDocument/2006/relationships/slideLayout" Target="../slideLayouts/slideLayout5.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image" Target="../media/image40.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image" Target="../media/image41.jpe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34.xml.rels><?xml version="1.0" encoding="UTF-8" standalone="yes"?>
<Relationships xmlns="http://schemas.openxmlformats.org/package/2006/relationships"><Relationship Id="rId8" Type="http://schemas.openxmlformats.org/officeDocument/2006/relationships/hyperlink" Target="https://www.youtube.com/watch?v=Ue407uWqzC0" TargetMode="External"/><Relationship Id="rId3" Type="http://schemas.openxmlformats.org/officeDocument/2006/relationships/notesSlide" Target="../notesSlides/notesSlide29.xml"/><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image" Target="../media/image38.jpe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image" Target="../media/image42.jpe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3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notesSlide" Target="../notesSlides/notesSlide31.xml"/><Relationship Id="rId7" Type="http://schemas.openxmlformats.org/officeDocument/2006/relationships/image" Target="../media/image43.png"/><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46.svg"/><Relationship Id="rId2" Type="http://schemas.openxmlformats.org/officeDocument/2006/relationships/slideLayout" Target="../slideLayouts/slideLayout5.xml"/><Relationship Id="rId1" Type="http://schemas.openxmlformats.org/officeDocument/2006/relationships/tags" Target="../tags/tag41.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hyperlink" Target="https://www.youtube.com/watch?v=BVocuHX4xOI&amp;t=2s" TargetMode="External"/><Relationship Id="rId2" Type="http://schemas.openxmlformats.org/officeDocument/2006/relationships/slideLayout" Target="../slideLayouts/slideLayout5.xml"/><Relationship Id="rId1" Type="http://schemas.openxmlformats.org/officeDocument/2006/relationships/tags" Target="../tags/tag4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39.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notesSlide" Target="../notesSlides/notesSlide34.xml"/><Relationship Id="rId7" Type="http://schemas.openxmlformats.org/officeDocument/2006/relationships/image" Target="../media/image47.png"/><Relationship Id="rId2" Type="http://schemas.openxmlformats.org/officeDocument/2006/relationships/slideLayout" Target="../slideLayouts/slideLayout5.xml"/><Relationship Id="rId1" Type="http://schemas.openxmlformats.org/officeDocument/2006/relationships/tags" Target="../tags/tag43.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8.xml"/><Relationship Id="rId6" Type="http://schemas.openxmlformats.org/officeDocument/2006/relationships/image" Target="../media/image9.jpeg"/><Relationship Id="rId5" Type="http://schemas.openxmlformats.org/officeDocument/2006/relationships/image" Target="../media/image2.emf"/><Relationship Id="rId4" Type="http://schemas.openxmlformats.org/officeDocument/2006/relationships/oleObject" Target="../embeddings/oleObject7.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image" Target="../media/image49.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image" Target="../media/image49.jpe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image" Target="../media/image50.jpe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image" Target="../media/image51.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image" Target="../media/image52.jpeg"/><Relationship Id="rId5" Type="http://schemas.openxmlformats.org/officeDocument/2006/relationships/image" Target="../media/image1.emf"/><Relationship Id="rId4" Type="http://schemas.openxmlformats.org/officeDocument/2006/relationships/oleObject" Target="../embeddings/oleObject47.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image" Target="../media/image53.jpeg"/><Relationship Id="rId5" Type="http://schemas.openxmlformats.org/officeDocument/2006/relationships/image" Target="../media/image1.emf"/><Relationship Id="rId4" Type="http://schemas.openxmlformats.org/officeDocument/2006/relationships/oleObject" Target="../embeddings/oleObject48.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0.xml"/><Relationship Id="rId1" Type="http://schemas.openxmlformats.org/officeDocument/2006/relationships/tags" Target="../tags/tag50.xml"/><Relationship Id="rId6" Type="http://schemas.openxmlformats.org/officeDocument/2006/relationships/image" Target="../media/image54.jpeg"/><Relationship Id="rId5" Type="http://schemas.openxmlformats.org/officeDocument/2006/relationships/image" Target="../media/image2.emf"/><Relationship Id="rId4" Type="http://schemas.openxmlformats.org/officeDocument/2006/relationships/oleObject" Target="../embeddings/oleObject49.bin"/></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7.xml"/><Relationship Id="rId1" Type="http://schemas.openxmlformats.org/officeDocument/2006/relationships/tags" Target="../tags/tag10.xml"/><Relationship Id="rId5" Type="http://schemas.openxmlformats.org/officeDocument/2006/relationships/image" Target="../media/image10.jpe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xml"/><Relationship Id="rId1" Type="http://schemas.openxmlformats.org/officeDocument/2006/relationships/tags" Target="../tags/tag12.xml"/><Relationship Id="rId6" Type="http://schemas.openxmlformats.org/officeDocument/2006/relationships/image" Target="../media/image12.jpeg"/><Relationship Id="rId5" Type="http://schemas.openxmlformats.org/officeDocument/2006/relationships/image" Target="../media/image2.emf"/><Relationship Id="rId4" Type="http://schemas.openxmlformats.org/officeDocument/2006/relationships/oleObject" Target="../embeddings/oleObject11.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5.xml"/><Relationship Id="rId1" Type="http://schemas.openxmlformats.org/officeDocument/2006/relationships/tags" Target="../tags/tag13.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519BE3E-6430-6DF8-7979-F97BC9AEB1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think-cell data - do not delete" hidden="1">
                        <a:extLst>
                          <a:ext uri="{FF2B5EF4-FFF2-40B4-BE49-F238E27FC236}">
                            <a16:creationId xmlns:a16="http://schemas.microsoft.com/office/drawing/2014/main" id="{F519BE3E-6430-6DF8-7979-F97BC9AEB1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5" name="Picture Placeholder 24" descr="A group of people in blue uniforms&#10;&#10;Description automatically generated">
            <a:extLst>
              <a:ext uri="{FF2B5EF4-FFF2-40B4-BE49-F238E27FC236}">
                <a16:creationId xmlns:a16="http://schemas.microsoft.com/office/drawing/2014/main" id="{C8497267-3385-72A7-9442-F96BED434CC7}"/>
              </a:ext>
            </a:extLst>
          </p:cNvPr>
          <p:cNvPicPr>
            <a:picLocks noGrp="1" noChangeAspect="1"/>
          </p:cNvPicPr>
          <p:nvPr>
            <p:ph type="pic" sz="quarter" idx="10"/>
          </p:nvPr>
        </p:nvPicPr>
        <p:blipFill>
          <a:blip r:embed="rId6"/>
          <a:srcRect t="7812" b="7812"/>
          <a:stretch>
            <a:fillRect/>
          </a:stretch>
        </p:blipFill>
        <p:spPr>
          <a:xfrm>
            <a:off x="0" y="0"/>
            <a:ext cx="12192000" cy="6858000"/>
          </a:xfrm>
        </p:spPr>
      </p:pic>
      <p:sp>
        <p:nvSpPr>
          <p:cNvPr id="15" name="Rectangle 14">
            <a:extLst>
              <a:ext uri="{FF2B5EF4-FFF2-40B4-BE49-F238E27FC236}">
                <a16:creationId xmlns:a16="http://schemas.microsoft.com/office/drawing/2014/main" id="{BE44F20B-FA95-2861-40B9-74FCD9F509AC}"/>
              </a:ext>
            </a:extLst>
          </p:cNvPr>
          <p:cNvSpPr>
            <a:spLocks/>
          </p:cNvSpPr>
          <p:nvPr/>
        </p:nvSpPr>
        <p:spPr>
          <a:xfrm>
            <a:off x="10886" y="0"/>
            <a:ext cx="12192000" cy="6858000"/>
          </a:xfrm>
          <a:prstGeom prst="rect">
            <a:avLst/>
          </a:prstGeom>
          <a:solidFill>
            <a:srgbClr val="525A72">
              <a:alpha val="50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0" name="Rectangle 9">
            <a:extLst>
              <a:ext uri="{FF2B5EF4-FFF2-40B4-BE49-F238E27FC236}">
                <a16:creationId xmlns:a16="http://schemas.microsoft.com/office/drawing/2014/main" id="{1AF1F518-FFCA-3677-677C-CC302DF4DAFE}"/>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1" name="Rectangle 10">
            <a:extLst>
              <a:ext uri="{FF2B5EF4-FFF2-40B4-BE49-F238E27FC236}">
                <a16:creationId xmlns:a16="http://schemas.microsoft.com/office/drawing/2014/main" id="{DBC36456-4B66-EB4A-D981-C3F1BA8DC87C}"/>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123D026D-5D8F-A549-5FE7-CFE0079FF1A4}"/>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 name="Rectangle 12">
            <a:extLst>
              <a:ext uri="{FF2B5EF4-FFF2-40B4-BE49-F238E27FC236}">
                <a16:creationId xmlns:a16="http://schemas.microsoft.com/office/drawing/2014/main" id="{2CDF9D1C-06B6-DBD5-46F8-513B52B4445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E62C2375-E0A6-F543-AA10-2197973EFACB}"/>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6" name="Taisnstūris 6">
            <a:extLst>
              <a:ext uri="{FF2B5EF4-FFF2-40B4-BE49-F238E27FC236}">
                <a16:creationId xmlns:a16="http://schemas.microsoft.com/office/drawing/2014/main" id="{12D56AF0-5D91-586B-FC86-6E2EA8AA6489}"/>
              </a:ext>
            </a:extLst>
          </p:cNvPr>
          <p:cNvSpPr/>
          <p:nvPr/>
        </p:nvSpPr>
        <p:spPr>
          <a:xfrm>
            <a:off x="12398077"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7" name="Taisnstūris 3">
            <a:extLst>
              <a:ext uri="{FF2B5EF4-FFF2-40B4-BE49-F238E27FC236}">
                <a16:creationId xmlns:a16="http://schemas.microsoft.com/office/drawing/2014/main" id="{2AD67365-5F03-E963-4C79-A9BF11E64D4B}"/>
              </a:ext>
            </a:extLst>
          </p:cNvPr>
          <p:cNvSpPr/>
          <p:nvPr/>
        </p:nvSpPr>
        <p:spPr>
          <a:xfrm>
            <a:off x="12398125" y="956285"/>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8" name="Taisnstūris 4">
            <a:extLst>
              <a:ext uri="{FF2B5EF4-FFF2-40B4-BE49-F238E27FC236}">
                <a16:creationId xmlns:a16="http://schemas.microsoft.com/office/drawing/2014/main" id="{3EFF9D7B-F6C9-BDA4-7649-F6C5399146DF}"/>
              </a:ext>
            </a:extLst>
          </p:cNvPr>
          <p:cNvSpPr/>
          <p:nvPr/>
        </p:nvSpPr>
        <p:spPr>
          <a:xfrm>
            <a:off x="12398125" y="1912302"/>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9" name="Taisnstūris 7">
            <a:extLst>
              <a:ext uri="{FF2B5EF4-FFF2-40B4-BE49-F238E27FC236}">
                <a16:creationId xmlns:a16="http://schemas.microsoft.com/office/drawing/2014/main" id="{3BD32581-6C0C-F715-E58C-F0FC848A828C}"/>
              </a:ext>
            </a:extLst>
          </p:cNvPr>
          <p:cNvSpPr/>
          <p:nvPr/>
        </p:nvSpPr>
        <p:spPr>
          <a:xfrm>
            <a:off x="12398125" y="2868319"/>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20" name="Taisnstūris 5">
            <a:extLst>
              <a:ext uri="{FF2B5EF4-FFF2-40B4-BE49-F238E27FC236}">
                <a16:creationId xmlns:a16="http://schemas.microsoft.com/office/drawing/2014/main" id="{C32CDEE4-492E-89E4-B047-D845DF6A57F6}"/>
              </a:ext>
            </a:extLst>
          </p:cNvPr>
          <p:cNvSpPr/>
          <p:nvPr/>
        </p:nvSpPr>
        <p:spPr>
          <a:xfrm>
            <a:off x="12398125" y="3824336"/>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21" name="Rectangle 20">
            <a:extLst>
              <a:ext uri="{FF2B5EF4-FFF2-40B4-BE49-F238E27FC236}">
                <a16:creationId xmlns:a16="http://schemas.microsoft.com/office/drawing/2014/main" id="{E8EC1277-A063-49F0-81F3-8CB8E7AB2F86}"/>
              </a:ext>
            </a:extLst>
          </p:cNvPr>
          <p:cNvSpPr/>
          <p:nvPr/>
        </p:nvSpPr>
        <p:spPr>
          <a:xfrm>
            <a:off x="1239812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 name="Rectangle 1">
            <a:extLst>
              <a:ext uri="{FF2B5EF4-FFF2-40B4-BE49-F238E27FC236}">
                <a16:creationId xmlns:a16="http://schemas.microsoft.com/office/drawing/2014/main" id="{40C94636-67C5-CC6E-9572-F8450A951DAF}"/>
              </a:ext>
            </a:extLst>
          </p:cNvPr>
          <p:cNvSpPr/>
          <p:nvPr/>
        </p:nvSpPr>
        <p:spPr>
          <a:xfrm>
            <a:off x="0" y="4952770"/>
            <a:ext cx="11034402" cy="190523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pic>
        <p:nvPicPr>
          <p:cNvPr id="5" name="Picture 4" descr="Valsts ugunsdzēsības un glābšanas dienests">
            <a:extLst>
              <a:ext uri="{FF2B5EF4-FFF2-40B4-BE49-F238E27FC236}">
                <a16:creationId xmlns:a16="http://schemas.microsoft.com/office/drawing/2014/main" id="{631590FE-98F3-B64D-B148-CC7F8DD2FB18}"/>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2171195" y="5339519"/>
            <a:ext cx="1422523" cy="127847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6A890E5E-5277-4353-F064-A3C824D92D0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02336" y="5185164"/>
            <a:ext cx="1566523" cy="1587180"/>
          </a:xfrm>
          <a:prstGeom prst="rect">
            <a:avLst/>
          </a:prstGeom>
        </p:spPr>
      </p:pic>
      <p:sp>
        <p:nvSpPr>
          <p:cNvPr id="22" name="TextBox 21">
            <a:extLst>
              <a:ext uri="{FF2B5EF4-FFF2-40B4-BE49-F238E27FC236}">
                <a16:creationId xmlns:a16="http://schemas.microsoft.com/office/drawing/2014/main" id="{A23194B3-7795-B693-1047-15EAD1BF84E8}"/>
              </a:ext>
            </a:extLst>
          </p:cNvPr>
          <p:cNvSpPr txBox="1"/>
          <p:nvPr/>
        </p:nvSpPr>
        <p:spPr>
          <a:xfrm>
            <a:off x="0" y="857851"/>
            <a:ext cx="6238875" cy="1415120"/>
          </a:xfrm>
          <a:prstGeom prst="rect">
            <a:avLst/>
          </a:prstGeom>
          <a:solidFill>
            <a:srgbClr val="525A72"/>
          </a:solidFill>
        </p:spPr>
        <p:txBody>
          <a:bodyPr wrap="square" lIns="468000" tIns="108000" rIns="108000" bIns="108000" anchor="ctr">
            <a:noAutofit/>
          </a:bodyPr>
          <a:lstStyle/>
          <a:p>
            <a:pPr>
              <a:lnSpc>
                <a:spcPct val="90000"/>
              </a:lnSpc>
              <a:spcBef>
                <a:spcPts val="1000"/>
              </a:spcBef>
            </a:pPr>
            <a:r>
              <a:rPr lang="lv-LV" sz="4400">
                <a:solidFill>
                  <a:schemeClr val="bg1"/>
                </a:solidFill>
                <a:latin typeface="+mj-lt"/>
              </a:rPr>
              <a:t>7. Pirmās palīdzības sniegšanas prasmes</a:t>
            </a:r>
            <a:endParaRPr lang="en-GB" sz="4400">
              <a:solidFill>
                <a:schemeClr val="bg1"/>
              </a:solidFill>
              <a:latin typeface="+mj-lt"/>
              <a:cs typeface="Arial"/>
            </a:endParaRPr>
          </a:p>
        </p:txBody>
      </p:sp>
      <p:sp>
        <p:nvSpPr>
          <p:cNvPr id="28" name="TextBox 27">
            <a:extLst>
              <a:ext uri="{FF2B5EF4-FFF2-40B4-BE49-F238E27FC236}">
                <a16:creationId xmlns:a16="http://schemas.microsoft.com/office/drawing/2014/main" id="{C16C8DB9-3881-94F9-A654-2D14350544F3}"/>
              </a:ext>
            </a:extLst>
          </p:cNvPr>
          <p:cNvSpPr txBox="1"/>
          <p:nvPr/>
        </p:nvSpPr>
        <p:spPr>
          <a:xfrm>
            <a:off x="0" y="435446"/>
            <a:ext cx="5515617" cy="422405"/>
          </a:xfrm>
          <a:prstGeom prst="rect">
            <a:avLst/>
          </a:prstGeom>
          <a:solidFill>
            <a:srgbClr val="CFD6E8"/>
          </a:solidFill>
        </p:spPr>
        <p:txBody>
          <a:bodyPr wrap="square" lIns="468000" tIns="72000" rIns="72000" bIns="72000" anchor="t">
            <a:spAutoFit/>
          </a:bodyPr>
          <a:lstStyle/>
          <a:p>
            <a:r>
              <a:rPr lang="lv-LV">
                <a:latin typeface="+mj-lt"/>
              </a:rPr>
              <a:t>Studiju kurss "Civilā aizsardzība"</a:t>
            </a:r>
            <a:endParaRPr lang="en-GB"/>
          </a:p>
        </p:txBody>
      </p:sp>
      <p:sp>
        <p:nvSpPr>
          <p:cNvPr id="29" name="TextBox 28">
            <a:extLst>
              <a:ext uri="{FF2B5EF4-FFF2-40B4-BE49-F238E27FC236}">
                <a16:creationId xmlns:a16="http://schemas.microsoft.com/office/drawing/2014/main" id="{9EC6938E-F2BC-AC86-28EB-89CA269398B1}"/>
              </a:ext>
            </a:extLst>
          </p:cNvPr>
          <p:cNvSpPr txBox="1"/>
          <p:nvPr/>
        </p:nvSpPr>
        <p:spPr>
          <a:xfrm>
            <a:off x="442911" y="2949097"/>
            <a:ext cx="10113199" cy="1515012"/>
          </a:xfrm>
          <a:prstGeom prst="rect">
            <a:avLst/>
          </a:prstGeom>
          <a:noFill/>
        </p:spPr>
        <p:txBody>
          <a:bodyPr wrap="square" lIns="72000" tIns="72000" rIns="72000" bIns="72000">
            <a:spAutoFit/>
          </a:bodyPr>
          <a:lstStyle/>
          <a:p>
            <a:pPr>
              <a:lnSpc>
                <a:spcPct val="100000"/>
              </a:lnSpc>
              <a:spcAft>
                <a:spcPts val="600"/>
              </a:spcAft>
              <a:buSzPct val="100000"/>
            </a:pPr>
            <a:r>
              <a:rPr lang="lv-LV" sz="1400">
                <a:solidFill>
                  <a:schemeClr val="bg1"/>
                </a:solidFill>
                <a:latin typeface="+mj-lt"/>
              </a:rPr>
              <a:t>Izstrādāts, balstoties uz </a:t>
            </a:r>
            <a:r>
              <a:rPr lang="lv-LV" sz="1400">
                <a:solidFill>
                  <a:schemeClr val="bg1"/>
                </a:solidFill>
                <a:effectLst/>
                <a:latin typeface="+mj-lt"/>
                <a:ea typeface="Times New Roman" panose="02020603050405020304" pitchFamily="18" charset="0"/>
              </a:rPr>
              <a:t>Neatliekamās medicīniskās palīdzības dienesta izstrādāto dokumentu </a:t>
            </a:r>
            <a:br>
              <a:rPr lang="lv-LV" sz="1400">
                <a:solidFill>
                  <a:schemeClr val="bg1"/>
                </a:solidFill>
                <a:effectLst/>
                <a:latin typeface="+mj-lt"/>
                <a:ea typeface="Times New Roman" panose="02020603050405020304" pitchFamily="18" charset="0"/>
              </a:rPr>
            </a:br>
            <a:r>
              <a:rPr lang="lv-LV" sz="1400">
                <a:solidFill>
                  <a:schemeClr val="bg1"/>
                </a:solidFill>
                <a:effectLst/>
                <a:latin typeface="+mj-lt"/>
                <a:ea typeface="Times New Roman" panose="02020603050405020304" pitchFamily="18" charset="0"/>
              </a:rPr>
              <a:t>«</a:t>
            </a:r>
            <a:r>
              <a:rPr lang="lv-LV" sz="1400">
                <a:solidFill>
                  <a:schemeClr val="bg1"/>
                </a:solidFill>
                <a:latin typeface="+mj-lt"/>
              </a:rPr>
              <a:t>Vadlīnijas pirmās palīdzības sniegšanā – pamata zināšanas un prasmes»</a:t>
            </a:r>
            <a:endParaRPr lang="en-US" sz="1400">
              <a:solidFill>
                <a:schemeClr val="bg1"/>
              </a:solidFill>
              <a:latin typeface="+mj-lt"/>
            </a:endParaRPr>
          </a:p>
          <a:p>
            <a:pPr>
              <a:spcAft>
                <a:spcPts val="600"/>
              </a:spcAft>
              <a:buSzPct val="100000"/>
            </a:pPr>
            <a:r>
              <a:rPr lang="lv-LV" sz="1400" b="0" i="0">
                <a:solidFill>
                  <a:schemeClr val="bg1"/>
                </a:solidFill>
                <a:effectLst/>
                <a:latin typeface="+mj-lt"/>
              </a:rPr>
              <a:t>Izstrādāts Eiropas Komisijas Civilās aizsardzības finanšu instrumenta „Track1” programmas projekta “Visaptverošas civilās aizsardzības un katastrofas pārvaldīšanas apmācības izveide valsts institūcijām, pašvaldību civilās aizsardzības komisijām, augstskolām, Ugunsdrošības un civilās aizsardzības koledžai, kā arī drošības padomu izveide sabiedrībai” (ECHO/SUB/2022/TRACK1/884396) ietvaros</a:t>
            </a:r>
            <a:endParaRPr lang="lv-LV" sz="1400">
              <a:solidFill>
                <a:schemeClr val="bg1"/>
              </a:solidFill>
              <a:latin typeface="+mj-lt"/>
            </a:endParaRPr>
          </a:p>
        </p:txBody>
      </p:sp>
    </p:spTree>
    <p:extLst>
      <p:ext uri="{BB962C8B-B14F-4D97-AF65-F5344CB8AC3E}">
        <p14:creationId xmlns:p14="http://schemas.microsoft.com/office/powerpoint/2010/main" val="30716040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6EF7C33-FF6D-2EC0-BE2C-041D2DDCEFC9}"/>
              </a:ext>
            </a:extLst>
          </p:cNvPr>
          <p:cNvGraphicFramePr>
            <a:graphicFrameLocks noChangeAspect="1"/>
          </p:cNvGraphicFramePr>
          <p:nvPr>
            <p:custDataLst>
              <p:tags r:id="rId1"/>
            </p:custDataLst>
            <p:extLst>
              <p:ext uri="{D42A27DB-BD31-4B8C-83A1-F6EECF244321}">
                <p14:modId xmlns:p14="http://schemas.microsoft.com/office/powerpoint/2010/main" val="1858014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9" name="think-cell data - do not delete" hidden="1">
                        <a:extLst>
                          <a:ext uri="{FF2B5EF4-FFF2-40B4-BE49-F238E27FC236}">
                            <a16:creationId xmlns:a16="http://schemas.microsoft.com/office/drawing/2014/main" id="{16EF7C33-FF6D-2EC0-BE2C-041D2DDCEF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2A7C9EB-E60F-E4DD-7BE8-A36BF399BA1F}"/>
              </a:ext>
            </a:extLst>
          </p:cNvPr>
          <p:cNvSpPr>
            <a:spLocks noGrp="1"/>
          </p:cNvSpPr>
          <p:nvPr>
            <p:ph type="title"/>
          </p:nvPr>
        </p:nvSpPr>
        <p:spPr/>
        <p:txBody>
          <a:bodyPr vert="horz"/>
          <a:lstStyle/>
          <a:p>
            <a:r>
              <a:rPr lang="lv-LV"/>
              <a:t>Kādā secībā notiek glābšanas ķēdīte? </a:t>
            </a:r>
            <a:br>
              <a:rPr lang="lv-LV"/>
            </a:br>
            <a:r>
              <a:rPr lang="lv-LV"/>
              <a:t>Kuros soļos Jums ir uzdevums iesaistīties? </a:t>
            </a:r>
          </a:p>
        </p:txBody>
      </p:sp>
      <p:sp>
        <p:nvSpPr>
          <p:cNvPr id="4" name="Slide Number Placeholder 3">
            <a:extLst>
              <a:ext uri="{FF2B5EF4-FFF2-40B4-BE49-F238E27FC236}">
                <a16:creationId xmlns:a16="http://schemas.microsoft.com/office/drawing/2014/main" id="{D7358D30-8A69-1769-6574-925287413D76}"/>
              </a:ext>
            </a:extLst>
          </p:cNvPr>
          <p:cNvSpPr>
            <a:spLocks noGrp="1"/>
          </p:cNvSpPr>
          <p:nvPr>
            <p:ph type="sldNum" sz="quarter" idx="11"/>
          </p:nvPr>
        </p:nvSpPr>
        <p:spPr/>
        <p:txBody>
          <a:bodyPr/>
          <a:lstStyle/>
          <a:p>
            <a:fld id="{7870704B-CE94-48CC-AF30-84932A1262A7}" type="slidenum">
              <a:rPr lang="lv-LV" smtClean="0"/>
              <a:pPr/>
              <a:t>10</a:t>
            </a:fld>
            <a:endParaRPr lang="lv-LV"/>
          </a:p>
        </p:txBody>
      </p:sp>
      <p:sp>
        <p:nvSpPr>
          <p:cNvPr id="30" name="Arrow: Right 29">
            <a:extLst>
              <a:ext uri="{FF2B5EF4-FFF2-40B4-BE49-F238E27FC236}">
                <a16:creationId xmlns:a16="http://schemas.microsoft.com/office/drawing/2014/main" id="{0E5402E0-269A-92B5-BC8D-30D2207F23A4}"/>
              </a:ext>
            </a:extLst>
          </p:cNvPr>
          <p:cNvSpPr/>
          <p:nvPr/>
        </p:nvSpPr>
        <p:spPr>
          <a:xfrm>
            <a:off x="9523133" y="4584743"/>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400"/>
          </a:p>
        </p:txBody>
      </p:sp>
      <p:sp>
        <p:nvSpPr>
          <p:cNvPr id="2" name="Rectangle 1">
            <a:extLst>
              <a:ext uri="{FF2B5EF4-FFF2-40B4-BE49-F238E27FC236}">
                <a16:creationId xmlns:a16="http://schemas.microsoft.com/office/drawing/2014/main" id="{C697EF02-3183-316C-47B1-AAA43503E885}"/>
              </a:ext>
            </a:extLst>
          </p:cNvPr>
          <p:cNvSpPr/>
          <p:nvPr/>
        </p:nvSpPr>
        <p:spPr>
          <a:xfrm>
            <a:off x="452644" y="1973520"/>
            <a:ext cx="6612491" cy="100989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hangingPunct="0"/>
            <a:r>
              <a:rPr lang="lv-LV" sz="1400">
                <a:solidFill>
                  <a:schemeClr val="tx1"/>
                </a:solidFill>
                <a:effectLst/>
                <a:ea typeface="Times New Roman" panose="02020603050405020304" pitchFamily="18" charset="0"/>
              </a:rPr>
              <a:t>Katra ķēdīte ir tikai tik stipra, cik stiprs ir tās vājākais posms.</a:t>
            </a:r>
          </a:p>
          <a:p>
            <a:pPr hangingPunct="0"/>
            <a:r>
              <a:rPr lang="lv-LV" sz="1400">
                <a:solidFill>
                  <a:schemeClr val="tx1"/>
                </a:solidFill>
                <a:effectLst/>
                <a:ea typeface="Times New Roman" panose="02020603050405020304" pitchFamily="18" charset="0"/>
              </a:rPr>
              <a:t>Jūsu uzdevums ir darboties </a:t>
            </a:r>
            <a:r>
              <a:rPr lang="lv-LV" sz="1400" b="1">
                <a:solidFill>
                  <a:schemeClr val="tx1"/>
                </a:solidFill>
                <a:effectLst/>
                <a:ea typeface="Times New Roman" panose="02020603050405020304" pitchFamily="18" charset="0"/>
              </a:rPr>
              <a:t>pirmo trīs </a:t>
            </a:r>
            <a:r>
              <a:rPr lang="lv-LV" sz="1400">
                <a:solidFill>
                  <a:schemeClr val="tx1"/>
                </a:solidFill>
                <a:effectLst/>
                <a:ea typeface="Times New Roman" panose="02020603050405020304" pitchFamily="18" charset="0"/>
              </a:rPr>
              <a:t>glābšanas ķēdītes posmu ietvaros.</a:t>
            </a:r>
          </a:p>
        </p:txBody>
      </p:sp>
      <p:sp>
        <p:nvSpPr>
          <p:cNvPr id="16" name="Content Placeholder 1">
            <a:extLst>
              <a:ext uri="{FF2B5EF4-FFF2-40B4-BE49-F238E27FC236}">
                <a16:creationId xmlns:a16="http://schemas.microsoft.com/office/drawing/2014/main" id="{BA798A18-B6C9-5AD5-0309-542D9063F7F3}"/>
              </a:ext>
            </a:extLst>
          </p:cNvPr>
          <p:cNvSpPr txBox="1">
            <a:spLocks/>
          </p:cNvSpPr>
          <p:nvPr/>
        </p:nvSpPr>
        <p:spPr>
          <a:xfrm>
            <a:off x="442913" y="4404743"/>
            <a:ext cx="1914207"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400">
                <a:solidFill>
                  <a:schemeClr val="bg1"/>
                </a:solidFill>
              </a:rPr>
              <a:t>Tūlītējie pasākumi</a:t>
            </a:r>
          </a:p>
        </p:txBody>
      </p:sp>
      <p:sp>
        <p:nvSpPr>
          <p:cNvPr id="17" name="Content Placeholder 1">
            <a:extLst>
              <a:ext uri="{FF2B5EF4-FFF2-40B4-BE49-F238E27FC236}">
                <a16:creationId xmlns:a16="http://schemas.microsoft.com/office/drawing/2014/main" id="{8151CA2C-8981-B68D-64B7-28A4A90DA327}"/>
              </a:ext>
            </a:extLst>
          </p:cNvPr>
          <p:cNvSpPr txBox="1">
            <a:spLocks/>
          </p:cNvSpPr>
          <p:nvPr/>
        </p:nvSpPr>
        <p:spPr>
          <a:xfrm>
            <a:off x="1112016" y="3482975"/>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4000">
                <a:solidFill>
                  <a:schemeClr val="accent2"/>
                </a:solidFill>
              </a:rPr>
              <a:t>1</a:t>
            </a:r>
          </a:p>
        </p:txBody>
      </p:sp>
      <p:sp>
        <p:nvSpPr>
          <p:cNvPr id="26" name="Content Placeholder 1">
            <a:extLst>
              <a:ext uri="{FF2B5EF4-FFF2-40B4-BE49-F238E27FC236}">
                <a16:creationId xmlns:a16="http://schemas.microsoft.com/office/drawing/2014/main" id="{65EC1BE1-13D8-345C-448E-BFA1A08ADD25}"/>
              </a:ext>
            </a:extLst>
          </p:cNvPr>
          <p:cNvSpPr txBox="1">
            <a:spLocks/>
          </p:cNvSpPr>
          <p:nvPr/>
        </p:nvSpPr>
        <p:spPr>
          <a:xfrm rot="5400000">
            <a:off x="1363504" y="3867150"/>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38" name="Content Placeholder 1">
            <a:extLst>
              <a:ext uri="{FF2B5EF4-FFF2-40B4-BE49-F238E27FC236}">
                <a16:creationId xmlns:a16="http://schemas.microsoft.com/office/drawing/2014/main" id="{B3BF45B1-878A-6384-B57A-0E2DDAE87F72}"/>
              </a:ext>
            </a:extLst>
          </p:cNvPr>
          <p:cNvSpPr txBox="1">
            <a:spLocks/>
          </p:cNvSpPr>
          <p:nvPr/>
        </p:nvSpPr>
        <p:spPr>
          <a:xfrm>
            <a:off x="2792055" y="4404743"/>
            <a:ext cx="1914207"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400">
                <a:solidFill>
                  <a:schemeClr val="bg1"/>
                </a:solidFill>
              </a:rPr>
              <a:t>Palīdzības izsaukšana</a:t>
            </a:r>
          </a:p>
        </p:txBody>
      </p:sp>
      <p:sp>
        <p:nvSpPr>
          <p:cNvPr id="39" name="Content Placeholder 1">
            <a:extLst>
              <a:ext uri="{FF2B5EF4-FFF2-40B4-BE49-F238E27FC236}">
                <a16:creationId xmlns:a16="http://schemas.microsoft.com/office/drawing/2014/main" id="{6FBC0546-09C1-004A-40CC-EF2125A3E636}"/>
              </a:ext>
            </a:extLst>
          </p:cNvPr>
          <p:cNvSpPr txBox="1">
            <a:spLocks/>
          </p:cNvSpPr>
          <p:nvPr/>
        </p:nvSpPr>
        <p:spPr>
          <a:xfrm>
            <a:off x="3458264" y="3482975"/>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4000">
                <a:solidFill>
                  <a:schemeClr val="accent2"/>
                </a:solidFill>
              </a:rPr>
              <a:t>2</a:t>
            </a:r>
          </a:p>
        </p:txBody>
      </p:sp>
      <p:sp>
        <p:nvSpPr>
          <p:cNvPr id="40" name="Content Placeholder 1">
            <a:extLst>
              <a:ext uri="{FF2B5EF4-FFF2-40B4-BE49-F238E27FC236}">
                <a16:creationId xmlns:a16="http://schemas.microsoft.com/office/drawing/2014/main" id="{57B73D69-1346-AB3E-2B83-74CE4618BD54}"/>
              </a:ext>
            </a:extLst>
          </p:cNvPr>
          <p:cNvSpPr txBox="1">
            <a:spLocks/>
          </p:cNvSpPr>
          <p:nvPr/>
        </p:nvSpPr>
        <p:spPr>
          <a:xfrm rot="5400000">
            <a:off x="3709752" y="3867150"/>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43" name="Content Placeholder 1">
            <a:extLst>
              <a:ext uri="{FF2B5EF4-FFF2-40B4-BE49-F238E27FC236}">
                <a16:creationId xmlns:a16="http://schemas.microsoft.com/office/drawing/2014/main" id="{B7165ACE-6816-8C1A-0E1A-FCA6963F41F4}"/>
              </a:ext>
            </a:extLst>
          </p:cNvPr>
          <p:cNvSpPr txBox="1">
            <a:spLocks/>
          </p:cNvSpPr>
          <p:nvPr/>
        </p:nvSpPr>
        <p:spPr>
          <a:xfrm>
            <a:off x="5141197" y="4404743"/>
            <a:ext cx="1914207"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400">
                <a:solidFill>
                  <a:schemeClr val="bg1"/>
                </a:solidFill>
              </a:rPr>
              <a:t>Cietušā aprūpe</a:t>
            </a:r>
          </a:p>
        </p:txBody>
      </p:sp>
      <p:sp>
        <p:nvSpPr>
          <p:cNvPr id="44" name="Content Placeholder 1">
            <a:extLst>
              <a:ext uri="{FF2B5EF4-FFF2-40B4-BE49-F238E27FC236}">
                <a16:creationId xmlns:a16="http://schemas.microsoft.com/office/drawing/2014/main" id="{7B06B257-212B-0CF9-9F65-466A796A3B21}"/>
              </a:ext>
            </a:extLst>
          </p:cNvPr>
          <p:cNvSpPr txBox="1">
            <a:spLocks/>
          </p:cNvSpPr>
          <p:nvPr/>
        </p:nvSpPr>
        <p:spPr>
          <a:xfrm>
            <a:off x="5804512" y="3482975"/>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4000">
                <a:solidFill>
                  <a:schemeClr val="accent2"/>
                </a:solidFill>
              </a:rPr>
              <a:t>3</a:t>
            </a:r>
          </a:p>
        </p:txBody>
      </p:sp>
      <p:sp>
        <p:nvSpPr>
          <p:cNvPr id="45" name="Content Placeholder 1">
            <a:extLst>
              <a:ext uri="{FF2B5EF4-FFF2-40B4-BE49-F238E27FC236}">
                <a16:creationId xmlns:a16="http://schemas.microsoft.com/office/drawing/2014/main" id="{D55CC03F-D983-B21C-EA37-379DE9F97A03}"/>
              </a:ext>
            </a:extLst>
          </p:cNvPr>
          <p:cNvSpPr txBox="1">
            <a:spLocks/>
          </p:cNvSpPr>
          <p:nvPr/>
        </p:nvSpPr>
        <p:spPr>
          <a:xfrm rot="5400000">
            <a:off x="6056000" y="3867150"/>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47" name="Content Placeholder 1">
            <a:extLst>
              <a:ext uri="{FF2B5EF4-FFF2-40B4-BE49-F238E27FC236}">
                <a16:creationId xmlns:a16="http://schemas.microsoft.com/office/drawing/2014/main" id="{2DD24A6F-2555-7D50-6B9E-19589A959683}"/>
              </a:ext>
            </a:extLst>
          </p:cNvPr>
          <p:cNvSpPr txBox="1">
            <a:spLocks/>
          </p:cNvSpPr>
          <p:nvPr/>
        </p:nvSpPr>
        <p:spPr>
          <a:xfrm>
            <a:off x="7490339" y="4404743"/>
            <a:ext cx="1914207" cy="576000"/>
          </a:xfrm>
          <a:prstGeom prst="rect">
            <a:avLst/>
          </a:prstGeom>
          <a:solidFill>
            <a:schemeClr val="accent4">
              <a:lumMod val="75000"/>
            </a:schemeClr>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400">
                <a:solidFill>
                  <a:schemeClr val="bg1"/>
                </a:solidFill>
              </a:rPr>
              <a:t>Neatliekamā palīdzība</a:t>
            </a:r>
          </a:p>
        </p:txBody>
      </p:sp>
      <p:sp>
        <p:nvSpPr>
          <p:cNvPr id="48" name="Content Placeholder 1">
            <a:extLst>
              <a:ext uri="{FF2B5EF4-FFF2-40B4-BE49-F238E27FC236}">
                <a16:creationId xmlns:a16="http://schemas.microsoft.com/office/drawing/2014/main" id="{CAAFFC2F-2EFD-CD7C-DEEE-DBA02C9CB423}"/>
              </a:ext>
            </a:extLst>
          </p:cNvPr>
          <p:cNvSpPr txBox="1">
            <a:spLocks/>
          </p:cNvSpPr>
          <p:nvPr/>
        </p:nvSpPr>
        <p:spPr>
          <a:xfrm>
            <a:off x="8150760" y="3482975"/>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4000">
                <a:solidFill>
                  <a:schemeClr val="accent4"/>
                </a:solidFill>
              </a:rPr>
              <a:t>4</a:t>
            </a:r>
          </a:p>
        </p:txBody>
      </p:sp>
      <p:sp>
        <p:nvSpPr>
          <p:cNvPr id="49" name="Content Placeholder 1">
            <a:extLst>
              <a:ext uri="{FF2B5EF4-FFF2-40B4-BE49-F238E27FC236}">
                <a16:creationId xmlns:a16="http://schemas.microsoft.com/office/drawing/2014/main" id="{53548C78-2935-71B8-851B-769FCB896034}"/>
              </a:ext>
            </a:extLst>
          </p:cNvPr>
          <p:cNvSpPr txBox="1">
            <a:spLocks/>
          </p:cNvSpPr>
          <p:nvPr/>
        </p:nvSpPr>
        <p:spPr>
          <a:xfrm rot="5400000">
            <a:off x="8402248" y="3867150"/>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55" name="Content Placeholder 1">
            <a:extLst>
              <a:ext uri="{FF2B5EF4-FFF2-40B4-BE49-F238E27FC236}">
                <a16:creationId xmlns:a16="http://schemas.microsoft.com/office/drawing/2014/main" id="{D19AF0DB-E5A6-2252-087C-6AA7A679E44D}"/>
              </a:ext>
            </a:extLst>
          </p:cNvPr>
          <p:cNvSpPr txBox="1">
            <a:spLocks/>
          </p:cNvSpPr>
          <p:nvPr/>
        </p:nvSpPr>
        <p:spPr>
          <a:xfrm>
            <a:off x="9839479" y="4404743"/>
            <a:ext cx="1914207" cy="576000"/>
          </a:xfrm>
          <a:prstGeom prst="rect">
            <a:avLst/>
          </a:prstGeom>
          <a:solidFill>
            <a:schemeClr val="accent4">
              <a:lumMod val="75000"/>
            </a:schemeClr>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400">
                <a:solidFill>
                  <a:schemeClr val="bg1"/>
                </a:solidFill>
              </a:rPr>
              <a:t>Slimnīca</a:t>
            </a:r>
          </a:p>
        </p:txBody>
      </p:sp>
      <p:sp>
        <p:nvSpPr>
          <p:cNvPr id="56" name="Content Placeholder 1">
            <a:extLst>
              <a:ext uri="{FF2B5EF4-FFF2-40B4-BE49-F238E27FC236}">
                <a16:creationId xmlns:a16="http://schemas.microsoft.com/office/drawing/2014/main" id="{3A969FC1-A5DF-7F7A-364B-B4B37D4AA186}"/>
              </a:ext>
            </a:extLst>
          </p:cNvPr>
          <p:cNvSpPr txBox="1">
            <a:spLocks/>
          </p:cNvSpPr>
          <p:nvPr/>
        </p:nvSpPr>
        <p:spPr>
          <a:xfrm>
            <a:off x="10508582" y="3482975"/>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4000">
                <a:solidFill>
                  <a:schemeClr val="accent4"/>
                </a:solidFill>
              </a:rPr>
              <a:t>5</a:t>
            </a:r>
          </a:p>
        </p:txBody>
      </p:sp>
      <p:sp>
        <p:nvSpPr>
          <p:cNvPr id="57" name="Content Placeholder 1">
            <a:extLst>
              <a:ext uri="{FF2B5EF4-FFF2-40B4-BE49-F238E27FC236}">
                <a16:creationId xmlns:a16="http://schemas.microsoft.com/office/drawing/2014/main" id="{6E357888-D229-2881-630B-92EDB810D202}"/>
              </a:ext>
            </a:extLst>
          </p:cNvPr>
          <p:cNvSpPr txBox="1">
            <a:spLocks/>
          </p:cNvSpPr>
          <p:nvPr/>
        </p:nvSpPr>
        <p:spPr>
          <a:xfrm rot="5400000">
            <a:off x="10760070" y="3867150"/>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58" name="Arrow: Right 57">
            <a:extLst>
              <a:ext uri="{FF2B5EF4-FFF2-40B4-BE49-F238E27FC236}">
                <a16:creationId xmlns:a16="http://schemas.microsoft.com/office/drawing/2014/main" id="{73A5DA40-EC68-C1DD-E470-027AE8CCAA6A}"/>
              </a:ext>
            </a:extLst>
          </p:cNvPr>
          <p:cNvSpPr/>
          <p:nvPr/>
        </p:nvSpPr>
        <p:spPr>
          <a:xfrm>
            <a:off x="7173991" y="4584743"/>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400"/>
          </a:p>
        </p:txBody>
      </p:sp>
      <p:sp>
        <p:nvSpPr>
          <p:cNvPr id="59" name="Arrow: Right 58">
            <a:extLst>
              <a:ext uri="{FF2B5EF4-FFF2-40B4-BE49-F238E27FC236}">
                <a16:creationId xmlns:a16="http://schemas.microsoft.com/office/drawing/2014/main" id="{69BA0589-D566-AAB4-31E4-35DD4F0EA8AD}"/>
              </a:ext>
            </a:extLst>
          </p:cNvPr>
          <p:cNvSpPr/>
          <p:nvPr/>
        </p:nvSpPr>
        <p:spPr>
          <a:xfrm>
            <a:off x="4824849" y="4584743"/>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400"/>
          </a:p>
        </p:txBody>
      </p:sp>
      <p:sp>
        <p:nvSpPr>
          <p:cNvPr id="60" name="Arrow: Right 59">
            <a:extLst>
              <a:ext uri="{FF2B5EF4-FFF2-40B4-BE49-F238E27FC236}">
                <a16:creationId xmlns:a16="http://schemas.microsoft.com/office/drawing/2014/main" id="{CB6722E8-D1A5-E761-7A03-E5BE22B6FF50}"/>
              </a:ext>
            </a:extLst>
          </p:cNvPr>
          <p:cNvSpPr/>
          <p:nvPr/>
        </p:nvSpPr>
        <p:spPr>
          <a:xfrm>
            <a:off x="2475707" y="4584743"/>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400"/>
          </a:p>
        </p:txBody>
      </p:sp>
      <p:sp>
        <p:nvSpPr>
          <p:cNvPr id="61" name="Content Placeholder 1">
            <a:extLst>
              <a:ext uri="{FF2B5EF4-FFF2-40B4-BE49-F238E27FC236}">
                <a16:creationId xmlns:a16="http://schemas.microsoft.com/office/drawing/2014/main" id="{B96B44FD-B302-C466-E087-68303F31E913}"/>
              </a:ext>
            </a:extLst>
          </p:cNvPr>
          <p:cNvSpPr txBox="1">
            <a:spLocks/>
          </p:cNvSpPr>
          <p:nvPr/>
        </p:nvSpPr>
        <p:spPr>
          <a:xfrm>
            <a:off x="442913" y="4966192"/>
            <a:ext cx="1914207" cy="1209062"/>
          </a:xfrm>
          <a:prstGeom prst="rect">
            <a:avLst/>
          </a:prstGeom>
          <a:solidFill>
            <a:schemeClr val="accent4"/>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endParaRPr lang="lv-LV" sz="1400">
              <a:solidFill>
                <a:schemeClr val="bg1"/>
              </a:solidFill>
            </a:endParaRPr>
          </a:p>
        </p:txBody>
      </p:sp>
      <p:sp>
        <p:nvSpPr>
          <p:cNvPr id="62" name="Content Placeholder 1">
            <a:extLst>
              <a:ext uri="{FF2B5EF4-FFF2-40B4-BE49-F238E27FC236}">
                <a16:creationId xmlns:a16="http://schemas.microsoft.com/office/drawing/2014/main" id="{AAF63E4B-E49D-0898-F096-917EC5BB8784}"/>
              </a:ext>
            </a:extLst>
          </p:cNvPr>
          <p:cNvSpPr txBox="1">
            <a:spLocks/>
          </p:cNvSpPr>
          <p:nvPr/>
        </p:nvSpPr>
        <p:spPr>
          <a:xfrm>
            <a:off x="2792055" y="4966192"/>
            <a:ext cx="1914207" cy="1209062"/>
          </a:xfrm>
          <a:prstGeom prst="rect">
            <a:avLst/>
          </a:prstGeom>
          <a:solidFill>
            <a:schemeClr val="accent4"/>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endParaRPr lang="lv-LV" sz="1400">
              <a:solidFill>
                <a:schemeClr val="bg1"/>
              </a:solidFill>
            </a:endParaRPr>
          </a:p>
        </p:txBody>
      </p:sp>
      <p:sp>
        <p:nvSpPr>
          <p:cNvPr id="63" name="Content Placeholder 1">
            <a:extLst>
              <a:ext uri="{FF2B5EF4-FFF2-40B4-BE49-F238E27FC236}">
                <a16:creationId xmlns:a16="http://schemas.microsoft.com/office/drawing/2014/main" id="{C107C544-9363-E16D-C21A-14EB3086FD5E}"/>
              </a:ext>
            </a:extLst>
          </p:cNvPr>
          <p:cNvSpPr txBox="1">
            <a:spLocks/>
          </p:cNvSpPr>
          <p:nvPr/>
        </p:nvSpPr>
        <p:spPr>
          <a:xfrm>
            <a:off x="5141197" y="4966192"/>
            <a:ext cx="1914207" cy="1209062"/>
          </a:xfrm>
          <a:prstGeom prst="rect">
            <a:avLst/>
          </a:prstGeom>
          <a:solidFill>
            <a:schemeClr val="accent4"/>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endParaRPr lang="lv-LV" sz="1400">
              <a:solidFill>
                <a:schemeClr val="bg1"/>
              </a:solidFill>
            </a:endParaRPr>
          </a:p>
        </p:txBody>
      </p:sp>
      <p:sp>
        <p:nvSpPr>
          <p:cNvPr id="64" name="Content Placeholder 1">
            <a:extLst>
              <a:ext uri="{FF2B5EF4-FFF2-40B4-BE49-F238E27FC236}">
                <a16:creationId xmlns:a16="http://schemas.microsoft.com/office/drawing/2014/main" id="{BAC6FD31-C415-55AA-743A-8F036F3BF365}"/>
              </a:ext>
            </a:extLst>
          </p:cNvPr>
          <p:cNvSpPr txBox="1">
            <a:spLocks/>
          </p:cNvSpPr>
          <p:nvPr/>
        </p:nvSpPr>
        <p:spPr>
          <a:xfrm>
            <a:off x="7490339" y="4966192"/>
            <a:ext cx="1914207" cy="1209062"/>
          </a:xfrm>
          <a:prstGeom prst="rect">
            <a:avLst/>
          </a:prstGeom>
          <a:solidFill>
            <a:schemeClr val="accent4"/>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endParaRPr lang="lv-LV" sz="1400">
              <a:solidFill>
                <a:schemeClr val="bg1"/>
              </a:solidFill>
            </a:endParaRPr>
          </a:p>
        </p:txBody>
      </p:sp>
      <p:sp>
        <p:nvSpPr>
          <p:cNvPr id="65" name="Content Placeholder 1">
            <a:extLst>
              <a:ext uri="{FF2B5EF4-FFF2-40B4-BE49-F238E27FC236}">
                <a16:creationId xmlns:a16="http://schemas.microsoft.com/office/drawing/2014/main" id="{DFB0571C-3F32-08BC-2216-A09604DF1E6C}"/>
              </a:ext>
            </a:extLst>
          </p:cNvPr>
          <p:cNvSpPr txBox="1">
            <a:spLocks/>
          </p:cNvSpPr>
          <p:nvPr/>
        </p:nvSpPr>
        <p:spPr>
          <a:xfrm>
            <a:off x="9839479" y="4966192"/>
            <a:ext cx="1914207" cy="1209062"/>
          </a:xfrm>
          <a:prstGeom prst="rect">
            <a:avLst/>
          </a:prstGeom>
          <a:solidFill>
            <a:schemeClr val="accent4"/>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endParaRPr lang="lv-LV" sz="1400">
              <a:solidFill>
                <a:schemeClr val="bg1"/>
              </a:solidFill>
            </a:endParaRPr>
          </a:p>
        </p:txBody>
      </p:sp>
      <p:grpSp>
        <p:nvGrpSpPr>
          <p:cNvPr id="80" name="Group 79">
            <a:extLst>
              <a:ext uri="{FF2B5EF4-FFF2-40B4-BE49-F238E27FC236}">
                <a16:creationId xmlns:a16="http://schemas.microsoft.com/office/drawing/2014/main" id="{A4F7EE97-2488-C4D0-BB25-B488D03588E8}"/>
              </a:ext>
            </a:extLst>
          </p:cNvPr>
          <p:cNvGrpSpPr/>
          <p:nvPr/>
        </p:nvGrpSpPr>
        <p:grpSpPr>
          <a:xfrm>
            <a:off x="445292" y="3078135"/>
            <a:ext cx="6611938" cy="466725"/>
            <a:chOff x="442912" y="4552769"/>
            <a:chExt cx="6611938" cy="466725"/>
          </a:xfrm>
        </p:grpSpPr>
        <p:cxnSp>
          <p:nvCxnSpPr>
            <p:cNvPr id="74" name="Straight Connector 73">
              <a:extLst>
                <a:ext uri="{FF2B5EF4-FFF2-40B4-BE49-F238E27FC236}">
                  <a16:creationId xmlns:a16="http://schemas.microsoft.com/office/drawing/2014/main" id="{A8DECBD2-2863-5ED3-4429-484529B7452F}"/>
                </a:ext>
              </a:extLst>
            </p:cNvPr>
            <p:cNvCxnSpPr>
              <a:cxnSpLocks/>
            </p:cNvCxnSpPr>
            <p:nvPr/>
          </p:nvCxnSpPr>
          <p:spPr>
            <a:xfrm>
              <a:off x="442912" y="4785337"/>
              <a:ext cx="6611938" cy="1588"/>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77" name="Rectangle 76">
              <a:extLst>
                <a:ext uri="{FF2B5EF4-FFF2-40B4-BE49-F238E27FC236}">
                  <a16:creationId xmlns:a16="http://schemas.microsoft.com/office/drawing/2014/main" id="{C5B0266C-673F-07DD-2F60-FC169E43A4DF}"/>
                </a:ext>
              </a:extLst>
            </p:cNvPr>
            <p:cNvSpPr/>
            <p:nvPr/>
          </p:nvSpPr>
          <p:spPr>
            <a:xfrm>
              <a:off x="3515796" y="4552769"/>
              <a:ext cx="466725" cy="466725"/>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78" name="Rectangle 77">
              <a:extLst>
                <a:ext uri="{FF2B5EF4-FFF2-40B4-BE49-F238E27FC236}">
                  <a16:creationId xmlns:a16="http://schemas.microsoft.com/office/drawing/2014/main" id="{DFE62713-DB24-82F8-B530-DB2B5AE42760}"/>
                </a:ext>
              </a:extLst>
            </p:cNvPr>
            <p:cNvSpPr/>
            <p:nvPr/>
          </p:nvSpPr>
          <p:spPr>
            <a:xfrm>
              <a:off x="5864938" y="4552769"/>
              <a:ext cx="466725" cy="466725"/>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79" name="Rectangle 78">
              <a:extLst>
                <a:ext uri="{FF2B5EF4-FFF2-40B4-BE49-F238E27FC236}">
                  <a16:creationId xmlns:a16="http://schemas.microsoft.com/office/drawing/2014/main" id="{832CB56B-9DC0-1F1E-3972-5DDA898A7AB2}"/>
                </a:ext>
              </a:extLst>
            </p:cNvPr>
            <p:cNvSpPr/>
            <p:nvPr/>
          </p:nvSpPr>
          <p:spPr>
            <a:xfrm>
              <a:off x="1166654" y="4552769"/>
              <a:ext cx="466725" cy="466725"/>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69" name="Arrow: Right 68">
              <a:extLst>
                <a:ext uri="{FF2B5EF4-FFF2-40B4-BE49-F238E27FC236}">
                  <a16:creationId xmlns:a16="http://schemas.microsoft.com/office/drawing/2014/main" id="{326E79A8-DB05-0E8C-C83A-BE4E3C60AB93}"/>
                </a:ext>
              </a:extLst>
            </p:cNvPr>
            <p:cNvSpPr/>
            <p:nvPr/>
          </p:nvSpPr>
          <p:spPr>
            <a:xfrm rot="5400000">
              <a:off x="3650278" y="4678131"/>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400"/>
            </a:p>
          </p:txBody>
        </p:sp>
        <p:sp>
          <p:nvSpPr>
            <p:cNvPr id="70" name="Arrow: Right 69">
              <a:extLst>
                <a:ext uri="{FF2B5EF4-FFF2-40B4-BE49-F238E27FC236}">
                  <a16:creationId xmlns:a16="http://schemas.microsoft.com/office/drawing/2014/main" id="{CF682008-4016-07AA-D26B-E95268052C66}"/>
                </a:ext>
              </a:extLst>
            </p:cNvPr>
            <p:cNvSpPr/>
            <p:nvPr/>
          </p:nvSpPr>
          <p:spPr>
            <a:xfrm rot="5400000">
              <a:off x="1301136" y="4678132"/>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400"/>
            </a:p>
          </p:txBody>
        </p:sp>
        <p:sp>
          <p:nvSpPr>
            <p:cNvPr id="71" name="Arrow: Right 70">
              <a:extLst>
                <a:ext uri="{FF2B5EF4-FFF2-40B4-BE49-F238E27FC236}">
                  <a16:creationId xmlns:a16="http://schemas.microsoft.com/office/drawing/2014/main" id="{7DAB69D4-9C93-DE4E-6744-B5556D9203A5}"/>
                </a:ext>
              </a:extLst>
            </p:cNvPr>
            <p:cNvSpPr/>
            <p:nvPr/>
          </p:nvSpPr>
          <p:spPr>
            <a:xfrm rot="5400000">
              <a:off x="5999420" y="4678133"/>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400"/>
            </a:p>
          </p:txBody>
        </p:sp>
      </p:grpSp>
      <p:sp>
        <p:nvSpPr>
          <p:cNvPr id="81" name="Google Shape;1982;p97">
            <a:extLst>
              <a:ext uri="{FF2B5EF4-FFF2-40B4-BE49-F238E27FC236}">
                <a16:creationId xmlns:a16="http://schemas.microsoft.com/office/drawing/2014/main" id="{DDCA628C-F107-F2EE-29A3-F9E29FA8073D}"/>
              </a:ext>
            </a:extLst>
          </p:cNvPr>
          <p:cNvSpPr/>
          <p:nvPr/>
        </p:nvSpPr>
        <p:spPr>
          <a:xfrm>
            <a:off x="1148016" y="5295780"/>
            <a:ext cx="504000" cy="504000"/>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grpSp>
        <p:nvGrpSpPr>
          <p:cNvPr id="82" name="Google Shape;1739;p92">
            <a:extLst>
              <a:ext uri="{FF2B5EF4-FFF2-40B4-BE49-F238E27FC236}">
                <a16:creationId xmlns:a16="http://schemas.microsoft.com/office/drawing/2014/main" id="{496FB1E0-A56A-675A-A493-CE87F37A3B9E}"/>
              </a:ext>
            </a:extLst>
          </p:cNvPr>
          <p:cNvGrpSpPr/>
          <p:nvPr/>
        </p:nvGrpSpPr>
        <p:grpSpPr>
          <a:xfrm>
            <a:off x="3497160" y="5318720"/>
            <a:ext cx="504001" cy="503999"/>
            <a:chOff x="1222708" y="1464170"/>
            <a:chExt cx="459607" cy="459296"/>
          </a:xfrm>
        </p:grpSpPr>
        <p:sp>
          <p:nvSpPr>
            <p:cNvPr id="83" name="Google Shape;1740;p92">
              <a:extLst>
                <a:ext uri="{FF2B5EF4-FFF2-40B4-BE49-F238E27FC236}">
                  <a16:creationId xmlns:a16="http://schemas.microsoft.com/office/drawing/2014/main" id="{0E6A2134-BA4E-F1D6-4C61-74C950656B53}"/>
                </a:ext>
              </a:extLst>
            </p:cNvPr>
            <p:cNvSpPr/>
            <p:nvPr/>
          </p:nvSpPr>
          <p:spPr>
            <a:xfrm>
              <a:off x="1338832" y="1621799"/>
              <a:ext cx="174833" cy="70840"/>
            </a:xfrm>
            <a:custGeom>
              <a:avLst/>
              <a:gdLst/>
              <a:ahLst/>
              <a:cxnLst/>
              <a:rect l="l" t="t" r="r" b="b"/>
              <a:pathLst>
                <a:path w="174833" h="70840" extrusionOk="0">
                  <a:moveTo>
                    <a:pt x="174833" y="70840"/>
                  </a:moveTo>
                  <a:lnTo>
                    <a:pt x="34397" y="70840"/>
                  </a:lnTo>
                  <a:cubicBezTo>
                    <a:pt x="14823" y="70253"/>
                    <a:pt x="-571" y="53920"/>
                    <a:pt x="16" y="34358"/>
                  </a:cubicBezTo>
                  <a:cubicBezTo>
                    <a:pt x="581" y="15619"/>
                    <a:pt x="15649" y="561"/>
                    <a:pt x="34397" y="0"/>
                  </a:cubicBezTo>
                  <a:lnTo>
                    <a:pt x="44771" y="0"/>
                  </a:lnTo>
                  <a:lnTo>
                    <a:pt x="44771" y="19616"/>
                  </a:lnTo>
                  <a:lnTo>
                    <a:pt x="34302" y="19616"/>
                  </a:lnTo>
                  <a:cubicBezTo>
                    <a:pt x="25566" y="20796"/>
                    <a:pt x="19444" y="28827"/>
                    <a:pt x="20622" y="37554"/>
                  </a:cubicBezTo>
                  <a:cubicBezTo>
                    <a:pt x="21586" y="44670"/>
                    <a:pt x="27184" y="50264"/>
                    <a:pt x="34302" y="51224"/>
                  </a:cubicBezTo>
                  <a:lnTo>
                    <a:pt x="174737" y="51224"/>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84" name="Google Shape;1741;p92">
              <a:extLst>
                <a:ext uri="{FF2B5EF4-FFF2-40B4-BE49-F238E27FC236}">
                  <a16:creationId xmlns:a16="http://schemas.microsoft.com/office/drawing/2014/main" id="{E32EE091-D3C1-06E6-9082-073AD5CF7765}"/>
                </a:ext>
              </a:extLst>
            </p:cNvPr>
            <p:cNvSpPr/>
            <p:nvPr/>
          </p:nvSpPr>
          <p:spPr>
            <a:xfrm>
              <a:off x="1286551" y="1716178"/>
              <a:ext cx="174833" cy="70840"/>
            </a:xfrm>
            <a:custGeom>
              <a:avLst/>
              <a:gdLst/>
              <a:ahLst/>
              <a:cxnLst/>
              <a:rect l="l" t="t" r="r" b="b"/>
              <a:pathLst>
                <a:path w="174833" h="70840" extrusionOk="0">
                  <a:moveTo>
                    <a:pt x="44898" y="70840"/>
                  </a:moveTo>
                  <a:lnTo>
                    <a:pt x="34397" y="70840"/>
                  </a:lnTo>
                  <a:cubicBezTo>
                    <a:pt x="14823" y="70253"/>
                    <a:pt x="-571" y="53920"/>
                    <a:pt x="16" y="34358"/>
                  </a:cubicBezTo>
                  <a:cubicBezTo>
                    <a:pt x="581" y="15619"/>
                    <a:pt x="15649" y="561"/>
                    <a:pt x="34397" y="0"/>
                  </a:cubicBezTo>
                  <a:lnTo>
                    <a:pt x="174833" y="0"/>
                  </a:lnTo>
                  <a:lnTo>
                    <a:pt x="174833" y="19616"/>
                  </a:lnTo>
                  <a:lnTo>
                    <a:pt x="34397" y="19616"/>
                  </a:lnTo>
                  <a:cubicBezTo>
                    <a:pt x="25662" y="20796"/>
                    <a:pt x="19540" y="28827"/>
                    <a:pt x="20718" y="37554"/>
                  </a:cubicBezTo>
                  <a:cubicBezTo>
                    <a:pt x="21682" y="44670"/>
                    <a:pt x="27280" y="50264"/>
                    <a:pt x="34397" y="51224"/>
                  </a:cubicBezTo>
                  <a:lnTo>
                    <a:pt x="44898" y="51224"/>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85" name="Google Shape;1742;p92">
              <a:extLst>
                <a:ext uri="{FF2B5EF4-FFF2-40B4-BE49-F238E27FC236}">
                  <a16:creationId xmlns:a16="http://schemas.microsoft.com/office/drawing/2014/main" id="{9A2306D2-77A7-80C7-F244-EA7DEC804D5E}"/>
                </a:ext>
              </a:extLst>
            </p:cNvPr>
            <p:cNvSpPr/>
            <p:nvPr/>
          </p:nvSpPr>
          <p:spPr>
            <a:xfrm>
              <a:off x="1368601" y="1752028"/>
              <a:ext cx="145063" cy="70808"/>
            </a:xfrm>
            <a:custGeom>
              <a:avLst/>
              <a:gdLst/>
              <a:ahLst/>
              <a:cxnLst/>
              <a:rect l="l" t="t" r="r" b="b"/>
              <a:pathLst>
                <a:path w="145063" h="70808" extrusionOk="0">
                  <a:moveTo>
                    <a:pt x="45897" y="70808"/>
                  </a:moveTo>
                  <a:lnTo>
                    <a:pt x="35428" y="70808"/>
                  </a:lnTo>
                  <a:cubicBezTo>
                    <a:pt x="15863" y="70808"/>
                    <a:pt x="0" y="54956"/>
                    <a:pt x="0" y="35404"/>
                  </a:cubicBezTo>
                  <a:cubicBezTo>
                    <a:pt x="0" y="15852"/>
                    <a:pt x="15863" y="0"/>
                    <a:pt x="35428" y="0"/>
                  </a:cubicBezTo>
                  <a:lnTo>
                    <a:pt x="145064" y="0"/>
                  </a:lnTo>
                  <a:lnTo>
                    <a:pt x="145064" y="19616"/>
                  </a:lnTo>
                  <a:lnTo>
                    <a:pt x="35428" y="19616"/>
                  </a:lnTo>
                  <a:cubicBezTo>
                    <a:pt x="26702" y="18372"/>
                    <a:pt x="18621" y="24435"/>
                    <a:pt x="17379" y="33156"/>
                  </a:cubicBezTo>
                  <a:cubicBezTo>
                    <a:pt x="16134" y="41873"/>
                    <a:pt x="22202" y="49949"/>
                    <a:pt x="30925" y="51192"/>
                  </a:cubicBezTo>
                  <a:cubicBezTo>
                    <a:pt x="32418" y="51406"/>
                    <a:pt x="33934" y="51406"/>
                    <a:pt x="35428" y="51192"/>
                  </a:cubicBezTo>
                  <a:lnTo>
                    <a:pt x="45897" y="51192"/>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86" name="Google Shape;1743;p92">
              <a:extLst>
                <a:ext uri="{FF2B5EF4-FFF2-40B4-BE49-F238E27FC236}">
                  <a16:creationId xmlns:a16="http://schemas.microsoft.com/office/drawing/2014/main" id="{BBC2D154-4911-B47F-9B45-8A1CC3B13EFD}"/>
                </a:ext>
              </a:extLst>
            </p:cNvPr>
            <p:cNvSpPr/>
            <p:nvPr/>
          </p:nvSpPr>
          <p:spPr>
            <a:xfrm>
              <a:off x="1222708" y="1464170"/>
              <a:ext cx="459607" cy="459296"/>
            </a:xfrm>
            <a:custGeom>
              <a:avLst/>
              <a:gdLst/>
              <a:ahLst/>
              <a:cxnLst/>
              <a:rect l="l" t="t" r="r" b="b"/>
              <a:pathLst>
                <a:path w="459607" h="459296" extrusionOk="0">
                  <a:moveTo>
                    <a:pt x="372059" y="328908"/>
                  </a:moveTo>
                  <a:cubicBezTo>
                    <a:pt x="365394" y="328908"/>
                    <a:pt x="359994" y="323511"/>
                    <a:pt x="359994" y="316851"/>
                  </a:cubicBezTo>
                  <a:lnTo>
                    <a:pt x="359994" y="287890"/>
                  </a:lnTo>
                  <a:lnTo>
                    <a:pt x="368197" y="283807"/>
                  </a:lnTo>
                  <a:cubicBezTo>
                    <a:pt x="380884" y="276583"/>
                    <a:pt x="388432" y="262849"/>
                    <a:pt x="387730" y="248275"/>
                  </a:cubicBezTo>
                  <a:cubicBezTo>
                    <a:pt x="387625" y="233811"/>
                    <a:pt x="379116" y="220724"/>
                    <a:pt x="365931" y="214753"/>
                  </a:cubicBezTo>
                  <a:lnTo>
                    <a:pt x="357153" y="211564"/>
                  </a:lnTo>
                  <a:lnTo>
                    <a:pt x="357153" y="165825"/>
                  </a:lnTo>
                  <a:lnTo>
                    <a:pt x="316906" y="165825"/>
                  </a:lnTo>
                  <a:cubicBezTo>
                    <a:pt x="313382" y="165771"/>
                    <a:pt x="310567" y="162869"/>
                    <a:pt x="310625" y="159347"/>
                  </a:cubicBezTo>
                  <a:cubicBezTo>
                    <a:pt x="310637" y="158524"/>
                    <a:pt x="310810" y="157714"/>
                    <a:pt x="311129" y="156958"/>
                  </a:cubicBezTo>
                  <a:lnTo>
                    <a:pt x="371229" y="19616"/>
                  </a:lnTo>
                  <a:lnTo>
                    <a:pt x="379815" y="0"/>
                  </a:lnTo>
                  <a:lnTo>
                    <a:pt x="0" y="0"/>
                  </a:lnTo>
                  <a:lnTo>
                    <a:pt x="0" y="459297"/>
                  </a:lnTo>
                  <a:lnTo>
                    <a:pt x="459608" y="459297"/>
                  </a:lnTo>
                  <a:lnTo>
                    <a:pt x="459608" y="328908"/>
                  </a:lnTo>
                  <a:close/>
                  <a:moveTo>
                    <a:pt x="439947" y="439681"/>
                  </a:moveTo>
                  <a:lnTo>
                    <a:pt x="19597" y="439681"/>
                  </a:lnTo>
                  <a:lnTo>
                    <a:pt x="19597" y="19616"/>
                  </a:lnTo>
                  <a:lnTo>
                    <a:pt x="349781" y="19616"/>
                  </a:lnTo>
                  <a:lnTo>
                    <a:pt x="293128" y="149112"/>
                  </a:lnTo>
                  <a:cubicBezTo>
                    <a:pt x="287398" y="162259"/>
                    <a:pt x="293418" y="177557"/>
                    <a:pt x="306574" y="183282"/>
                  </a:cubicBezTo>
                  <a:cubicBezTo>
                    <a:pt x="309833" y="184701"/>
                    <a:pt x="313350" y="185435"/>
                    <a:pt x="316906" y="185441"/>
                  </a:cubicBezTo>
                  <a:lnTo>
                    <a:pt x="337524" y="185441"/>
                  </a:lnTo>
                  <a:lnTo>
                    <a:pt x="337524" y="225598"/>
                  </a:lnTo>
                  <a:lnTo>
                    <a:pt x="358143" y="232902"/>
                  </a:lnTo>
                  <a:cubicBezTo>
                    <a:pt x="364230" y="235890"/>
                    <a:pt x="368091" y="242072"/>
                    <a:pt x="368101" y="248850"/>
                  </a:cubicBezTo>
                  <a:cubicBezTo>
                    <a:pt x="368586" y="255879"/>
                    <a:pt x="365165" y="262606"/>
                    <a:pt x="359196" y="266360"/>
                  </a:cubicBezTo>
                  <a:lnTo>
                    <a:pt x="340365" y="275738"/>
                  </a:lnTo>
                  <a:lnTo>
                    <a:pt x="340365" y="316819"/>
                  </a:lnTo>
                  <a:cubicBezTo>
                    <a:pt x="340384" y="334304"/>
                    <a:pt x="354562" y="348472"/>
                    <a:pt x="372059" y="348492"/>
                  </a:cubicBezTo>
                  <a:lnTo>
                    <a:pt x="439947" y="348492"/>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87" name="Google Shape;1744;p92">
              <a:extLst>
                <a:ext uri="{FF2B5EF4-FFF2-40B4-BE49-F238E27FC236}">
                  <a16:creationId xmlns:a16="http://schemas.microsoft.com/office/drawing/2014/main" id="{DFB5AA23-26C2-FB44-26CD-6286CF29ECC9}"/>
                </a:ext>
              </a:extLst>
            </p:cNvPr>
            <p:cNvSpPr/>
            <p:nvPr/>
          </p:nvSpPr>
          <p:spPr>
            <a:xfrm>
              <a:off x="1600863" y="1523783"/>
              <a:ext cx="44109" cy="44079"/>
            </a:xfrm>
            <a:custGeom>
              <a:avLst/>
              <a:gdLst/>
              <a:ahLst/>
              <a:cxnLst/>
              <a:rect l="l" t="t" r="r" b="b"/>
              <a:pathLst>
                <a:path w="44109" h="44079" extrusionOk="0">
                  <a:moveTo>
                    <a:pt x="44110" y="22040"/>
                  </a:moveTo>
                  <a:cubicBezTo>
                    <a:pt x="44110" y="34212"/>
                    <a:pt x="34235" y="44080"/>
                    <a:pt x="22055" y="44080"/>
                  </a:cubicBezTo>
                  <a:cubicBezTo>
                    <a:pt x="9874" y="44080"/>
                    <a:pt x="0" y="34212"/>
                    <a:pt x="0" y="22040"/>
                  </a:cubicBezTo>
                  <a:cubicBezTo>
                    <a:pt x="0" y="9868"/>
                    <a:pt x="9874" y="0"/>
                    <a:pt x="22055" y="0"/>
                  </a:cubicBezTo>
                  <a:cubicBezTo>
                    <a:pt x="34235" y="0"/>
                    <a:pt x="44110" y="9868"/>
                    <a:pt x="44110" y="22040"/>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grpSp>
      <p:grpSp>
        <p:nvGrpSpPr>
          <p:cNvPr id="88" name="Google Shape;1631;p92">
            <a:extLst>
              <a:ext uri="{FF2B5EF4-FFF2-40B4-BE49-F238E27FC236}">
                <a16:creationId xmlns:a16="http://schemas.microsoft.com/office/drawing/2014/main" id="{35189943-8174-BDC5-E00B-6AA3B261EF4D}"/>
              </a:ext>
            </a:extLst>
          </p:cNvPr>
          <p:cNvGrpSpPr/>
          <p:nvPr/>
        </p:nvGrpSpPr>
        <p:grpSpPr>
          <a:xfrm>
            <a:off x="5846296" y="5318736"/>
            <a:ext cx="503999" cy="504009"/>
            <a:chOff x="3886200" y="2057400"/>
            <a:chExt cx="1371600" cy="1371600"/>
          </a:xfrm>
        </p:grpSpPr>
        <p:sp>
          <p:nvSpPr>
            <p:cNvPr id="89" name="Google Shape;1632;p92">
              <a:extLst>
                <a:ext uri="{FF2B5EF4-FFF2-40B4-BE49-F238E27FC236}">
                  <a16:creationId xmlns:a16="http://schemas.microsoft.com/office/drawing/2014/main" id="{5BDDF6DF-E697-00B7-6FDF-654A81CBB5E7}"/>
                </a:ext>
              </a:extLst>
            </p:cNvPr>
            <p:cNvSpPr/>
            <p:nvPr/>
          </p:nvSpPr>
          <p:spPr>
            <a:xfrm>
              <a:off x="4568285" y="2533269"/>
              <a:ext cx="27813" cy="62769"/>
            </a:xfrm>
            <a:custGeom>
              <a:avLst/>
              <a:gdLst/>
              <a:ahLst/>
              <a:cxnLst/>
              <a:rect l="l" t="t" r="r" b="b"/>
              <a:pathLst>
                <a:path w="27813" h="62769" extrusionOk="0">
                  <a:moveTo>
                    <a:pt x="0" y="0"/>
                  </a:moveTo>
                  <a:lnTo>
                    <a:pt x="27813" y="0"/>
                  </a:lnTo>
                  <a:lnTo>
                    <a:pt x="27813" y="62770"/>
                  </a:lnTo>
                  <a:lnTo>
                    <a:pt x="0" y="6277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90" name="Google Shape;1633;p92">
              <a:extLst>
                <a:ext uri="{FF2B5EF4-FFF2-40B4-BE49-F238E27FC236}">
                  <a16:creationId xmlns:a16="http://schemas.microsoft.com/office/drawing/2014/main" id="{4C849506-7AF9-F820-5CF0-7D6E33F03113}"/>
                </a:ext>
              </a:extLst>
            </p:cNvPr>
            <p:cNvSpPr/>
            <p:nvPr/>
          </p:nvSpPr>
          <p:spPr>
            <a:xfrm>
              <a:off x="4273295" y="2680716"/>
              <a:ext cx="95" cy="9525"/>
            </a:xfrm>
            <a:custGeom>
              <a:avLst/>
              <a:gdLst/>
              <a:ahLst/>
              <a:cxnLst/>
              <a:rect l="l" t="t" r="r" b="b"/>
              <a:pathLst>
                <a:path w="95" h="9525" extrusionOk="0">
                  <a:moveTo>
                    <a:pt x="0" y="0"/>
                  </a:moveTo>
                  <a:lnTo>
                    <a:pt x="95" y="0"/>
                  </a:lnTo>
                  <a:lnTo>
                    <a:pt x="95"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91" name="Google Shape;1634;p92">
              <a:extLst>
                <a:ext uri="{FF2B5EF4-FFF2-40B4-BE49-F238E27FC236}">
                  <a16:creationId xmlns:a16="http://schemas.microsoft.com/office/drawing/2014/main" id="{D5FD63F2-1B6A-7954-A06D-677EB870039A}"/>
                </a:ext>
              </a:extLst>
            </p:cNvPr>
            <p:cNvSpPr/>
            <p:nvPr/>
          </p:nvSpPr>
          <p:spPr>
            <a:xfrm>
              <a:off x="4596860" y="2533269"/>
              <a:ext cx="27813" cy="62769"/>
            </a:xfrm>
            <a:custGeom>
              <a:avLst/>
              <a:gdLst/>
              <a:ahLst/>
              <a:cxnLst/>
              <a:rect l="l" t="t" r="r" b="b"/>
              <a:pathLst>
                <a:path w="27813" h="62769" extrusionOk="0">
                  <a:moveTo>
                    <a:pt x="0" y="0"/>
                  </a:moveTo>
                  <a:lnTo>
                    <a:pt x="27813" y="0"/>
                  </a:lnTo>
                  <a:lnTo>
                    <a:pt x="27813" y="62770"/>
                  </a:lnTo>
                  <a:lnTo>
                    <a:pt x="0" y="6277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92" name="Google Shape;1635;p92">
              <a:extLst>
                <a:ext uri="{FF2B5EF4-FFF2-40B4-BE49-F238E27FC236}">
                  <a16:creationId xmlns:a16="http://schemas.microsoft.com/office/drawing/2014/main" id="{F8FFD178-37DE-9024-CC8B-32143627DB53}"/>
                </a:ext>
              </a:extLst>
            </p:cNvPr>
            <p:cNvSpPr/>
            <p:nvPr/>
          </p:nvSpPr>
          <p:spPr>
            <a:xfrm>
              <a:off x="3886200" y="2057400"/>
              <a:ext cx="1371600" cy="1371600"/>
            </a:xfrm>
            <a:custGeom>
              <a:avLst/>
              <a:gdLst/>
              <a:ahLst/>
              <a:cxnLst/>
              <a:rect l="l" t="t" r="r" b="b"/>
              <a:pathLst>
                <a:path w="1371600" h="1371600" extrusionOk="0">
                  <a:moveTo>
                    <a:pt x="0" y="0"/>
                  </a:moveTo>
                  <a:lnTo>
                    <a:pt x="0" y="1371600"/>
                  </a:lnTo>
                  <a:lnTo>
                    <a:pt x="1371600" y="1371600"/>
                  </a:lnTo>
                  <a:lnTo>
                    <a:pt x="1371600" y="0"/>
                  </a:lnTo>
                  <a:close/>
                  <a:moveTo>
                    <a:pt x="1313021" y="1313021"/>
                  </a:moveTo>
                  <a:lnTo>
                    <a:pt x="58579" y="1313021"/>
                  </a:lnTo>
                  <a:lnTo>
                    <a:pt x="58579" y="58484"/>
                  </a:lnTo>
                  <a:lnTo>
                    <a:pt x="1313021" y="5848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93" name="Google Shape;1636;p92">
              <a:extLst>
                <a:ext uri="{FF2B5EF4-FFF2-40B4-BE49-F238E27FC236}">
                  <a16:creationId xmlns:a16="http://schemas.microsoft.com/office/drawing/2014/main" id="{D8F4B1B1-E4D3-8F38-0B75-A345F1876D56}"/>
                </a:ext>
              </a:extLst>
            </p:cNvPr>
            <p:cNvSpPr/>
            <p:nvPr/>
          </p:nvSpPr>
          <p:spPr>
            <a:xfrm>
              <a:off x="4076700" y="2314003"/>
              <a:ext cx="983456" cy="905446"/>
            </a:xfrm>
            <a:custGeom>
              <a:avLst/>
              <a:gdLst/>
              <a:ahLst/>
              <a:cxnLst/>
              <a:rect l="l" t="t" r="r" b="b"/>
              <a:pathLst>
                <a:path w="983456" h="905446" extrusionOk="0">
                  <a:moveTo>
                    <a:pt x="180975" y="661321"/>
                  </a:moveTo>
                  <a:lnTo>
                    <a:pt x="414052" y="661321"/>
                  </a:lnTo>
                  <a:lnTo>
                    <a:pt x="414052" y="811911"/>
                  </a:lnTo>
                  <a:lnTo>
                    <a:pt x="924878" y="811911"/>
                  </a:lnTo>
                  <a:lnTo>
                    <a:pt x="924878" y="905447"/>
                  </a:lnTo>
                  <a:lnTo>
                    <a:pt x="983456" y="905447"/>
                  </a:lnTo>
                  <a:lnTo>
                    <a:pt x="983456" y="347282"/>
                  </a:lnTo>
                  <a:lnTo>
                    <a:pt x="924878" y="347282"/>
                  </a:lnTo>
                  <a:lnTo>
                    <a:pt x="924878" y="393668"/>
                  </a:lnTo>
                  <a:lnTo>
                    <a:pt x="414052" y="393668"/>
                  </a:lnTo>
                  <a:lnTo>
                    <a:pt x="414052" y="475012"/>
                  </a:lnTo>
                  <a:lnTo>
                    <a:pt x="389001" y="475012"/>
                  </a:lnTo>
                  <a:cubicBezTo>
                    <a:pt x="389001" y="473583"/>
                    <a:pt x="389001" y="472059"/>
                    <a:pt x="389001" y="470726"/>
                  </a:cubicBezTo>
                  <a:cubicBezTo>
                    <a:pt x="389042" y="401951"/>
                    <a:pt x="358117" y="336813"/>
                    <a:pt x="304800" y="293370"/>
                  </a:cubicBezTo>
                  <a:lnTo>
                    <a:pt x="304800" y="58198"/>
                  </a:lnTo>
                  <a:lnTo>
                    <a:pt x="456438" y="58198"/>
                  </a:lnTo>
                  <a:lnTo>
                    <a:pt x="456438" y="95250"/>
                  </a:lnTo>
                  <a:lnTo>
                    <a:pt x="413290" y="95250"/>
                  </a:lnTo>
                  <a:lnTo>
                    <a:pt x="413290" y="275177"/>
                  </a:lnTo>
                  <a:lnTo>
                    <a:pt x="558260" y="275177"/>
                  </a:lnTo>
                  <a:lnTo>
                    <a:pt x="558260" y="95250"/>
                  </a:lnTo>
                  <a:lnTo>
                    <a:pt x="515112" y="95250"/>
                  </a:lnTo>
                  <a:lnTo>
                    <a:pt x="515112" y="0"/>
                  </a:lnTo>
                  <a:lnTo>
                    <a:pt x="246221" y="0"/>
                  </a:lnTo>
                  <a:lnTo>
                    <a:pt x="246221" y="258699"/>
                  </a:lnTo>
                  <a:cubicBezTo>
                    <a:pt x="225356" y="250321"/>
                    <a:pt x="203372" y="245057"/>
                    <a:pt x="180975" y="243078"/>
                  </a:cubicBezTo>
                  <a:lnTo>
                    <a:pt x="180975" y="185261"/>
                  </a:lnTo>
                  <a:lnTo>
                    <a:pt x="0" y="185261"/>
                  </a:lnTo>
                  <a:lnTo>
                    <a:pt x="0" y="905447"/>
                  </a:lnTo>
                  <a:lnTo>
                    <a:pt x="180975" y="905447"/>
                  </a:lnTo>
                  <a:close/>
                  <a:moveTo>
                    <a:pt x="471488" y="153829"/>
                  </a:moveTo>
                  <a:lnTo>
                    <a:pt x="499300" y="153829"/>
                  </a:lnTo>
                  <a:lnTo>
                    <a:pt x="499300" y="216694"/>
                  </a:lnTo>
                  <a:lnTo>
                    <a:pt x="471869" y="216694"/>
                  </a:lnTo>
                  <a:close/>
                  <a:moveTo>
                    <a:pt x="472154" y="452247"/>
                  </a:moveTo>
                  <a:lnTo>
                    <a:pt x="924878" y="452247"/>
                  </a:lnTo>
                  <a:lnTo>
                    <a:pt x="924878" y="753047"/>
                  </a:lnTo>
                  <a:lnTo>
                    <a:pt x="472535" y="753047"/>
                  </a:lnTo>
                  <a:close/>
                  <a:moveTo>
                    <a:pt x="180975" y="302038"/>
                  </a:moveTo>
                  <a:cubicBezTo>
                    <a:pt x="266330" y="312345"/>
                    <a:pt x="330559" y="384750"/>
                    <a:pt x="330613" y="470726"/>
                  </a:cubicBezTo>
                  <a:cubicBezTo>
                    <a:pt x="330613" y="472154"/>
                    <a:pt x="330613" y="473583"/>
                    <a:pt x="330613" y="475012"/>
                  </a:cubicBezTo>
                  <a:lnTo>
                    <a:pt x="180975" y="475012"/>
                  </a:lnTo>
                  <a:close/>
                  <a:moveTo>
                    <a:pt x="180975" y="533972"/>
                  </a:moveTo>
                  <a:lnTo>
                    <a:pt x="414052" y="533972"/>
                  </a:lnTo>
                  <a:lnTo>
                    <a:pt x="414052" y="603123"/>
                  </a:lnTo>
                  <a:lnTo>
                    <a:pt x="180975" y="603123"/>
                  </a:lnTo>
                  <a:close/>
                  <a:moveTo>
                    <a:pt x="122396" y="847154"/>
                  </a:moveTo>
                  <a:lnTo>
                    <a:pt x="59341" y="847154"/>
                  </a:lnTo>
                  <a:lnTo>
                    <a:pt x="59341" y="243840"/>
                  </a:lnTo>
                  <a:lnTo>
                    <a:pt x="122777" y="24384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grpSp>
      <p:grpSp>
        <p:nvGrpSpPr>
          <p:cNvPr id="94" name="Google Shape;1654;p92">
            <a:extLst>
              <a:ext uri="{FF2B5EF4-FFF2-40B4-BE49-F238E27FC236}">
                <a16:creationId xmlns:a16="http://schemas.microsoft.com/office/drawing/2014/main" id="{594AAC2C-5B65-E8F9-8ECC-13E411076E0A}"/>
              </a:ext>
            </a:extLst>
          </p:cNvPr>
          <p:cNvGrpSpPr/>
          <p:nvPr/>
        </p:nvGrpSpPr>
        <p:grpSpPr>
          <a:xfrm>
            <a:off x="10544589" y="5318798"/>
            <a:ext cx="504001" cy="504009"/>
            <a:chOff x="3523866" y="3895566"/>
            <a:chExt cx="457200" cy="457200"/>
          </a:xfrm>
        </p:grpSpPr>
        <p:sp>
          <p:nvSpPr>
            <p:cNvPr id="95" name="Google Shape;1655;p92">
              <a:extLst>
                <a:ext uri="{FF2B5EF4-FFF2-40B4-BE49-F238E27FC236}">
                  <a16:creationId xmlns:a16="http://schemas.microsoft.com/office/drawing/2014/main" id="{0BF8B685-24EB-F6B7-6D96-1C3A29FAAB97}"/>
                </a:ext>
              </a:extLst>
            </p:cNvPr>
            <p:cNvSpPr/>
            <p:nvPr/>
          </p:nvSpPr>
          <p:spPr>
            <a:xfrm>
              <a:off x="3721986" y="4124166"/>
              <a:ext cx="60959" cy="22828"/>
            </a:xfrm>
            <a:custGeom>
              <a:avLst/>
              <a:gdLst/>
              <a:ahLst/>
              <a:cxnLst/>
              <a:rect l="l" t="t" r="r" b="b"/>
              <a:pathLst>
                <a:path w="60959" h="22828" extrusionOk="0">
                  <a:moveTo>
                    <a:pt x="0" y="0"/>
                  </a:moveTo>
                  <a:lnTo>
                    <a:pt x="60960" y="0"/>
                  </a:lnTo>
                  <a:lnTo>
                    <a:pt x="60960" y="22828"/>
                  </a:lnTo>
                  <a:lnTo>
                    <a:pt x="0" y="22828"/>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96" name="Google Shape;1656;p92">
              <a:extLst>
                <a:ext uri="{FF2B5EF4-FFF2-40B4-BE49-F238E27FC236}">
                  <a16:creationId xmlns:a16="http://schemas.microsoft.com/office/drawing/2014/main" id="{EE7AEC1C-C5B3-E723-B9E4-E1B584899F72}"/>
                </a:ext>
              </a:extLst>
            </p:cNvPr>
            <p:cNvSpPr/>
            <p:nvPr/>
          </p:nvSpPr>
          <p:spPr>
            <a:xfrm>
              <a:off x="3721986" y="4154614"/>
              <a:ext cx="60959" cy="22891"/>
            </a:xfrm>
            <a:custGeom>
              <a:avLst/>
              <a:gdLst/>
              <a:ahLst/>
              <a:cxnLst/>
              <a:rect l="l" t="t" r="r" b="b"/>
              <a:pathLst>
                <a:path w="60959" h="22891" extrusionOk="0">
                  <a:moveTo>
                    <a:pt x="0" y="0"/>
                  </a:moveTo>
                  <a:lnTo>
                    <a:pt x="60960" y="0"/>
                  </a:lnTo>
                  <a:lnTo>
                    <a:pt x="60960" y="22892"/>
                  </a:lnTo>
                  <a:lnTo>
                    <a:pt x="0" y="22892"/>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97" name="Google Shape;1657;p92">
              <a:extLst>
                <a:ext uri="{FF2B5EF4-FFF2-40B4-BE49-F238E27FC236}">
                  <a16:creationId xmlns:a16="http://schemas.microsoft.com/office/drawing/2014/main" id="{01F7ABBA-99EA-9BF1-9BB6-0E00A4C88043}"/>
                </a:ext>
              </a:extLst>
            </p:cNvPr>
            <p:cNvSpPr/>
            <p:nvPr/>
          </p:nvSpPr>
          <p:spPr>
            <a:xfrm>
              <a:off x="3523866" y="3895566"/>
              <a:ext cx="457200" cy="457200"/>
            </a:xfrm>
            <a:custGeom>
              <a:avLst/>
              <a:gdLst/>
              <a:ahLst/>
              <a:cxnLst/>
              <a:rect l="l" t="t" r="r" b="b"/>
              <a:pathLst>
                <a:path w="457200" h="457200" extrusionOk="0">
                  <a:moveTo>
                    <a:pt x="0" y="0"/>
                  </a:moveTo>
                  <a:lnTo>
                    <a:pt x="0" y="457200"/>
                  </a:lnTo>
                  <a:lnTo>
                    <a:pt x="457200" y="457200"/>
                  </a:lnTo>
                  <a:lnTo>
                    <a:pt x="457200" y="0"/>
                  </a:lnTo>
                  <a:close/>
                  <a:moveTo>
                    <a:pt x="154813" y="436880"/>
                  </a:moveTo>
                  <a:lnTo>
                    <a:pt x="75438" y="436880"/>
                  </a:lnTo>
                  <a:lnTo>
                    <a:pt x="75438" y="167862"/>
                  </a:lnTo>
                  <a:lnTo>
                    <a:pt x="154813" y="167862"/>
                  </a:lnTo>
                  <a:lnTo>
                    <a:pt x="154813" y="436880"/>
                  </a:lnTo>
                  <a:close/>
                  <a:moveTo>
                    <a:pt x="240538" y="436880"/>
                  </a:moveTo>
                  <a:lnTo>
                    <a:pt x="215900" y="436880"/>
                  </a:lnTo>
                  <a:lnTo>
                    <a:pt x="215900" y="358966"/>
                  </a:lnTo>
                  <a:lnTo>
                    <a:pt x="240570" y="358966"/>
                  </a:lnTo>
                  <a:lnTo>
                    <a:pt x="240570" y="436880"/>
                  </a:lnTo>
                  <a:close/>
                  <a:moveTo>
                    <a:pt x="281813" y="147955"/>
                  </a:moveTo>
                  <a:lnTo>
                    <a:pt x="281813" y="436880"/>
                  </a:lnTo>
                  <a:lnTo>
                    <a:pt x="260350" y="436880"/>
                  </a:lnTo>
                  <a:lnTo>
                    <a:pt x="260350" y="339122"/>
                  </a:lnTo>
                  <a:lnTo>
                    <a:pt x="195929" y="339122"/>
                  </a:lnTo>
                  <a:lnTo>
                    <a:pt x="195929" y="436880"/>
                  </a:lnTo>
                  <a:lnTo>
                    <a:pt x="174625" y="436880"/>
                  </a:lnTo>
                  <a:lnTo>
                    <a:pt x="174625" y="81280"/>
                  </a:lnTo>
                  <a:lnTo>
                    <a:pt x="281591" y="81280"/>
                  </a:lnTo>
                  <a:lnTo>
                    <a:pt x="281591" y="147955"/>
                  </a:lnTo>
                  <a:close/>
                  <a:moveTo>
                    <a:pt x="381476" y="436880"/>
                  </a:moveTo>
                  <a:lnTo>
                    <a:pt x="302387" y="436880"/>
                  </a:lnTo>
                  <a:lnTo>
                    <a:pt x="302387" y="167862"/>
                  </a:lnTo>
                  <a:lnTo>
                    <a:pt x="381254" y="167862"/>
                  </a:lnTo>
                  <a:lnTo>
                    <a:pt x="381254" y="436880"/>
                  </a:lnTo>
                  <a:close/>
                  <a:moveTo>
                    <a:pt x="437579" y="436880"/>
                  </a:moveTo>
                  <a:lnTo>
                    <a:pt x="401066" y="436880"/>
                  </a:lnTo>
                  <a:lnTo>
                    <a:pt x="401066" y="147955"/>
                  </a:lnTo>
                  <a:lnTo>
                    <a:pt x="302387" y="147955"/>
                  </a:lnTo>
                  <a:lnTo>
                    <a:pt x="302387" y="61436"/>
                  </a:lnTo>
                  <a:lnTo>
                    <a:pt x="154813" y="61436"/>
                  </a:lnTo>
                  <a:lnTo>
                    <a:pt x="154813" y="148019"/>
                  </a:lnTo>
                  <a:lnTo>
                    <a:pt x="55626" y="148019"/>
                  </a:lnTo>
                  <a:lnTo>
                    <a:pt x="55626" y="436944"/>
                  </a:lnTo>
                  <a:lnTo>
                    <a:pt x="19844" y="436944"/>
                  </a:lnTo>
                  <a:lnTo>
                    <a:pt x="19844" y="19812"/>
                  </a:lnTo>
                  <a:lnTo>
                    <a:pt x="437356" y="19812"/>
                  </a:lnTo>
                  <a:lnTo>
                    <a:pt x="437356" y="43688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98" name="Google Shape;1658;p92">
              <a:extLst>
                <a:ext uri="{FF2B5EF4-FFF2-40B4-BE49-F238E27FC236}">
                  <a16:creationId xmlns:a16="http://schemas.microsoft.com/office/drawing/2014/main" id="{67E0A6C9-5F93-35C3-BA83-3265A17A644E}"/>
                </a:ext>
              </a:extLst>
            </p:cNvPr>
            <p:cNvSpPr/>
            <p:nvPr/>
          </p:nvSpPr>
          <p:spPr>
            <a:xfrm>
              <a:off x="3721986" y="4002214"/>
              <a:ext cx="60959" cy="53371"/>
            </a:xfrm>
            <a:custGeom>
              <a:avLst/>
              <a:gdLst/>
              <a:ahLst/>
              <a:cxnLst/>
              <a:rect l="l" t="t" r="r" b="b"/>
              <a:pathLst>
                <a:path w="60959" h="53371" extrusionOk="0">
                  <a:moveTo>
                    <a:pt x="19463" y="53372"/>
                  </a:moveTo>
                  <a:lnTo>
                    <a:pt x="40481" y="53372"/>
                  </a:lnTo>
                  <a:lnTo>
                    <a:pt x="40481" y="35719"/>
                  </a:lnTo>
                  <a:lnTo>
                    <a:pt x="60960" y="35719"/>
                  </a:lnTo>
                  <a:lnTo>
                    <a:pt x="60960" y="17208"/>
                  </a:lnTo>
                  <a:lnTo>
                    <a:pt x="40481" y="17208"/>
                  </a:lnTo>
                  <a:lnTo>
                    <a:pt x="40481" y="0"/>
                  </a:lnTo>
                  <a:lnTo>
                    <a:pt x="19463" y="0"/>
                  </a:lnTo>
                  <a:lnTo>
                    <a:pt x="19463" y="17208"/>
                  </a:lnTo>
                  <a:lnTo>
                    <a:pt x="0" y="17208"/>
                  </a:lnTo>
                  <a:lnTo>
                    <a:pt x="0" y="35719"/>
                  </a:lnTo>
                  <a:lnTo>
                    <a:pt x="19463" y="35719"/>
                  </a:lnTo>
                  <a:lnTo>
                    <a:pt x="19463" y="53372"/>
                  </a:lnTo>
                  <a:lnTo>
                    <a:pt x="19463" y="53372"/>
                  </a:lnTo>
                  <a:lnTo>
                    <a:pt x="19463" y="53372"/>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99" name="Google Shape;1659;p92">
              <a:extLst>
                <a:ext uri="{FF2B5EF4-FFF2-40B4-BE49-F238E27FC236}">
                  <a16:creationId xmlns:a16="http://schemas.microsoft.com/office/drawing/2014/main" id="{4D545500-2FFA-ECE0-FA08-582982308EB9}"/>
                </a:ext>
              </a:extLst>
            </p:cNvPr>
            <p:cNvSpPr/>
            <p:nvPr/>
          </p:nvSpPr>
          <p:spPr>
            <a:xfrm>
              <a:off x="3622926" y="4116514"/>
              <a:ext cx="30479" cy="15240"/>
            </a:xfrm>
            <a:custGeom>
              <a:avLst/>
              <a:gdLst/>
              <a:ahLst/>
              <a:cxnLst/>
              <a:rect l="l" t="t" r="r" b="b"/>
              <a:pathLst>
                <a:path w="30479" h="15240" extrusionOk="0">
                  <a:moveTo>
                    <a:pt x="0" y="0"/>
                  </a:moveTo>
                  <a:lnTo>
                    <a:pt x="30480" y="0"/>
                  </a:lnTo>
                  <a:lnTo>
                    <a:pt x="30480" y="15240"/>
                  </a:lnTo>
                  <a:lnTo>
                    <a:pt x="0" y="15240"/>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0" name="Google Shape;1660;p92">
              <a:extLst>
                <a:ext uri="{FF2B5EF4-FFF2-40B4-BE49-F238E27FC236}">
                  <a16:creationId xmlns:a16="http://schemas.microsoft.com/office/drawing/2014/main" id="{2132EE1A-86EE-0738-ED0F-28A9295E2885}"/>
                </a:ext>
              </a:extLst>
            </p:cNvPr>
            <p:cNvSpPr/>
            <p:nvPr/>
          </p:nvSpPr>
          <p:spPr>
            <a:xfrm>
              <a:off x="3622926" y="4146994"/>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1" name="Google Shape;1661;p92">
              <a:extLst>
                <a:ext uri="{FF2B5EF4-FFF2-40B4-BE49-F238E27FC236}">
                  <a16:creationId xmlns:a16="http://schemas.microsoft.com/office/drawing/2014/main" id="{CFB7CC00-E26B-7DBA-041D-09E2981F93CA}"/>
                </a:ext>
              </a:extLst>
            </p:cNvPr>
            <p:cNvSpPr/>
            <p:nvPr/>
          </p:nvSpPr>
          <p:spPr>
            <a:xfrm>
              <a:off x="3622926" y="4185094"/>
              <a:ext cx="30479" cy="15271"/>
            </a:xfrm>
            <a:custGeom>
              <a:avLst/>
              <a:gdLst/>
              <a:ahLst/>
              <a:cxnLst/>
              <a:rect l="l" t="t" r="r" b="b"/>
              <a:pathLst>
                <a:path w="30479" h="15271" extrusionOk="0">
                  <a:moveTo>
                    <a:pt x="0" y="0"/>
                  </a:moveTo>
                  <a:lnTo>
                    <a:pt x="30480" y="0"/>
                  </a:lnTo>
                  <a:lnTo>
                    <a:pt x="30480" y="15272"/>
                  </a:lnTo>
                  <a:lnTo>
                    <a:pt x="0" y="15272"/>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2" name="Google Shape;1662;p92">
              <a:extLst>
                <a:ext uri="{FF2B5EF4-FFF2-40B4-BE49-F238E27FC236}">
                  <a16:creationId xmlns:a16="http://schemas.microsoft.com/office/drawing/2014/main" id="{15EC7B77-49D7-6AD2-FB2D-8180FD60E8B6}"/>
                </a:ext>
              </a:extLst>
            </p:cNvPr>
            <p:cNvSpPr/>
            <p:nvPr/>
          </p:nvSpPr>
          <p:spPr>
            <a:xfrm>
              <a:off x="3622926" y="4215606"/>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3" name="Google Shape;1663;p92">
              <a:extLst>
                <a:ext uri="{FF2B5EF4-FFF2-40B4-BE49-F238E27FC236}">
                  <a16:creationId xmlns:a16="http://schemas.microsoft.com/office/drawing/2014/main" id="{93B3CE46-1839-A491-018E-5C5D47EA5C53}"/>
                </a:ext>
              </a:extLst>
            </p:cNvPr>
            <p:cNvSpPr/>
            <p:nvPr/>
          </p:nvSpPr>
          <p:spPr>
            <a:xfrm>
              <a:off x="3622926" y="4253706"/>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4" name="Google Shape;1664;p92">
              <a:extLst>
                <a:ext uri="{FF2B5EF4-FFF2-40B4-BE49-F238E27FC236}">
                  <a16:creationId xmlns:a16="http://schemas.microsoft.com/office/drawing/2014/main" id="{F2DFFD91-F045-017F-AB94-50397BBD2076}"/>
                </a:ext>
              </a:extLst>
            </p:cNvPr>
            <p:cNvSpPr/>
            <p:nvPr/>
          </p:nvSpPr>
          <p:spPr>
            <a:xfrm>
              <a:off x="3622926" y="4291806"/>
              <a:ext cx="30479" cy="15208"/>
            </a:xfrm>
            <a:custGeom>
              <a:avLst/>
              <a:gdLst/>
              <a:ahLst/>
              <a:cxnLst/>
              <a:rect l="l" t="t" r="r" b="b"/>
              <a:pathLst>
                <a:path w="30479" h="15208" extrusionOk="0">
                  <a:moveTo>
                    <a:pt x="0" y="0"/>
                  </a:moveTo>
                  <a:lnTo>
                    <a:pt x="30480" y="0"/>
                  </a:lnTo>
                  <a:lnTo>
                    <a:pt x="30480" y="15208"/>
                  </a:lnTo>
                  <a:lnTo>
                    <a:pt x="0" y="15208"/>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5" name="Google Shape;1665;p92">
              <a:extLst>
                <a:ext uri="{FF2B5EF4-FFF2-40B4-BE49-F238E27FC236}">
                  <a16:creationId xmlns:a16="http://schemas.microsoft.com/office/drawing/2014/main" id="{952EFDB1-B39C-9CFF-195D-FFA30B863AED}"/>
                </a:ext>
              </a:extLst>
            </p:cNvPr>
            <p:cNvSpPr/>
            <p:nvPr/>
          </p:nvSpPr>
          <p:spPr>
            <a:xfrm>
              <a:off x="3851525" y="4116514"/>
              <a:ext cx="22860" cy="15240"/>
            </a:xfrm>
            <a:custGeom>
              <a:avLst/>
              <a:gdLst/>
              <a:ahLst/>
              <a:cxnLst/>
              <a:rect l="l" t="t" r="r" b="b"/>
              <a:pathLst>
                <a:path w="22860" h="15240" extrusionOk="0">
                  <a:moveTo>
                    <a:pt x="0" y="0"/>
                  </a:moveTo>
                  <a:lnTo>
                    <a:pt x="22860" y="0"/>
                  </a:lnTo>
                  <a:lnTo>
                    <a:pt x="22860" y="15240"/>
                  </a:lnTo>
                  <a:lnTo>
                    <a:pt x="0" y="15240"/>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6" name="Google Shape;1666;p92">
              <a:extLst>
                <a:ext uri="{FF2B5EF4-FFF2-40B4-BE49-F238E27FC236}">
                  <a16:creationId xmlns:a16="http://schemas.microsoft.com/office/drawing/2014/main" id="{2BF2D093-2A49-877E-57FB-C64EFE51EDD9}"/>
                </a:ext>
              </a:extLst>
            </p:cNvPr>
            <p:cNvSpPr/>
            <p:nvPr/>
          </p:nvSpPr>
          <p:spPr>
            <a:xfrm>
              <a:off x="3851525" y="4146994"/>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7" name="Google Shape;1667;p92">
              <a:extLst>
                <a:ext uri="{FF2B5EF4-FFF2-40B4-BE49-F238E27FC236}">
                  <a16:creationId xmlns:a16="http://schemas.microsoft.com/office/drawing/2014/main" id="{D821A797-6F35-403F-F3BD-1B2C96A9BB9E}"/>
                </a:ext>
              </a:extLst>
            </p:cNvPr>
            <p:cNvSpPr/>
            <p:nvPr/>
          </p:nvSpPr>
          <p:spPr>
            <a:xfrm>
              <a:off x="3851525" y="4185094"/>
              <a:ext cx="22860" cy="15271"/>
            </a:xfrm>
            <a:custGeom>
              <a:avLst/>
              <a:gdLst/>
              <a:ahLst/>
              <a:cxnLst/>
              <a:rect l="l" t="t" r="r" b="b"/>
              <a:pathLst>
                <a:path w="22860" h="15271" extrusionOk="0">
                  <a:moveTo>
                    <a:pt x="0" y="0"/>
                  </a:moveTo>
                  <a:lnTo>
                    <a:pt x="22860" y="0"/>
                  </a:lnTo>
                  <a:lnTo>
                    <a:pt x="22860" y="15272"/>
                  </a:lnTo>
                  <a:lnTo>
                    <a:pt x="0" y="15272"/>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8" name="Google Shape;1668;p92">
              <a:extLst>
                <a:ext uri="{FF2B5EF4-FFF2-40B4-BE49-F238E27FC236}">
                  <a16:creationId xmlns:a16="http://schemas.microsoft.com/office/drawing/2014/main" id="{90D09C20-B8D2-405F-DC35-7461DFF6F67B}"/>
                </a:ext>
              </a:extLst>
            </p:cNvPr>
            <p:cNvSpPr/>
            <p:nvPr/>
          </p:nvSpPr>
          <p:spPr>
            <a:xfrm>
              <a:off x="3851525" y="4215606"/>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9" name="Google Shape;1669;p92">
              <a:extLst>
                <a:ext uri="{FF2B5EF4-FFF2-40B4-BE49-F238E27FC236}">
                  <a16:creationId xmlns:a16="http://schemas.microsoft.com/office/drawing/2014/main" id="{420CBE9D-90E6-55AB-2247-F721592065BB}"/>
                </a:ext>
              </a:extLst>
            </p:cNvPr>
            <p:cNvSpPr/>
            <p:nvPr/>
          </p:nvSpPr>
          <p:spPr>
            <a:xfrm>
              <a:off x="3851525" y="4253706"/>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10" name="Google Shape;1670;p92">
              <a:extLst>
                <a:ext uri="{FF2B5EF4-FFF2-40B4-BE49-F238E27FC236}">
                  <a16:creationId xmlns:a16="http://schemas.microsoft.com/office/drawing/2014/main" id="{2FADEC4E-0BF5-23E5-656D-FB6FA5CA766B}"/>
                </a:ext>
              </a:extLst>
            </p:cNvPr>
            <p:cNvSpPr/>
            <p:nvPr/>
          </p:nvSpPr>
          <p:spPr>
            <a:xfrm>
              <a:off x="3851525" y="4291806"/>
              <a:ext cx="22860" cy="15208"/>
            </a:xfrm>
            <a:custGeom>
              <a:avLst/>
              <a:gdLst/>
              <a:ahLst/>
              <a:cxnLst/>
              <a:rect l="l" t="t" r="r" b="b"/>
              <a:pathLst>
                <a:path w="22860" h="15208" extrusionOk="0">
                  <a:moveTo>
                    <a:pt x="0" y="0"/>
                  </a:moveTo>
                  <a:lnTo>
                    <a:pt x="22860" y="0"/>
                  </a:lnTo>
                  <a:lnTo>
                    <a:pt x="22860" y="15208"/>
                  </a:lnTo>
                  <a:lnTo>
                    <a:pt x="0" y="15208"/>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grpSp>
      <p:grpSp>
        <p:nvGrpSpPr>
          <p:cNvPr id="111" name="Google Shape;1543;p92">
            <a:extLst>
              <a:ext uri="{FF2B5EF4-FFF2-40B4-BE49-F238E27FC236}">
                <a16:creationId xmlns:a16="http://schemas.microsoft.com/office/drawing/2014/main" id="{25E49F92-0710-7B61-8355-C954630A29B3}"/>
              </a:ext>
            </a:extLst>
          </p:cNvPr>
          <p:cNvGrpSpPr/>
          <p:nvPr/>
        </p:nvGrpSpPr>
        <p:grpSpPr>
          <a:xfrm>
            <a:off x="8195440" y="5318723"/>
            <a:ext cx="504000" cy="504000"/>
            <a:chOff x="11403518" y="3895566"/>
            <a:chExt cx="457200" cy="457200"/>
          </a:xfrm>
        </p:grpSpPr>
        <p:sp>
          <p:nvSpPr>
            <p:cNvPr id="112" name="Google Shape;1544;p92">
              <a:extLst>
                <a:ext uri="{FF2B5EF4-FFF2-40B4-BE49-F238E27FC236}">
                  <a16:creationId xmlns:a16="http://schemas.microsoft.com/office/drawing/2014/main" id="{1BE88429-4F3F-636B-DB20-E431D496B9EB}"/>
                </a:ext>
              </a:extLst>
            </p:cNvPr>
            <p:cNvSpPr/>
            <p:nvPr/>
          </p:nvSpPr>
          <p:spPr>
            <a:xfrm>
              <a:off x="11403518" y="3895566"/>
              <a:ext cx="457200" cy="457200"/>
            </a:xfrm>
            <a:custGeom>
              <a:avLst/>
              <a:gdLst/>
              <a:ahLst/>
              <a:cxnLst/>
              <a:rect l="l" t="t" r="r" b="b"/>
              <a:pathLst>
                <a:path w="457200" h="457200" extrusionOk="0">
                  <a:moveTo>
                    <a:pt x="358426" y="48038"/>
                  </a:moveTo>
                  <a:lnTo>
                    <a:pt x="358426" y="0"/>
                  </a:lnTo>
                  <a:lnTo>
                    <a:pt x="98774" y="0"/>
                  </a:lnTo>
                  <a:lnTo>
                    <a:pt x="98774" y="48038"/>
                  </a:lnTo>
                  <a:lnTo>
                    <a:pt x="0" y="48038"/>
                  </a:lnTo>
                  <a:lnTo>
                    <a:pt x="0" y="457200"/>
                  </a:lnTo>
                  <a:lnTo>
                    <a:pt x="457200" y="457200"/>
                  </a:lnTo>
                  <a:lnTo>
                    <a:pt x="457200" y="48038"/>
                  </a:lnTo>
                  <a:close/>
                  <a:moveTo>
                    <a:pt x="118300" y="19463"/>
                  </a:moveTo>
                  <a:lnTo>
                    <a:pt x="338900" y="19463"/>
                  </a:lnTo>
                  <a:lnTo>
                    <a:pt x="338900" y="47625"/>
                  </a:lnTo>
                  <a:lnTo>
                    <a:pt x="118300" y="47625"/>
                  </a:lnTo>
                  <a:close/>
                  <a:moveTo>
                    <a:pt x="19526" y="225679"/>
                  </a:moveTo>
                  <a:lnTo>
                    <a:pt x="86201" y="225679"/>
                  </a:lnTo>
                  <a:cubicBezTo>
                    <a:pt x="84633" y="234301"/>
                    <a:pt x="83836" y="243046"/>
                    <a:pt x="83820" y="251809"/>
                  </a:cubicBezTo>
                  <a:cubicBezTo>
                    <a:pt x="83817" y="261123"/>
                    <a:pt x="84711" y="270416"/>
                    <a:pt x="86487" y="279559"/>
                  </a:cubicBezTo>
                  <a:lnTo>
                    <a:pt x="19526" y="279559"/>
                  </a:lnTo>
                  <a:close/>
                  <a:moveTo>
                    <a:pt x="437674" y="437674"/>
                  </a:moveTo>
                  <a:lnTo>
                    <a:pt x="19526" y="437674"/>
                  </a:lnTo>
                  <a:lnTo>
                    <a:pt x="19526" y="299085"/>
                  </a:lnTo>
                  <a:lnTo>
                    <a:pt x="92075" y="299085"/>
                  </a:lnTo>
                  <a:cubicBezTo>
                    <a:pt x="118172" y="374574"/>
                    <a:pt x="200523" y="414614"/>
                    <a:pt x="276012" y="388515"/>
                  </a:cubicBezTo>
                  <a:cubicBezTo>
                    <a:pt x="317967" y="374012"/>
                    <a:pt x="350939" y="341039"/>
                    <a:pt x="365443" y="299085"/>
                  </a:cubicBezTo>
                  <a:lnTo>
                    <a:pt x="437832" y="299085"/>
                  </a:lnTo>
                  <a:close/>
                  <a:moveTo>
                    <a:pt x="103505" y="251809"/>
                  </a:moveTo>
                  <a:cubicBezTo>
                    <a:pt x="103502" y="243026"/>
                    <a:pt x="104428" y="234267"/>
                    <a:pt x="106267" y="225679"/>
                  </a:cubicBezTo>
                  <a:cubicBezTo>
                    <a:pt x="107691" y="219018"/>
                    <a:pt x="109666" y="212487"/>
                    <a:pt x="112173" y="206153"/>
                  </a:cubicBezTo>
                  <a:cubicBezTo>
                    <a:pt x="137346" y="141852"/>
                    <a:pt x="209879" y="110133"/>
                    <a:pt x="274180" y="135306"/>
                  </a:cubicBezTo>
                  <a:cubicBezTo>
                    <a:pt x="306639" y="148013"/>
                    <a:pt x="332321" y="173694"/>
                    <a:pt x="345027" y="206153"/>
                  </a:cubicBezTo>
                  <a:cubicBezTo>
                    <a:pt x="347532" y="212487"/>
                    <a:pt x="349510" y="219018"/>
                    <a:pt x="350933" y="225679"/>
                  </a:cubicBezTo>
                  <a:cubicBezTo>
                    <a:pt x="365373" y="293241"/>
                    <a:pt x="322307" y="359715"/>
                    <a:pt x="254743" y="374155"/>
                  </a:cubicBezTo>
                  <a:cubicBezTo>
                    <a:pt x="187181" y="388595"/>
                    <a:pt x="120706" y="345529"/>
                    <a:pt x="106267" y="277965"/>
                  </a:cubicBezTo>
                  <a:cubicBezTo>
                    <a:pt x="104430" y="269368"/>
                    <a:pt x="103504" y="260601"/>
                    <a:pt x="103505" y="251809"/>
                  </a:cubicBezTo>
                  <a:close/>
                  <a:moveTo>
                    <a:pt x="437674" y="279559"/>
                  </a:moveTo>
                  <a:lnTo>
                    <a:pt x="370554" y="279559"/>
                  </a:lnTo>
                  <a:cubicBezTo>
                    <a:pt x="372332" y="270416"/>
                    <a:pt x="373224" y="261123"/>
                    <a:pt x="373221" y="251809"/>
                  </a:cubicBezTo>
                  <a:cubicBezTo>
                    <a:pt x="373205" y="243046"/>
                    <a:pt x="372408" y="234301"/>
                    <a:pt x="370840" y="225679"/>
                  </a:cubicBezTo>
                  <a:lnTo>
                    <a:pt x="437515" y="225679"/>
                  </a:lnTo>
                  <a:close/>
                  <a:moveTo>
                    <a:pt x="437674" y="206153"/>
                  </a:moveTo>
                  <a:lnTo>
                    <a:pt x="365824" y="206153"/>
                  </a:lnTo>
                  <a:cubicBezTo>
                    <a:pt x="340604" y="130366"/>
                    <a:pt x="258724" y="89373"/>
                    <a:pt x="182938" y="114591"/>
                  </a:cubicBezTo>
                  <a:cubicBezTo>
                    <a:pt x="139696" y="128980"/>
                    <a:pt x="105766" y="162911"/>
                    <a:pt x="91377" y="206153"/>
                  </a:cubicBezTo>
                  <a:lnTo>
                    <a:pt x="19526" y="206153"/>
                  </a:lnTo>
                  <a:lnTo>
                    <a:pt x="19526" y="67564"/>
                  </a:lnTo>
                  <a:lnTo>
                    <a:pt x="437674" y="675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113" name="Google Shape;1545;p92">
              <a:extLst>
                <a:ext uri="{FF2B5EF4-FFF2-40B4-BE49-F238E27FC236}">
                  <a16:creationId xmlns:a16="http://schemas.microsoft.com/office/drawing/2014/main" id="{D285C823-677E-8121-1429-CCB32B027A8B}"/>
                </a:ext>
              </a:extLst>
            </p:cNvPr>
            <p:cNvSpPr/>
            <p:nvPr/>
          </p:nvSpPr>
          <p:spPr>
            <a:xfrm>
              <a:off x="11539503" y="4054760"/>
              <a:ext cx="185229" cy="185229"/>
            </a:xfrm>
            <a:custGeom>
              <a:avLst/>
              <a:gdLst/>
              <a:ahLst/>
              <a:cxnLst/>
              <a:rect l="l" t="t" r="r" b="b"/>
              <a:pathLst>
                <a:path w="185229" h="185229" extrusionOk="0">
                  <a:moveTo>
                    <a:pt x="54959" y="185230"/>
                  </a:moveTo>
                  <a:lnTo>
                    <a:pt x="130270" y="185230"/>
                  </a:lnTo>
                  <a:lnTo>
                    <a:pt x="130270" y="130270"/>
                  </a:lnTo>
                  <a:lnTo>
                    <a:pt x="185229" y="130270"/>
                  </a:lnTo>
                  <a:lnTo>
                    <a:pt x="185229" y="54959"/>
                  </a:lnTo>
                  <a:lnTo>
                    <a:pt x="130270" y="54959"/>
                  </a:lnTo>
                  <a:lnTo>
                    <a:pt x="130270" y="0"/>
                  </a:lnTo>
                  <a:lnTo>
                    <a:pt x="54959" y="0"/>
                  </a:lnTo>
                  <a:lnTo>
                    <a:pt x="54959" y="54959"/>
                  </a:lnTo>
                  <a:lnTo>
                    <a:pt x="0" y="54959"/>
                  </a:lnTo>
                  <a:lnTo>
                    <a:pt x="0" y="130270"/>
                  </a:lnTo>
                  <a:lnTo>
                    <a:pt x="54959" y="130270"/>
                  </a:lnTo>
                  <a:close/>
                  <a:moveTo>
                    <a:pt x="19590" y="110681"/>
                  </a:moveTo>
                  <a:lnTo>
                    <a:pt x="19590" y="74486"/>
                  </a:lnTo>
                  <a:lnTo>
                    <a:pt x="74486" y="74486"/>
                  </a:lnTo>
                  <a:lnTo>
                    <a:pt x="74486" y="19526"/>
                  </a:lnTo>
                  <a:lnTo>
                    <a:pt x="110744" y="19526"/>
                  </a:lnTo>
                  <a:lnTo>
                    <a:pt x="110744" y="74486"/>
                  </a:lnTo>
                  <a:lnTo>
                    <a:pt x="165640" y="74486"/>
                  </a:lnTo>
                  <a:lnTo>
                    <a:pt x="165640" y="110681"/>
                  </a:lnTo>
                  <a:lnTo>
                    <a:pt x="110744" y="110681"/>
                  </a:lnTo>
                  <a:lnTo>
                    <a:pt x="110744" y="165640"/>
                  </a:lnTo>
                  <a:lnTo>
                    <a:pt x="74486" y="165640"/>
                  </a:lnTo>
                  <a:lnTo>
                    <a:pt x="74486" y="110681"/>
                  </a:lnTo>
                  <a:lnTo>
                    <a:pt x="19590" y="110681"/>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grpSp>
      <p:sp>
        <p:nvSpPr>
          <p:cNvPr id="5" name="Rectangle 4">
            <a:extLst>
              <a:ext uri="{FF2B5EF4-FFF2-40B4-BE49-F238E27FC236}">
                <a16:creationId xmlns:a16="http://schemas.microsoft.com/office/drawing/2014/main" id="{775EC90E-5DCE-2B24-A5AB-0F9245BDD3E7}"/>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14" name="Group 13">
            <a:extLst>
              <a:ext uri="{FF2B5EF4-FFF2-40B4-BE49-F238E27FC236}">
                <a16:creationId xmlns:a16="http://schemas.microsoft.com/office/drawing/2014/main" id="{7AFE13CD-216D-2163-4E20-AAFC78274505}"/>
              </a:ext>
            </a:extLst>
          </p:cNvPr>
          <p:cNvGrpSpPr/>
          <p:nvPr/>
        </p:nvGrpSpPr>
        <p:grpSpPr>
          <a:xfrm>
            <a:off x="9307133" y="126781"/>
            <a:ext cx="2441955" cy="217488"/>
            <a:chOff x="9307133" y="126781"/>
            <a:chExt cx="2441955" cy="217488"/>
          </a:xfrm>
        </p:grpSpPr>
        <p:sp>
          <p:nvSpPr>
            <p:cNvPr id="15" name="Rectangle 14">
              <a:extLst>
                <a:ext uri="{FF2B5EF4-FFF2-40B4-BE49-F238E27FC236}">
                  <a16:creationId xmlns:a16="http://schemas.microsoft.com/office/drawing/2014/main" id="{5010B0DC-9EB4-FC8F-448C-EC04D08544A1}"/>
                </a:ext>
              </a:extLst>
            </p:cNvPr>
            <p:cNvSpPr/>
            <p:nvPr/>
          </p:nvSpPr>
          <p:spPr>
            <a:xfrm>
              <a:off x="930713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0503D9E5-9E24-8980-EF0A-F73A6FB0B79D}"/>
                </a:ext>
              </a:extLst>
            </p:cNvPr>
            <p:cNvSpPr/>
            <p:nvPr/>
          </p:nvSpPr>
          <p:spPr>
            <a:xfrm>
              <a:off x="9790783" y="126781"/>
              <a:ext cx="1237148"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Rīcība negadījuma vietā</a:t>
              </a:r>
            </a:p>
          </p:txBody>
        </p:sp>
        <p:sp>
          <p:nvSpPr>
            <p:cNvPr id="19" name="Rectangle 18">
              <a:extLst>
                <a:ext uri="{FF2B5EF4-FFF2-40B4-BE49-F238E27FC236}">
                  <a16:creationId xmlns:a16="http://schemas.microsoft.com/office/drawing/2014/main" id="{E067E46B-DFEE-27F0-8A4B-732AE657B848}"/>
                </a:ext>
              </a:extLst>
            </p:cNvPr>
            <p:cNvSpPr/>
            <p:nvPr/>
          </p:nvSpPr>
          <p:spPr>
            <a:xfrm>
              <a:off x="955040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2</a:t>
              </a:r>
              <a:endParaRPr kumimoji="0" lang="lv-LV" sz="800" b="1" i="0" u="none" strike="noStrike" kern="0" cap="none" spc="0" normalizeH="0" baseline="0" noProof="0">
                <a:ln>
                  <a:noFill/>
                </a:ln>
                <a:effectLst/>
                <a:uLnTx/>
                <a:uFillTx/>
                <a:ea typeface="Georgia"/>
                <a:cs typeface="Georgia"/>
                <a:sym typeface="Georgia"/>
              </a:endParaRPr>
            </a:p>
          </p:txBody>
        </p:sp>
        <p:sp>
          <p:nvSpPr>
            <p:cNvPr id="20" name="Rectangle 19">
              <a:extLst>
                <a:ext uri="{FF2B5EF4-FFF2-40B4-BE49-F238E27FC236}">
                  <a16:creationId xmlns:a16="http://schemas.microsoft.com/office/drawing/2014/main" id="{70B512D5-347E-52F9-87DF-294D42A64799}"/>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F79DDCCF-BA4D-BE6A-3098-E52555711CDE}"/>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4</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2" name="Rectangle 21">
              <a:extLst>
                <a:ext uri="{FF2B5EF4-FFF2-40B4-BE49-F238E27FC236}">
                  <a16:creationId xmlns:a16="http://schemas.microsoft.com/office/drawing/2014/main" id="{68B9554E-4A69-8896-0201-BB891912CC5B}"/>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17351913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5BA6788F-AF5C-AB56-A6FB-EB7116022A62}"/>
              </a:ext>
            </a:extLst>
          </p:cNvPr>
          <p:cNvGraphicFramePr>
            <a:graphicFrameLocks noChangeAspect="1"/>
          </p:cNvGraphicFramePr>
          <p:nvPr>
            <p:custDataLst>
              <p:tags r:id="rId1"/>
            </p:custDataLst>
            <p:extLst>
              <p:ext uri="{D42A27DB-BD31-4B8C-83A1-F6EECF244321}">
                <p14:modId xmlns:p14="http://schemas.microsoft.com/office/powerpoint/2010/main" val="3588944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5" name="think-cell data - do not delete" hidden="1">
                        <a:extLst>
                          <a:ext uri="{FF2B5EF4-FFF2-40B4-BE49-F238E27FC236}">
                            <a16:creationId xmlns:a16="http://schemas.microsoft.com/office/drawing/2014/main" id="{5BA6788F-AF5C-AB56-A6FB-EB7116022A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Picture 31">
            <a:extLst>
              <a:ext uri="{FF2B5EF4-FFF2-40B4-BE49-F238E27FC236}">
                <a16:creationId xmlns:a16="http://schemas.microsoft.com/office/drawing/2014/main" id="{C99C3321-AADB-8522-5455-B67E37EB9B30}"/>
              </a:ext>
            </a:extLst>
          </p:cNvPr>
          <p:cNvPicPr>
            <a:picLocks noChangeAspect="1"/>
          </p:cNvPicPr>
          <p:nvPr/>
        </p:nvPicPr>
        <p:blipFill rotWithShape="1">
          <a:blip r:embed="rId6"/>
          <a:srcRect t="38008"/>
          <a:stretch/>
        </p:blipFill>
        <p:spPr>
          <a:xfrm>
            <a:off x="0" y="1819274"/>
            <a:ext cx="12192000" cy="5038725"/>
          </a:xfrm>
          <a:prstGeom prst="rect">
            <a:avLst/>
          </a:prstGeom>
        </p:spPr>
      </p:pic>
      <p:sp>
        <p:nvSpPr>
          <p:cNvPr id="33" name="Rectangle 32">
            <a:extLst>
              <a:ext uri="{FF2B5EF4-FFF2-40B4-BE49-F238E27FC236}">
                <a16:creationId xmlns:a16="http://schemas.microsoft.com/office/drawing/2014/main" id="{91B5CAE0-F039-3450-C576-47A650EA1505}"/>
              </a:ext>
            </a:extLst>
          </p:cNvPr>
          <p:cNvSpPr/>
          <p:nvPr/>
        </p:nvSpPr>
        <p:spPr>
          <a:xfrm>
            <a:off x="0" y="1819274"/>
            <a:ext cx="12192000" cy="5038725"/>
          </a:xfrm>
          <a:prstGeom prst="rect">
            <a:avLst/>
          </a:prstGeom>
          <a:solidFill>
            <a:schemeClr val="accent3">
              <a:alpha val="7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4" name="TextBox 23">
            <a:extLst>
              <a:ext uri="{FF2B5EF4-FFF2-40B4-BE49-F238E27FC236}">
                <a16:creationId xmlns:a16="http://schemas.microsoft.com/office/drawing/2014/main" id="{DA042BFC-9321-AE2A-D685-F5B36EFD0C0A}"/>
              </a:ext>
            </a:extLst>
          </p:cNvPr>
          <p:cNvSpPr txBox="1"/>
          <p:nvPr/>
        </p:nvSpPr>
        <p:spPr>
          <a:xfrm>
            <a:off x="442912" y="2872740"/>
            <a:ext cx="3529013" cy="3299460"/>
          </a:xfrm>
          <a:prstGeom prst="rect">
            <a:avLst/>
          </a:prstGeom>
          <a:solidFill>
            <a:schemeClr val="bg1">
              <a:alpha val="85000"/>
            </a:schemeClr>
          </a:solidFill>
        </p:spPr>
        <p:txBody>
          <a:bodyPr wrap="square" lIns="72000" tIns="72000" rIns="72000" bIns="72000">
            <a:noAutofit/>
          </a:bodyPr>
          <a:lstStyle/>
          <a:p>
            <a:pPr marL="285750" indent="-285750">
              <a:spcAft>
                <a:spcPts val="600"/>
              </a:spcAft>
              <a:buSzPct val="120000"/>
              <a:buBlip>
                <a:blip r:embed="rId7"/>
              </a:buBlip>
            </a:pPr>
            <a:r>
              <a:rPr lang="lv-LV" sz="1400"/>
              <a:t>Novērtējiet, vai palīdzības sniegšana Jūs neapdraud</a:t>
            </a:r>
          </a:p>
          <a:p>
            <a:pPr marL="285750" indent="-285750">
              <a:spcAft>
                <a:spcPts val="600"/>
              </a:spcAft>
              <a:buSzPct val="120000"/>
              <a:buBlip>
                <a:blip r:embed="rId7"/>
              </a:buBlip>
            </a:pPr>
            <a:r>
              <a:rPr lang="lv-LV" sz="1400"/>
              <a:t>Ja iespējams, lietojiet aizsardzības līdzekļus</a:t>
            </a:r>
          </a:p>
          <a:p>
            <a:pPr marL="285750" indent="-285750">
              <a:spcAft>
                <a:spcPts val="600"/>
              </a:spcAft>
              <a:buSzPct val="120000"/>
              <a:buBlip>
                <a:blip r:embed="rId7"/>
              </a:buBlip>
            </a:pPr>
            <a:r>
              <a:rPr lang="lv-LV" sz="1400"/>
              <a:t>Infekciju apdraudējuma gadījumā lietojiet mutes un deguna aizsegu sev un, ja iespējams, cietušajam</a:t>
            </a:r>
          </a:p>
        </p:txBody>
      </p:sp>
      <p:sp>
        <p:nvSpPr>
          <p:cNvPr id="25" name="Content Placeholder 1">
            <a:extLst>
              <a:ext uri="{FF2B5EF4-FFF2-40B4-BE49-F238E27FC236}">
                <a16:creationId xmlns:a16="http://schemas.microsoft.com/office/drawing/2014/main" id="{F4EF9CAC-BCB4-3861-ABEC-9E1F2B71AD96}"/>
              </a:ext>
            </a:extLst>
          </p:cNvPr>
          <p:cNvSpPr txBox="1">
            <a:spLocks/>
          </p:cNvSpPr>
          <p:nvPr/>
        </p:nvSpPr>
        <p:spPr>
          <a:xfrm>
            <a:off x="442914" y="2175439"/>
            <a:ext cx="3529012"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bg1"/>
                </a:solidFill>
              </a:rPr>
              <a:t>Glābēja drošība</a:t>
            </a:r>
          </a:p>
        </p:txBody>
      </p:sp>
      <p:sp>
        <p:nvSpPr>
          <p:cNvPr id="2" name="Title 1">
            <a:extLst>
              <a:ext uri="{FF2B5EF4-FFF2-40B4-BE49-F238E27FC236}">
                <a16:creationId xmlns:a16="http://schemas.microsoft.com/office/drawing/2014/main" id="{EDFBCEAB-7D4A-91D0-E036-AAFACC3ABE8D}"/>
              </a:ext>
            </a:extLst>
          </p:cNvPr>
          <p:cNvSpPr>
            <a:spLocks noGrp="1"/>
          </p:cNvSpPr>
          <p:nvPr>
            <p:ph type="title"/>
          </p:nvPr>
        </p:nvSpPr>
        <p:spPr/>
        <p:txBody>
          <a:bodyPr vert="horz"/>
          <a:lstStyle/>
          <a:p>
            <a:r>
              <a:rPr lang="lv-LV"/>
              <a:t>Kādi tūlītējie pasākumi jāveic? </a:t>
            </a:r>
          </a:p>
        </p:txBody>
      </p:sp>
      <p:sp>
        <p:nvSpPr>
          <p:cNvPr id="4" name="Slide Number Placeholder 3">
            <a:extLst>
              <a:ext uri="{FF2B5EF4-FFF2-40B4-BE49-F238E27FC236}">
                <a16:creationId xmlns:a16="http://schemas.microsoft.com/office/drawing/2014/main" id="{A6320228-D809-6F87-2500-99BCB217E23A}"/>
              </a:ext>
            </a:extLst>
          </p:cNvPr>
          <p:cNvSpPr>
            <a:spLocks noGrp="1"/>
          </p:cNvSpPr>
          <p:nvPr>
            <p:ph type="sldNum" sz="quarter" idx="11"/>
          </p:nvPr>
        </p:nvSpPr>
        <p:spPr/>
        <p:txBody>
          <a:bodyPr/>
          <a:lstStyle/>
          <a:p>
            <a:fld id="{7870704B-CE94-48CC-AF30-84932A1262A7}" type="slidenum">
              <a:rPr lang="lv-LV" smtClean="0">
                <a:solidFill>
                  <a:schemeClr val="bg1"/>
                </a:solidFill>
              </a:rPr>
              <a:pPr/>
              <a:t>11</a:t>
            </a:fld>
            <a:endParaRPr lang="lv-LV">
              <a:solidFill>
                <a:schemeClr val="bg1"/>
              </a:solidFill>
            </a:endParaRPr>
          </a:p>
        </p:txBody>
      </p:sp>
      <p:grpSp>
        <p:nvGrpSpPr>
          <p:cNvPr id="57" name="Group 56">
            <a:extLst>
              <a:ext uri="{FF2B5EF4-FFF2-40B4-BE49-F238E27FC236}">
                <a16:creationId xmlns:a16="http://schemas.microsoft.com/office/drawing/2014/main" id="{9F6F67FF-2EDF-5A97-61F2-6CC866CB9959}"/>
              </a:ext>
            </a:extLst>
          </p:cNvPr>
          <p:cNvGrpSpPr/>
          <p:nvPr/>
        </p:nvGrpSpPr>
        <p:grpSpPr>
          <a:xfrm>
            <a:off x="7902708" y="432000"/>
            <a:ext cx="3846380" cy="360000"/>
            <a:chOff x="7902708" y="432000"/>
            <a:chExt cx="3846380" cy="360000"/>
          </a:xfrm>
        </p:grpSpPr>
        <p:sp>
          <p:nvSpPr>
            <p:cNvPr id="7" name="TextBox 6">
              <a:extLst>
                <a:ext uri="{FF2B5EF4-FFF2-40B4-BE49-F238E27FC236}">
                  <a16:creationId xmlns:a16="http://schemas.microsoft.com/office/drawing/2014/main" id="{ABE8EE39-C466-6083-2B14-0237C935C96B}"/>
                </a:ext>
              </a:extLst>
            </p:cNvPr>
            <p:cNvSpPr txBox="1"/>
            <p:nvPr/>
          </p:nvSpPr>
          <p:spPr>
            <a:xfrm>
              <a:off x="7902708" y="432000"/>
              <a:ext cx="1055778" cy="360000"/>
            </a:xfrm>
            <a:prstGeom prst="rect">
              <a:avLst/>
            </a:prstGeom>
            <a:solidFill>
              <a:schemeClr val="accent3"/>
            </a:solidFill>
            <a:ln w="28575">
              <a:noFill/>
            </a:ln>
          </p:spPr>
          <p:txBody>
            <a:bodyPr wrap="square" lIns="72000" tIns="72000" rIns="72000" bIns="72000" rtlCol="0" anchor="ctr">
              <a:noAutofit/>
            </a:bodyPr>
            <a:lstStyle/>
            <a:p>
              <a:pPr algn="ctr">
                <a:lnSpc>
                  <a:spcPct val="100000"/>
                </a:lnSpc>
                <a:buSzPct val="100000"/>
              </a:pPr>
              <a:r>
                <a:rPr lang="lv-LV" sz="1100" b="1">
                  <a:solidFill>
                    <a:schemeClr val="bg1"/>
                  </a:solidFill>
                  <a:effectLst/>
                  <a:ea typeface="Calibri" panose="020F0502020204030204" pitchFamily="34" charset="0"/>
                  <a:cs typeface="Times New Roman" panose="02020603050405020304" pitchFamily="18" charset="0"/>
                </a:rPr>
                <a:t>Tūlītējie pasākumi</a:t>
              </a:r>
              <a:endParaRPr lang="lv-LV" sz="1100" b="1">
                <a:solidFill>
                  <a:schemeClr val="bg1"/>
                </a:solidFill>
              </a:endParaRPr>
            </a:p>
          </p:txBody>
        </p:sp>
        <p:sp>
          <p:nvSpPr>
            <p:cNvPr id="8" name="TextBox 7">
              <a:extLst>
                <a:ext uri="{FF2B5EF4-FFF2-40B4-BE49-F238E27FC236}">
                  <a16:creationId xmlns:a16="http://schemas.microsoft.com/office/drawing/2014/main" id="{D3075EA9-222C-FBAB-0F0E-D4775F00C87E}"/>
                </a:ext>
              </a:extLst>
            </p:cNvPr>
            <p:cNvSpPr txBox="1"/>
            <p:nvPr/>
          </p:nvSpPr>
          <p:spPr>
            <a:xfrm>
              <a:off x="9298009" y="432000"/>
              <a:ext cx="1055778" cy="360000"/>
            </a:xfrm>
            <a:prstGeom prst="rect">
              <a:avLst/>
            </a:prstGeom>
            <a:solidFill>
              <a:schemeClr val="accent6"/>
            </a:solidFill>
            <a:ln w="28575">
              <a:noFill/>
            </a:ln>
          </p:spPr>
          <p:txBody>
            <a:bodyPr wrap="square" lIns="72000" tIns="72000" rIns="72000" bIns="72000" rtlCol="0" anchor="ctr">
              <a:noAutofit/>
            </a:bodyPr>
            <a:lstStyle/>
            <a:p>
              <a:pPr algn="ctr">
                <a:lnSpc>
                  <a:spcPct val="100000"/>
                </a:lnSpc>
                <a:buSzPct val="100000"/>
              </a:pPr>
              <a:r>
                <a:rPr lang="lv-LV" sz="1100">
                  <a:solidFill>
                    <a:schemeClr val="accent3"/>
                  </a:solidFill>
                  <a:effectLst/>
                  <a:ea typeface="Calibri" panose="020F0502020204030204" pitchFamily="34" charset="0"/>
                  <a:cs typeface="Times New Roman" panose="02020603050405020304" pitchFamily="18" charset="0"/>
                </a:rPr>
                <a:t>Palīdzības izsaukšana</a:t>
              </a:r>
              <a:endParaRPr lang="lv-LV" sz="1100">
                <a:solidFill>
                  <a:schemeClr val="accent3"/>
                </a:solidFill>
              </a:endParaRPr>
            </a:p>
          </p:txBody>
        </p:sp>
        <p:sp>
          <p:nvSpPr>
            <p:cNvPr id="9" name="TextBox 8">
              <a:extLst>
                <a:ext uri="{FF2B5EF4-FFF2-40B4-BE49-F238E27FC236}">
                  <a16:creationId xmlns:a16="http://schemas.microsoft.com/office/drawing/2014/main" id="{08B6A8B7-7C80-74FA-BFD5-B86DDE664F74}"/>
                </a:ext>
              </a:extLst>
            </p:cNvPr>
            <p:cNvSpPr txBox="1"/>
            <p:nvPr/>
          </p:nvSpPr>
          <p:spPr>
            <a:xfrm>
              <a:off x="10693310" y="432000"/>
              <a:ext cx="1055778" cy="360000"/>
            </a:xfrm>
            <a:prstGeom prst="rect">
              <a:avLst/>
            </a:prstGeom>
            <a:solidFill>
              <a:schemeClr val="accent6"/>
            </a:solidFill>
            <a:ln w="28575">
              <a:noFill/>
            </a:ln>
          </p:spPr>
          <p:txBody>
            <a:bodyPr wrap="square" lIns="72000" tIns="72000" rIns="72000" bIns="72000" rtlCol="0" anchor="ctr">
              <a:noAutofit/>
            </a:bodyPr>
            <a:lstStyle/>
            <a:p>
              <a:pPr algn="ctr">
                <a:lnSpc>
                  <a:spcPct val="100000"/>
                </a:lnSpc>
                <a:buSzPct val="100000"/>
              </a:pPr>
              <a:r>
                <a:rPr lang="lv-LV" sz="1100">
                  <a:solidFill>
                    <a:schemeClr val="accent3"/>
                  </a:solidFill>
                  <a:effectLst/>
                  <a:ea typeface="Calibri" panose="020F0502020204030204" pitchFamily="34" charset="0"/>
                  <a:cs typeface="Times New Roman" panose="02020603050405020304" pitchFamily="18" charset="0"/>
                </a:rPr>
                <a:t>Cietušā </a:t>
              </a:r>
            </a:p>
            <a:p>
              <a:pPr algn="ctr">
                <a:lnSpc>
                  <a:spcPct val="100000"/>
                </a:lnSpc>
                <a:buSzPct val="100000"/>
              </a:pPr>
              <a:r>
                <a:rPr lang="lv-LV" sz="1100">
                  <a:solidFill>
                    <a:schemeClr val="accent3"/>
                  </a:solidFill>
                  <a:effectLst/>
                  <a:ea typeface="Calibri" panose="020F0502020204030204" pitchFamily="34" charset="0"/>
                  <a:cs typeface="Times New Roman" panose="02020603050405020304" pitchFamily="18" charset="0"/>
                </a:rPr>
                <a:t>aprūpe</a:t>
              </a:r>
              <a:endParaRPr lang="lv-LV" sz="1100">
                <a:solidFill>
                  <a:schemeClr val="accent3"/>
                </a:solidFill>
              </a:endParaRPr>
            </a:p>
          </p:txBody>
        </p:sp>
        <p:sp>
          <p:nvSpPr>
            <p:cNvPr id="10" name="Arrow: Right 9">
              <a:extLst>
                <a:ext uri="{FF2B5EF4-FFF2-40B4-BE49-F238E27FC236}">
                  <a16:creationId xmlns:a16="http://schemas.microsoft.com/office/drawing/2014/main" id="{B337C822-0ACB-7395-4E9F-FE78A0258C7B}"/>
                </a:ext>
              </a:extLst>
            </p:cNvPr>
            <p:cNvSpPr/>
            <p:nvPr/>
          </p:nvSpPr>
          <p:spPr>
            <a:xfrm>
              <a:off x="9029367" y="504000"/>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1" name="Arrow: Right 10">
              <a:extLst>
                <a:ext uri="{FF2B5EF4-FFF2-40B4-BE49-F238E27FC236}">
                  <a16:creationId xmlns:a16="http://schemas.microsoft.com/office/drawing/2014/main" id="{BEFB8D44-5692-BC7D-1631-1623E5005441}"/>
                </a:ext>
              </a:extLst>
            </p:cNvPr>
            <p:cNvSpPr/>
            <p:nvPr/>
          </p:nvSpPr>
          <p:spPr>
            <a:xfrm>
              <a:off x="10424668" y="504000"/>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34" name="TextBox 33">
            <a:extLst>
              <a:ext uri="{FF2B5EF4-FFF2-40B4-BE49-F238E27FC236}">
                <a16:creationId xmlns:a16="http://schemas.microsoft.com/office/drawing/2014/main" id="{48C56B3B-5C0E-89A6-1595-B0C15560EB71}"/>
              </a:ext>
            </a:extLst>
          </p:cNvPr>
          <p:cNvSpPr txBox="1"/>
          <p:nvPr/>
        </p:nvSpPr>
        <p:spPr>
          <a:xfrm>
            <a:off x="4327523" y="2872740"/>
            <a:ext cx="3529013" cy="3299460"/>
          </a:xfrm>
          <a:prstGeom prst="rect">
            <a:avLst/>
          </a:prstGeom>
          <a:solidFill>
            <a:schemeClr val="bg1">
              <a:alpha val="85000"/>
            </a:schemeClr>
          </a:solidFill>
        </p:spPr>
        <p:txBody>
          <a:bodyPr wrap="square" lIns="72000" tIns="72000" rIns="72000" bIns="72000">
            <a:noAutofit/>
          </a:bodyPr>
          <a:lstStyle/>
          <a:p>
            <a:pPr marL="285750" indent="-285750">
              <a:spcAft>
                <a:spcPts val="600"/>
              </a:spcAft>
              <a:buSzPct val="120000"/>
              <a:buBlip>
                <a:blip r:embed="rId7"/>
              </a:buBlip>
            </a:pPr>
            <a:r>
              <a:rPr lang="lv-LV" sz="1400"/>
              <a:t>Gāzes noslēgšana</a:t>
            </a:r>
          </a:p>
          <a:p>
            <a:pPr marL="285750" indent="-285750">
              <a:spcAft>
                <a:spcPts val="600"/>
              </a:spcAft>
              <a:buSzPct val="120000"/>
              <a:buBlip>
                <a:blip r:embed="rId7"/>
              </a:buBlip>
            </a:pPr>
            <a:r>
              <a:rPr lang="lv-LV" sz="1400"/>
              <a:t>Degoša apģērba nodzēšana</a:t>
            </a:r>
          </a:p>
          <a:p>
            <a:pPr marL="285750" indent="-285750">
              <a:spcAft>
                <a:spcPts val="600"/>
              </a:spcAft>
              <a:buSzPct val="120000"/>
              <a:buBlip>
                <a:blip r:embed="rId7"/>
              </a:buBlip>
            </a:pPr>
            <a:r>
              <a:rPr lang="lv-LV" sz="1400"/>
              <a:t>Elektrības atslēgšana</a:t>
            </a:r>
          </a:p>
          <a:p>
            <a:pPr marL="285750" indent="-285750">
              <a:spcAft>
                <a:spcPts val="600"/>
              </a:spcAft>
              <a:buSzPct val="120000"/>
              <a:buBlip>
                <a:blip r:embed="rId7"/>
              </a:buBlip>
            </a:pPr>
            <a:r>
              <a:rPr lang="lv-LV" sz="1400"/>
              <a:t>Brīdinājuma zīmju uzstādīšana</a:t>
            </a:r>
          </a:p>
          <a:p>
            <a:pPr marL="285750" indent="-285750">
              <a:spcAft>
                <a:spcPts val="600"/>
              </a:spcAft>
              <a:buSzPct val="120000"/>
              <a:buBlip>
                <a:blip r:embed="rId7"/>
              </a:buBlip>
            </a:pPr>
            <a:r>
              <a:rPr lang="lv-LV" sz="1400"/>
              <a:t>U.c.</a:t>
            </a:r>
          </a:p>
        </p:txBody>
      </p:sp>
      <p:sp>
        <p:nvSpPr>
          <p:cNvPr id="35" name="Content Placeholder 1">
            <a:extLst>
              <a:ext uri="{FF2B5EF4-FFF2-40B4-BE49-F238E27FC236}">
                <a16:creationId xmlns:a16="http://schemas.microsoft.com/office/drawing/2014/main" id="{B766C826-6D08-3C51-A63F-286C166B5215}"/>
              </a:ext>
            </a:extLst>
          </p:cNvPr>
          <p:cNvSpPr txBox="1">
            <a:spLocks/>
          </p:cNvSpPr>
          <p:nvPr/>
        </p:nvSpPr>
        <p:spPr>
          <a:xfrm>
            <a:off x="4327525" y="2175439"/>
            <a:ext cx="3529012"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bg1"/>
                </a:solidFill>
              </a:rPr>
              <a:t>Ārēju briesmu novēršana</a:t>
            </a:r>
          </a:p>
        </p:txBody>
      </p:sp>
      <p:sp>
        <p:nvSpPr>
          <p:cNvPr id="38" name="TextBox 37">
            <a:extLst>
              <a:ext uri="{FF2B5EF4-FFF2-40B4-BE49-F238E27FC236}">
                <a16:creationId xmlns:a16="http://schemas.microsoft.com/office/drawing/2014/main" id="{ADCF57E4-22C5-26F3-DA4D-7482BC480F36}"/>
              </a:ext>
            </a:extLst>
          </p:cNvPr>
          <p:cNvSpPr txBox="1"/>
          <p:nvPr/>
        </p:nvSpPr>
        <p:spPr>
          <a:xfrm>
            <a:off x="8220076" y="2872740"/>
            <a:ext cx="3529013" cy="3299460"/>
          </a:xfrm>
          <a:prstGeom prst="rect">
            <a:avLst/>
          </a:prstGeom>
          <a:solidFill>
            <a:schemeClr val="bg1">
              <a:alpha val="85000"/>
            </a:schemeClr>
          </a:solidFill>
        </p:spPr>
        <p:txBody>
          <a:bodyPr wrap="square" lIns="72000" tIns="72000" rIns="72000" bIns="72000">
            <a:noAutofit/>
          </a:bodyPr>
          <a:lstStyle/>
          <a:p>
            <a:pPr marL="285750" indent="-285750">
              <a:spcAft>
                <a:spcPts val="600"/>
              </a:spcAft>
              <a:buSzPct val="120000"/>
              <a:buBlip>
                <a:blip r:embed="rId7"/>
              </a:buBlip>
            </a:pPr>
            <a:r>
              <a:rPr lang="lv-LV" sz="1400"/>
              <a:t>Asiņošanas apturēšana</a:t>
            </a:r>
          </a:p>
          <a:p>
            <a:pPr marL="285750" indent="-285750">
              <a:spcAft>
                <a:spcPts val="600"/>
              </a:spcAft>
              <a:buSzPct val="120000"/>
              <a:buBlip>
                <a:blip r:embed="rId7"/>
              </a:buBlip>
            </a:pPr>
            <a:r>
              <a:rPr lang="lv-LV" sz="1400"/>
              <a:t>Sirds masāža</a:t>
            </a:r>
          </a:p>
          <a:p>
            <a:pPr marL="285750" indent="-285750">
              <a:spcAft>
                <a:spcPts val="600"/>
              </a:spcAft>
              <a:buSzPct val="120000"/>
              <a:buBlip>
                <a:blip r:embed="rId7"/>
              </a:buBlip>
            </a:pPr>
            <a:r>
              <a:rPr lang="lv-LV" sz="1400"/>
              <a:t>Elpināšana</a:t>
            </a:r>
          </a:p>
        </p:txBody>
      </p:sp>
      <p:sp>
        <p:nvSpPr>
          <p:cNvPr id="39" name="Content Placeholder 1">
            <a:extLst>
              <a:ext uri="{FF2B5EF4-FFF2-40B4-BE49-F238E27FC236}">
                <a16:creationId xmlns:a16="http://schemas.microsoft.com/office/drawing/2014/main" id="{3B3A753D-2643-22D3-98E8-407917D7B655}"/>
              </a:ext>
            </a:extLst>
          </p:cNvPr>
          <p:cNvSpPr txBox="1">
            <a:spLocks/>
          </p:cNvSpPr>
          <p:nvPr/>
        </p:nvSpPr>
        <p:spPr>
          <a:xfrm>
            <a:off x="8220078" y="2175439"/>
            <a:ext cx="3529012"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bg1"/>
                </a:solidFill>
              </a:rPr>
              <a:t>Cietušā dzīvības glābšanas pasākumi </a:t>
            </a:r>
          </a:p>
        </p:txBody>
      </p:sp>
      <p:sp>
        <p:nvSpPr>
          <p:cNvPr id="42" name="Content Placeholder 1">
            <a:extLst>
              <a:ext uri="{FF2B5EF4-FFF2-40B4-BE49-F238E27FC236}">
                <a16:creationId xmlns:a16="http://schemas.microsoft.com/office/drawing/2014/main" id="{68F2028E-9AD9-74A4-45F4-1624B4155640}"/>
              </a:ext>
            </a:extLst>
          </p:cNvPr>
          <p:cNvSpPr txBox="1">
            <a:spLocks/>
          </p:cNvSpPr>
          <p:nvPr/>
        </p:nvSpPr>
        <p:spPr>
          <a:xfrm>
            <a:off x="442914" y="2103438"/>
            <a:ext cx="3529012" cy="72000"/>
          </a:xfrm>
          <a:prstGeom prst="rect">
            <a:avLst/>
          </a:prstGeom>
          <a:solidFill>
            <a:schemeClr val="accent6"/>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43" name="Content Placeholder 1">
            <a:extLst>
              <a:ext uri="{FF2B5EF4-FFF2-40B4-BE49-F238E27FC236}">
                <a16:creationId xmlns:a16="http://schemas.microsoft.com/office/drawing/2014/main" id="{2B9AE07F-5163-AD73-9B73-F4ADAAB4CB84}"/>
              </a:ext>
            </a:extLst>
          </p:cNvPr>
          <p:cNvSpPr txBox="1">
            <a:spLocks/>
          </p:cNvSpPr>
          <p:nvPr/>
        </p:nvSpPr>
        <p:spPr>
          <a:xfrm>
            <a:off x="4327525" y="2103438"/>
            <a:ext cx="3529012" cy="72000"/>
          </a:xfrm>
          <a:prstGeom prst="rect">
            <a:avLst/>
          </a:prstGeom>
          <a:solidFill>
            <a:schemeClr val="accent6"/>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44" name="Content Placeholder 1">
            <a:extLst>
              <a:ext uri="{FF2B5EF4-FFF2-40B4-BE49-F238E27FC236}">
                <a16:creationId xmlns:a16="http://schemas.microsoft.com/office/drawing/2014/main" id="{9EC2ECCE-24AA-0CA5-D23D-11487EDED9A5}"/>
              </a:ext>
            </a:extLst>
          </p:cNvPr>
          <p:cNvSpPr txBox="1">
            <a:spLocks/>
          </p:cNvSpPr>
          <p:nvPr/>
        </p:nvSpPr>
        <p:spPr>
          <a:xfrm>
            <a:off x="8220078" y="2103438"/>
            <a:ext cx="3529012" cy="72000"/>
          </a:xfrm>
          <a:prstGeom prst="rect">
            <a:avLst/>
          </a:prstGeom>
          <a:solidFill>
            <a:schemeClr val="accent6"/>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grpSp>
        <p:nvGrpSpPr>
          <p:cNvPr id="47" name="Google Shape;1692;p92">
            <a:extLst>
              <a:ext uri="{FF2B5EF4-FFF2-40B4-BE49-F238E27FC236}">
                <a16:creationId xmlns:a16="http://schemas.microsoft.com/office/drawing/2014/main" id="{C171BA25-5382-4AC1-434C-CF8A04131F54}"/>
              </a:ext>
            </a:extLst>
          </p:cNvPr>
          <p:cNvGrpSpPr/>
          <p:nvPr/>
        </p:nvGrpSpPr>
        <p:grpSpPr>
          <a:xfrm>
            <a:off x="3326974" y="5521066"/>
            <a:ext cx="457200" cy="457200"/>
            <a:chOff x="8448646" y="4634724"/>
            <a:chExt cx="457200" cy="457200"/>
          </a:xfrm>
        </p:grpSpPr>
        <p:sp>
          <p:nvSpPr>
            <p:cNvPr id="48" name="Google Shape;1693;p92">
              <a:extLst>
                <a:ext uri="{FF2B5EF4-FFF2-40B4-BE49-F238E27FC236}">
                  <a16:creationId xmlns:a16="http://schemas.microsoft.com/office/drawing/2014/main" id="{F2E39767-EDB9-484C-0B35-744F3795A6CD}"/>
                </a:ext>
              </a:extLst>
            </p:cNvPr>
            <p:cNvSpPr/>
            <p:nvPr/>
          </p:nvSpPr>
          <p:spPr>
            <a:xfrm>
              <a:off x="8448646" y="4634724"/>
              <a:ext cx="457200" cy="457200"/>
            </a:xfrm>
            <a:custGeom>
              <a:avLst/>
              <a:gdLst/>
              <a:ahLst/>
              <a:cxnLst/>
              <a:rect l="l" t="t" r="r" b="b"/>
              <a:pathLst>
                <a:path w="457200" h="457200" extrusionOk="0">
                  <a:moveTo>
                    <a:pt x="0" y="0"/>
                  </a:moveTo>
                  <a:lnTo>
                    <a:pt x="0" y="457200"/>
                  </a:lnTo>
                  <a:lnTo>
                    <a:pt x="457200" y="457200"/>
                  </a:lnTo>
                  <a:lnTo>
                    <a:pt x="457200" y="0"/>
                  </a:lnTo>
                  <a:close/>
                  <a:moveTo>
                    <a:pt x="437674" y="437674"/>
                  </a:moveTo>
                  <a:lnTo>
                    <a:pt x="19526" y="437674"/>
                  </a:lnTo>
                  <a:lnTo>
                    <a:pt x="19526" y="19526"/>
                  </a:lnTo>
                  <a:lnTo>
                    <a:pt x="437674" y="19526"/>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b="1">
                <a:solidFill>
                  <a:schemeClr val="dk1"/>
                </a:solidFill>
                <a:latin typeface="Arial"/>
                <a:ea typeface="Arial"/>
                <a:cs typeface="Arial"/>
                <a:sym typeface="Arial"/>
              </a:endParaRPr>
            </a:p>
          </p:txBody>
        </p:sp>
        <p:sp>
          <p:nvSpPr>
            <p:cNvPr id="49" name="Google Shape;1694;p92">
              <a:extLst>
                <a:ext uri="{FF2B5EF4-FFF2-40B4-BE49-F238E27FC236}">
                  <a16:creationId xmlns:a16="http://schemas.microsoft.com/office/drawing/2014/main" id="{572A06AC-8F3F-01E9-3219-527A4685D974}"/>
                </a:ext>
              </a:extLst>
            </p:cNvPr>
            <p:cNvSpPr/>
            <p:nvPr/>
          </p:nvSpPr>
          <p:spPr>
            <a:xfrm>
              <a:off x="8624636" y="4755691"/>
              <a:ext cx="108204" cy="144684"/>
            </a:xfrm>
            <a:custGeom>
              <a:avLst/>
              <a:gdLst/>
              <a:ahLst/>
              <a:cxnLst/>
              <a:rect l="l" t="t" r="r" b="b"/>
              <a:pathLst>
                <a:path w="108204" h="144684" extrusionOk="0">
                  <a:moveTo>
                    <a:pt x="55308" y="144685"/>
                  </a:moveTo>
                  <a:cubicBezTo>
                    <a:pt x="71882" y="144685"/>
                    <a:pt x="81344" y="135160"/>
                    <a:pt x="91631" y="125635"/>
                  </a:cubicBezTo>
                  <a:cubicBezTo>
                    <a:pt x="103410" y="113983"/>
                    <a:pt x="108204" y="90138"/>
                    <a:pt x="108204" y="59309"/>
                  </a:cubicBezTo>
                  <a:cubicBezTo>
                    <a:pt x="108204" y="26067"/>
                    <a:pt x="83725" y="0"/>
                    <a:pt x="55308" y="0"/>
                  </a:cubicBezTo>
                  <a:cubicBezTo>
                    <a:pt x="23558" y="0"/>
                    <a:pt x="0" y="26067"/>
                    <a:pt x="0" y="59309"/>
                  </a:cubicBezTo>
                  <a:cubicBezTo>
                    <a:pt x="0" y="90138"/>
                    <a:pt x="7112" y="113856"/>
                    <a:pt x="19050" y="125730"/>
                  </a:cubicBezTo>
                  <a:cubicBezTo>
                    <a:pt x="28448" y="137573"/>
                    <a:pt x="38703" y="144685"/>
                    <a:pt x="55308" y="144685"/>
                  </a:cubicBezTo>
                  <a:close/>
                  <a:moveTo>
                    <a:pt x="55308" y="18955"/>
                  </a:moveTo>
                  <a:cubicBezTo>
                    <a:pt x="74358" y="18955"/>
                    <a:pt x="89249" y="35560"/>
                    <a:pt x="89249" y="59309"/>
                  </a:cubicBezTo>
                  <a:cubicBezTo>
                    <a:pt x="89249" y="83058"/>
                    <a:pt x="83725" y="104458"/>
                    <a:pt x="76613" y="113983"/>
                  </a:cubicBezTo>
                  <a:cubicBezTo>
                    <a:pt x="67088" y="123508"/>
                    <a:pt x="62389" y="128207"/>
                    <a:pt x="55308" y="128207"/>
                  </a:cubicBezTo>
                  <a:cubicBezTo>
                    <a:pt x="48228" y="128207"/>
                    <a:pt x="43434" y="123508"/>
                    <a:pt x="33179" y="113983"/>
                  </a:cubicBezTo>
                  <a:cubicBezTo>
                    <a:pt x="23654" y="104458"/>
                    <a:pt x="18955" y="85408"/>
                    <a:pt x="18955" y="59436"/>
                  </a:cubicBezTo>
                  <a:cubicBezTo>
                    <a:pt x="18955" y="35560"/>
                    <a:pt x="35560" y="18955"/>
                    <a:pt x="55308" y="1895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b="1">
                <a:solidFill>
                  <a:schemeClr val="dk1"/>
                </a:solidFill>
                <a:latin typeface="Arial"/>
                <a:ea typeface="Arial"/>
                <a:cs typeface="Arial"/>
                <a:sym typeface="Arial"/>
              </a:endParaRPr>
            </a:p>
          </p:txBody>
        </p:sp>
        <p:sp>
          <p:nvSpPr>
            <p:cNvPr id="50" name="Google Shape;1695;p92">
              <a:extLst>
                <a:ext uri="{FF2B5EF4-FFF2-40B4-BE49-F238E27FC236}">
                  <a16:creationId xmlns:a16="http://schemas.microsoft.com/office/drawing/2014/main" id="{1F82D50F-0C5B-CC51-D43A-64D75E4976AB}"/>
                </a:ext>
              </a:extLst>
            </p:cNvPr>
            <p:cNvSpPr/>
            <p:nvPr/>
          </p:nvSpPr>
          <p:spPr>
            <a:xfrm>
              <a:off x="8510939" y="4696350"/>
              <a:ext cx="332581" cy="340169"/>
            </a:xfrm>
            <a:custGeom>
              <a:avLst/>
              <a:gdLst/>
              <a:ahLst/>
              <a:cxnLst/>
              <a:rect l="l" t="t" r="r" b="b"/>
              <a:pathLst>
                <a:path w="332581" h="340169" extrusionOk="0">
                  <a:moveTo>
                    <a:pt x="29527" y="263843"/>
                  </a:moveTo>
                  <a:cubicBezTo>
                    <a:pt x="33947" y="269304"/>
                    <a:pt x="38708" y="274479"/>
                    <a:pt x="43783" y="279337"/>
                  </a:cubicBezTo>
                  <a:cubicBezTo>
                    <a:pt x="68358" y="302959"/>
                    <a:pt x="106648" y="326136"/>
                    <a:pt x="166275" y="340170"/>
                  </a:cubicBezTo>
                  <a:lnTo>
                    <a:pt x="166275" y="340170"/>
                  </a:lnTo>
                  <a:cubicBezTo>
                    <a:pt x="224504" y="326454"/>
                    <a:pt x="262382" y="304038"/>
                    <a:pt x="286925" y="280988"/>
                  </a:cubicBezTo>
                  <a:cubicBezTo>
                    <a:pt x="292776" y="275542"/>
                    <a:pt x="298228" y="269685"/>
                    <a:pt x="303244" y="263462"/>
                  </a:cubicBezTo>
                  <a:cubicBezTo>
                    <a:pt x="329914" y="230283"/>
                    <a:pt x="332423" y="200184"/>
                    <a:pt x="332581" y="197898"/>
                  </a:cubicBezTo>
                  <a:lnTo>
                    <a:pt x="332581" y="80677"/>
                  </a:lnTo>
                  <a:lnTo>
                    <a:pt x="323850" y="79756"/>
                  </a:lnTo>
                  <a:cubicBezTo>
                    <a:pt x="255207" y="72485"/>
                    <a:pt x="249238" y="11557"/>
                    <a:pt x="249015" y="8985"/>
                  </a:cubicBezTo>
                  <a:lnTo>
                    <a:pt x="248317" y="0"/>
                  </a:lnTo>
                  <a:lnTo>
                    <a:pt x="84328" y="0"/>
                  </a:lnTo>
                  <a:lnTo>
                    <a:pt x="83757" y="8953"/>
                  </a:lnTo>
                  <a:cubicBezTo>
                    <a:pt x="83534" y="11557"/>
                    <a:pt x="77661" y="72454"/>
                    <a:pt x="8763" y="79756"/>
                  </a:cubicBezTo>
                  <a:lnTo>
                    <a:pt x="0" y="80677"/>
                  </a:lnTo>
                  <a:lnTo>
                    <a:pt x="0" y="197898"/>
                  </a:lnTo>
                  <a:cubicBezTo>
                    <a:pt x="32" y="200184"/>
                    <a:pt x="2572" y="230473"/>
                    <a:pt x="29527" y="263843"/>
                  </a:cubicBezTo>
                  <a:close/>
                  <a:moveTo>
                    <a:pt x="166307" y="320104"/>
                  </a:moveTo>
                  <a:cubicBezTo>
                    <a:pt x="108744" y="305816"/>
                    <a:pt x="73724" y="282702"/>
                    <a:pt x="52387" y="260318"/>
                  </a:cubicBezTo>
                  <a:cubicBezTo>
                    <a:pt x="58255" y="252980"/>
                    <a:pt x="66099" y="247472"/>
                    <a:pt x="74994" y="244443"/>
                  </a:cubicBezTo>
                  <a:lnTo>
                    <a:pt x="131858" y="225393"/>
                  </a:lnTo>
                  <a:lnTo>
                    <a:pt x="134239" y="225393"/>
                  </a:lnTo>
                  <a:lnTo>
                    <a:pt x="138970" y="230124"/>
                  </a:lnTo>
                  <a:cubicBezTo>
                    <a:pt x="146470" y="237823"/>
                    <a:pt x="156797" y="242114"/>
                    <a:pt x="167545" y="241998"/>
                  </a:cubicBezTo>
                  <a:cubicBezTo>
                    <a:pt x="177448" y="241582"/>
                    <a:pt x="186798" y="237322"/>
                    <a:pt x="193612" y="230124"/>
                  </a:cubicBezTo>
                  <a:lnTo>
                    <a:pt x="198342" y="225393"/>
                  </a:lnTo>
                  <a:lnTo>
                    <a:pt x="257588" y="244443"/>
                  </a:lnTo>
                  <a:cubicBezTo>
                    <a:pt x="266456" y="247419"/>
                    <a:pt x="274253" y="252940"/>
                    <a:pt x="280003" y="260318"/>
                  </a:cubicBezTo>
                  <a:cubicBezTo>
                    <a:pt x="258382" y="282702"/>
                    <a:pt x="223457" y="305880"/>
                    <a:pt x="166307" y="320104"/>
                  </a:cubicBezTo>
                  <a:close/>
                  <a:moveTo>
                    <a:pt x="19399" y="97854"/>
                  </a:moveTo>
                  <a:cubicBezTo>
                    <a:pt x="80105" y="87598"/>
                    <a:pt x="97060" y="39688"/>
                    <a:pt x="101536" y="19526"/>
                  </a:cubicBezTo>
                  <a:lnTo>
                    <a:pt x="231077" y="19526"/>
                  </a:lnTo>
                  <a:cubicBezTo>
                    <a:pt x="235553" y="39688"/>
                    <a:pt x="252508" y="87535"/>
                    <a:pt x="313214" y="97981"/>
                  </a:cubicBezTo>
                  <a:lnTo>
                    <a:pt x="313214" y="196850"/>
                  </a:lnTo>
                  <a:cubicBezTo>
                    <a:pt x="312992" y="199327"/>
                    <a:pt x="310420" y="220250"/>
                    <a:pt x="292513" y="245046"/>
                  </a:cubicBezTo>
                  <a:cubicBezTo>
                    <a:pt x="285023" y="236297"/>
                    <a:pt x="275476" y="229543"/>
                    <a:pt x="264732" y="225393"/>
                  </a:cubicBezTo>
                  <a:lnTo>
                    <a:pt x="205486" y="206343"/>
                  </a:lnTo>
                  <a:cubicBezTo>
                    <a:pt x="198374" y="203962"/>
                    <a:pt x="191262" y="206343"/>
                    <a:pt x="184150" y="211106"/>
                  </a:cubicBezTo>
                  <a:lnTo>
                    <a:pt x="181800" y="215837"/>
                  </a:lnTo>
                  <a:cubicBezTo>
                    <a:pt x="178202" y="220015"/>
                    <a:pt x="173078" y="222577"/>
                    <a:pt x="167577" y="222948"/>
                  </a:cubicBezTo>
                  <a:cubicBezTo>
                    <a:pt x="161269" y="223114"/>
                    <a:pt x="155204" y="220516"/>
                    <a:pt x="150971" y="215837"/>
                  </a:cubicBezTo>
                  <a:lnTo>
                    <a:pt x="148622" y="211106"/>
                  </a:lnTo>
                  <a:cubicBezTo>
                    <a:pt x="141510" y="206343"/>
                    <a:pt x="134398" y="203962"/>
                    <a:pt x="127286" y="206343"/>
                  </a:cubicBezTo>
                  <a:cubicBezTo>
                    <a:pt x="103442" y="213519"/>
                    <a:pt x="84487" y="220631"/>
                    <a:pt x="84487" y="220631"/>
                  </a:cubicBezTo>
                  <a:lnTo>
                    <a:pt x="67882" y="225393"/>
                  </a:lnTo>
                  <a:cubicBezTo>
                    <a:pt x="56988" y="229519"/>
                    <a:pt x="47366" y="236426"/>
                    <a:pt x="39973" y="245428"/>
                  </a:cubicBezTo>
                  <a:cubicBezTo>
                    <a:pt x="22161" y="220758"/>
                    <a:pt x="19653" y="199866"/>
                    <a:pt x="19399" y="19685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b="1">
                <a:solidFill>
                  <a:schemeClr val="dk1"/>
                </a:solidFill>
                <a:latin typeface="Arial"/>
                <a:ea typeface="Arial"/>
                <a:cs typeface="Arial"/>
                <a:sym typeface="Arial"/>
              </a:endParaRPr>
            </a:p>
          </p:txBody>
        </p:sp>
      </p:grpSp>
      <p:sp>
        <p:nvSpPr>
          <p:cNvPr id="51" name="Google Shape;1501;p91">
            <a:extLst>
              <a:ext uri="{FF2B5EF4-FFF2-40B4-BE49-F238E27FC236}">
                <a16:creationId xmlns:a16="http://schemas.microsoft.com/office/drawing/2014/main" id="{2398A36F-FA9A-0524-9E8D-120752F63E34}"/>
              </a:ext>
            </a:extLst>
          </p:cNvPr>
          <p:cNvSpPr/>
          <p:nvPr/>
        </p:nvSpPr>
        <p:spPr>
          <a:xfrm>
            <a:off x="7208697" y="5521066"/>
            <a:ext cx="457200" cy="455929"/>
          </a:xfrm>
          <a:custGeom>
            <a:avLst/>
            <a:gdLst/>
            <a:ahLst/>
            <a:cxnLst/>
            <a:rect l="l" t="t" r="r" b="b"/>
            <a:pathLst>
              <a:path w="456085" h="455929" extrusionOk="0">
                <a:moveTo>
                  <a:pt x="0" y="0"/>
                </a:moveTo>
                <a:lnTo>
                  <a:pt x="0" y="455930"/>
                </a:lnTo>
                <a:lnTo>
                  <a:pt x="456086" y="455930"/>
                </a:lnTo>
                <a:lnTo>
                  <a:pt x="456086" y="0"/>
                </a:lnTo>
                <a:close/>
                <a:moveTo>
                  <a:pt x="436639" y="19472"/>
                </a:moveTo>
                <a:lnTo>
                  <a:pt x="436639" y="214762"/>
                </a:lnTo>
                <a:cubicBezTo>
                  <a:pt x="419662" y="194277"/>
                  <a:pt x="400849" y="175400"/>
                  <a:pt x="380388" y="158372"/>
                </a:cubicBezTo>
                <a:cubicBezTo>
                  <a:pt x="329712" y="116230"/>
                  <a:pt x="277009" y="93972"/>
                  <a:pt x="228043" y="93972"/>
                </a:cubicBezTo>
                <a:cubicBezTo>
                  <a:pt x="179077" y="93972"/>
                  <a:pt x="126374" y="116135"/>
                  <a:pt x="75698" y="158372"/>
                </a:cubicBezTo>
                <a:cubicBezTo>
                  <a:pt x="55237" y="175391"/>
                  <a:pt x="36424" y="194267"/>
                  <a:pt x="19447" y="214762"/>
                </a:cubicBezTo>
                <a:lnTo>
                  <a:pt x="19447" y="19472"/>
                </a:lnTo>
                <a:close/>
                <a:moveTo>
                  <a:pt x="422291" y="227965"/>
                </a:moveTo>
                <a:cubicBezTo>
                  <a:pt x="402527" y="252028"/>
                  <a:pt x="322015" y="342517"/>
                  <a:pt x="228043" y="342517"/>
                </a:cubicBezTo>
                <a:cubicBezTo>
                  <a:pt x="134070" y="342517"/>
                  <a:pt x="53527" y="252028"/>
                  <a:pt x="33794" y="227965"/>
                </a:cubicBezTo>
                <a:cubicBezTo>
                  <a:pt x="53495" y="203902"/>
                  <a:pt x="133912" y="113413"/>
                  <a:pt x="228043" y="113413"/>
                </a:cubicBezTo>
                <a:cubicBezTo>
                  <a:pt x="322174" y="113413"/>
                  <a:pt x="402527" y="203902"/>
                  <a:pt x="422291" y="227965"/>
                </a:cubicBezTo>
                <a:close/>
                <a:moveTo>
                  <a:pt x="19447" y="436490"/>
                </a:moveTo>
                <a:lnTo>
                  <a:pt x="19447" y="241200"/>
                </a:lnTo>
                <a:cubicBezTo>
                  <a:pt x="36424" y="261694"/>
                  <a:pt x="55237" y="280571"/>
                  <a:pt x="75698" y="297589"/>
                </a:cubicBezTo>
                <a:cubicBezTo>
                  <a:pt x="126374" y="339699"/>
                  <a:pt x="179077" y="361989"/>
                  <a:pt x="228043" y="361989"/>
                </a:cubicBezTo>
                <a:cubicBezTo>
                  <a:pt x="277009" y="361989"/>
                  <a:pt x="329680" y="339826"/>
                  <a:pt x="380388" y="297589"/>
                </a:cubicBezTo>
                <a:cubicBezTo>
                  <a:pt x="400849" y="280562"/>
                  <a:pt x="419662" y="261685"/>
                  <a:pt x="436639" y="241200"/>
                </a:cubicBezTo>
                <a:lnTo>
                  <a:pt x="436639" y="436490"/>
                </a:lnTo>
                <a:close/>
                <a:moveTo>
                  <a:pt x="228043" y="126774"/>
                </a:moveTo>
                <a:cubicBezTo>
                  <a:pt x="172077" y="126774"/>
                  <a:pt x="126690" y="172136"/>
                  <a:pt x="126690" y="228092"/>
                </a:cubicBezTo>
                <a:cubicBezTo>
                  <a:pt x="126690" y="284047"/>
                  <a:pt x="172077" y="329409"/>
                  <a:pt x="228043" y="329409"/>
                </a:cubicBezTo>
                <a:cubicBezTo>
                  <a:pt x="284008" y="329409"/>
                  <a:pt x="329395" y="284047"/>
                  <a:pt x="329395" y="228092"/>
                </a:cubicBezTo>
                <a:cubicBezTo>
                  <a:pt x="329395" y="172136"/>
                  <a:pt x="284008" y="126774"/>
                  <a:pt x="228043" y="126774"/>
                </a:cubicBezTo>
                <a:close/>
                <a:moveTo>
                  <a:pt x="159947" y="170752"/>
                </a:moveTo>
                <a:cubicBezTo>
                  <a:pt x="167960" y="161229"/>
                  <a:pt x="177873" y="153504"/>
                  <a:pt x="189085" y="148082"/>
                </a:cubicBezTo>
                <a:lnTo>
                  <a:pt x="190036" y="147607"/>
                </a:lnTo>
                <a:lnTo>
                  <a:pt x="189370" y="148430"/>
                </a:lnTo>
                <a:cubicBezTo>
                  <a:pt x="184018" y="155340"/>
                  <a:pt x="179615" y="162932"/>
                  <a:pt x="176258" y="171005"/>
                </a:cubicBezTo>
                <a:lnTo>
                  <a:pt x="176258" y="171005"/>
                </a:lnTo>
                <a:lnTo>
                  <a:pt x="159661" y="171005"/>
                </a:lnTo>
                <a:close/>
                <a:moveTo>
                  <a:pt x="139328" y="221633"/>
                </a:moveTo>
                <a:cubicBezTo>
                  <a:pt x="140278" y="208240"/>
                  <a:pt x="144300" y="195246"/>
                  <a:pt x="151047" y="183638"/>
                </a:cubicBezTo>
                <a:lnTo>
                  <a:pt x="151047" y="183638"/>
                </a:lnTo>
                <a:lnTo>
                  <a:pt x="171729" y="183638"/>
                </a:lnTo>
                <a:lnTo>
                  <a:pt x="171729" y="183955"/>
                </a:lnTo>
                <a:cubicBezTo>
                  <a:pt x="168023" y="196300"/>
                  <a:pt x="165901" y="209066"/>
                  <a:pt x="165394" y="221949"/>
                </a:cubicBezTo>
                <a:lnTo>
                  <a:pt x="165394" y="222202"/>
                </a:lnTo>
                <a:lnTo>
                  <a:pt x="139138" y="222202"/>
                </a:lnTo>
                <a:close/>
                <a:moveTo>
                  <a:pt x="151110" y="272608"/>
                </a:moveTo>
                <a:lnTo>
                  <a:pt x="151110" y="272608"/>
                </a:lnTo>
                <a:cubicBezTo>
                  <a:pt x="144364" y="261001"/>
                  <a:pt x="140341" y="248007"/>
                  <a:pt x="139391" y="234614"/>
                </a:cubicBezTo>
                <a:lnTo>
                  <a:pt x="139391" y="234361"/>
                </a:lnTo>
                <a:lnTo>
                  <a:pt x="165648" y="234361"/>
                </a:lnTo>
                <a:lnTo>
                  <a:pt x="165648" y="234582"/>
                </a:lnTo>
                <a:cubicBezTo>
                  <a:pt x="166123" y="247465"/>
                  <a:pt x="168245" y="260235"/>
                  <a:pt x="171982" y="272576"/>
                </a:cubicBezTo>
                <a:lnTo>
                  <a:pt x="171982" y="272893"/>
                </a:lnTo>
                <a:close/>
                <a:moveTo>
                  <a:pt x="189117" y="307879"/>
                </a:moveTo>
                <a:cubicBezTo>
                  <a:pt x="177937" y="302437"/>
                  <a:pt x="167991" y="294702"/>
                  <a:pt x="159978" y="285178"/>
                </a:cubicBezTo>
                <a:lnTo>
                  <a:pt x="159630" y="284798"/>
                </a:lnTo>
                <a:lnTo>
                  <a:pt x="176227" y="284798"/>
                </a:lnTo>
                <a:lnTo>
                  <a:pt x="176227" y="284956"/>
                </a:lnTo>
                <a:cubicBezTo>
                  <a:pt x="179584" y="293027"/>
                  <a:pt x="183986" y="300616"/>
                  <a:pt x="189339" y="307531"/>
                </a:cubicBezTo>
                <a:lnTo>
                  <a:pt x="190004" y="308354"/>
                </a:lnTo>
                <a:close/>
                <a:moveTo>
                  <a:pt x="221962" y="316206"/>
                </a:moveTo>
                <a:lnTo>
                  <a:pt x="221677" y="316206"/>
                </a:lnTo>
                <a:cubicBezTo>
                  <a:pt x="209356" y="313325"/>
                  <a:pt x="198017" y="302307"/>
                  <a:pt x="189750" y="285209"/>
                </a:cubicBezTo>
                <a:lnTo>
                  <a:pt x="189750" y="284861"/>
                </a:lnTo>
                <a:lnTo>
                  <a:pt x="222120" y="284861"/>
                </a:lnTo>
                <a:close/>
                <a:moveTo>
                  <a:pt x="221962" y="272608"/>
                </a:moveTo>
                <a:lnTo>
                  <a:pt x="184683" y="272608"/>
                </a:lnTo>
                <a:lnTo>
                  <a:pt x="184683" y="272418"/>
                </a:lnTo>
                <a:cubicBezTo>
                  <a:pt x="180597" y="260140"/>
                  <a:pt x="178285" y="247348"/>
                  <a:pt x="177810" y="234424"/>
                </a:cubicBezTo>
                <a:lnTo>
                  <a:pt x="177810" y="234171"/>
                </a:lnTo>
                <a:lnTo>
                  <a:pt x="221993" y="234171"/>
                </a:lnTo>
                <a:close/>
                <a:moveTo>
                  <a:pt x="221962" y="221949"/>
                </a:moveTo>
                <a:lnTo>
                  <a:pt x="177747" y="221949"/>
                </a:lnTo>
                <a:lnTo>
                  <a:pt x="177747" y="221696"/>
                </a:lnTo>
                <a:cubicBezTo>
                  <a:pt x="178254" y="208772"/>
                  <a:pt x="180566" y="195980"/>
                  <a:pt x="184619" y="183702"/>
                </a:cubicBezTo>
                <a:lnTo>
                  <a:pt x="184619" y="183702"/>
                </a:lnTo>
                <a:lnTo>
                  <a:pt x="221898" y="183702"/>
                </a:lnTo>
                <a:close/>
                <a:moveTo>
                  <a:pt x="221962" y="171290"/>
                </a:moveTo>
                <a:lnTo>
                  <a:pt x="189592" y="171290"/>
                </a:lnTo>
                <a:lnTo>
                  <a:pt x="189592" y="170942"/>
                </a:lnTo>
                <a:cubicBezTo>
                  <a:pt x="197859" y="153845"/>
                  <a:pt x="209197" y="142826"/>
                  <a:pt x="221518" y="139945"/>
                </a:cubicBezTo>
                <a:lnTo>
                  <a:pt x="221803" y="139945"/>
                </a:lnTo>
                <a:close/>
                <a:moveTo>
                  <a:pt x="267032" y="148209"/>
                </a:moveTo>
                <a:cubicBezTo>
                  <a:pt x="278244" y="153631"/>
                  <a:pt x="288157" y="161356"/>
                  <a:pt x="296171" y="170879"/>
                </a:cubicBezTo>
                <a:lnTo>
                  <a:pt x="296487" y="171290"/>
                </a:lnTo>
                <a:lnTo>
                  <a:pt x="279923" y="171290"/>
                </a:lnTo>
                <a:lnTo>
                  <a:pt x="279923" y="171290"/>
                </a:lnTo>
                <a:cubicBezTo>
                  <a:pt x="276565" y="163226"/>
                  <a:pt x="272163" y="155635"/>
                  <a:pt x="266810" y="148715"/>
                </a:cubicBezTo>
                <a:lnTo>
                  <a:pt x="266145" y="147892"/>
                </a:lnTo>
                <a:close/>
                <a:moveTo>
                  <a:pt x="234155" y="139850"/>
                </a:moveTo>
                <a:lnTo>
                  <a:pt x="234473" y="139850"/>
                </a:lnTo>
                <a:cubicBezTo>
                  <a:pt x="246793" y="142731"/>
                  <a:pt x="258132" y="153750"/>
                  <a:pt x="266367" y="170847"/>
                </a:cubicBezTo>
                <a:lnTo>
                  <a:pt x="266557" y="171195"/>
                </a:lnTo>
                <a:lnTo>
                  <a:pt x="234124" y="171195"/>
                </a:lnTo>
                <a:close/>
                <a:moveTo>
                  <a:pt x="234155" y="183480"/>
                </a:moveTo>
                <a:lnTo>
                  <a:pt x="271434" y="183480"/>
                </a:lnTo>
                <a:lnTo>
                  <a:pt x="271434" y="183480"/>
                </a:lnTo>
                <a:cubicBezTo>
                  <a:pt x="275488" y="195759"/>
                  <a:pt x="277800" y="208550"/>
                  <a:pt x="278276" y="221474"/>
                </a:cubicBezTo>
                <a:lnTo>
                  <a:pt x="278276" y="221728"/>
                </a:lnTo>
                <a:lnTo>
                  <a:pt x="233934" y="221728"/>
                </a:lnTo>
                <a:close/>
                <a:moveTo>
                  <a:pt x="234155" y="234139"/>
                </a:moveTo>
                <a:lnTo>
                  <a:pt x="278497" y="234139"/>
                </a:lnTo>
                <a:lnTo>
                  <a:pt x="278497" y="234392"/>
                </a:lnTo>
                <a:cubicBezTo>
                  <a:pt x="278022" y="247317"/>
                  <a:pt x="275710" y="260108"/>
                  <a:pt x="271656" y="272386"/>
                </a:cubicBezTo>
                <a:lnTo>
                  <a:pt x="271656" y="272576"/>
                </a:lnTo>
                <a:lnTo>
                  <a:pt x="234124" y="272576"/>
                </a:lnTo>
                <a:close/>
                <a:moveTo>
                  <a:pt x="234473" y="316206"/>
                </a:moveTo>
                <a:lnTo>
                  <a:pt x="234155" y="316206"/>
                </a:lnTo>
                <a:lnTo>
                  <a:pt x="234155" y="284798"/>
                </a:lnTo>
                <a:lnTo>
                  <a:pt x="266557" y="284798"/>
                </a:lnTo>
                <a:lnTo>
                  <a:pt x="266367" y="285146"/>
                </a:lnTo>
                <a:cubicBezTo>
                  <a:pt x="258100" y="302244"/>
                  <a:pt x="246761" y="313262"/>
                  <a:pt x="234441" y="316143"/>
                </a:cubicBezTo>
                <a:close/>
                <a:moveTo>
                  <a:pt x="296171" y="285241"/>
                </a:moveTo>
                <a:cubicBezTo>
                  <a:pt x="288157" y="294765"/>
                  <a:pt x="278212" y="302500"/>
                  <a:pt x="267032" y="307943"/>
                </a:cubicBezTo>
                <a:lnTo>
                  <a:pt x="266082" y="308418"/>
                </a:lnTo>
                <a:lnTo>
                  <a:pt x="266747" y="307594"/>
                </a:lnTo>
                <a:cubicBezTo>
                  <a:pt x="272099" y="300673"/>
                  <a:pt x="276502" y="293084"/>
                  <a:pt x="279859" y="285020"/>
                </a:cubicBezTo>
                <a:lnTo>
                  <a:pt x="279859" y="284861"/>
                </a:lnTo>
                <a:lnTo>
                  <a:pt x="296424" y="284861"/>
                </a:lnTo>
                <a:close/>
                <a:moveTo>
                  <a:pt x="316790" y="234392"/>
                </a:moveTo>
                <a:cubicBezTo>
                  <a:pt x="315808" y="247785"/>
                  <a:pt x="311785" y="260782"/>
                  <a:pt x="305039" y="272386"/>
                </a:cubicBezTo>
                <a:lnTo>
                  <a:pt x="305039" y="272386"/>
                </a:lnTo>
                <a:lnTo>
                  <a:pt x="284325" y="272386"/>
                </a:lnTo>
                <a:lnTo>
                  <a:pt x="284325" y="272070"/>
                </a:lnTo>
                <a:cubicBezTo>
                  <a:pt x="288031" y="259725"/>
                  <a:pt x="290153" y="246959"/>
                  <a:pt x="290660" y="234076"/>
                </a:cubicBezTo>
                <a:lnTo>
                  <a:pt x="290660" y="233854"/>
                </a:lnTo>
                <a:lnTo>
                  <a:pt x="316916" y="233854"/>
                </a:lnTo>
                <a:close/>
                <a:moveTo>
                  <a:pt x="305039" y="183543"/>
                </a:moveTo>
                <a:cubicBezTo>
                  <a:pt x="311817" y="195144"/>
                  <a:pt x="315839" y="208141"/>
                  <a:pt x="316790" y="221538"/>
                </a:cubicBezTo>
                <a:lnTo>
                  <a:pt x="316790" y="221791"/>
                </a:lnTo>
                <a:lnTo>
                  <a:pt x="290533" y="221791"/>
                </a:lnTo>
                <a:lnTo>
                  <a:pt x="290533" y="221538"/>
                </a:lnTo>
                <a:cubicBezTo>
                  <a:pt x="290026" y="208654"/>
                  <a:pt x="287904" y="195888"/>
                  <a:pt x="284198" y="183543"/>
                </a:cubicBezTo>
                <a:lnTo>
                  <a:pt x="284198" y="183227"/>
                </a:lnTo>
                <a:lnTo>
                  <a:pt x="304912" y="183227"/>
                </a:ln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grpSp>
        <p:nvGrpSpPr>
          <p:cNvPr id="52" name="Google Shape;1547;p92">
            <a:extLst>
              <a:ext uri="{FF2B5EF4-FFF2-40B4-BE49-F238E27FC236}">
                <a16:creationId xmlns:a16="http://schemas.microsoft.com/office/drawing/2014/main" id="{D94BAF1D-42A1-21C7-F626-8E0107576297}"/>
              </a:ext>
            </a:extLst>
          </p:cNvPr>
          <p:cNvGrpSpPr/>
          <p:nvPr/>
        </p:nvGrpSpPr>
        <p:grpSpPr>
          <a:xfrm>
            <a:off x="11077173" y="5521066"/>
            <a:ext cx="457200" cy="457200"/>
            <a:chOff x="10418558" y="3895566"/>
            <a:chExt cx="457200" cy="457200"/>
          </a:xfrm>
        </p:grpSpPr>
        <p:sp>
          <p:nvSpPr>
            <p:cNvPr id="53" name="Google Shape;1548;p92">
              <a:extLst>
                <a:ext uri="{FF2B5EF4-FFF2-40B4-BE49-F238E27FC236}">
                  <a16:creationId xmlns:a16="http://schemas.microsoft.com/office/drawing/2014/main" id="{24412FE5-C3CD-76F7-0B4A-2EB3610E5AE0}"/>
                </a:ext>
              </a:extLst>
            </p:cNvPr>
            <p:cNvSpPr/>
            <p:nvPr/>
          </p:nvSpPr>
          <p:spPr>
            <a:xfrm>
              <a:off x="10418558" y="3895566"/>
              <a:ext cx="457200" cy="457200"/>
            </a:xfrm>
            <a:custGeom>
              <a:avLst/>
              <a:gdLst/>
              <a:ahLst/>
              <a:cxnLst/>
              <a:rect l="l" t="t" r="r" b="b"/>
              <a:pathLst>
                <a:path w="457200" h="457200" extrusionOk="0">
                  <a:moveTo>
                    <a:pt x="0" y="0"/>
                  </a:moveTo>
                  <a:lnTo>
                    <a:pt x="0" y="457200"/>
                  </a:lnTo>
                  <a:lnTo>
                    <a:pt x="457200" y="457200"/>
                  </a:lnTo>
                  <a:lnTo>
                    <a:pt x="457200" y="0"/>
                  </a:lnTo>
                  <a:close/>
                  <a:moveTo>
                    <a:pt x="437674" y="437674"/>
                  </a:moveTo>
                  <a:lnTo>
                    <a:pt x="19526" y="437674"/>
                  </a:lnTo>
                  <a:lnTo>
                    <a:pt x="19526" y="19526"/>
                  </a:lnTo>
                  <a:lnTo>
                    <a:pt x="437674" y="19526"/>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54" name="Google Shape;1549;p92">
              <a:extLst>
                <a:ext uri="{FF2B5EF4-FFF2-40B4-BE49-F238E27FC236}">
                  <a16:creationId xmlns:a16="http://schemas.microsoft.com/office/drawing/2014/main" id="{2241AB89-0344-6E51-6FB0-574A73D5D9B3}"/>
                </a:ext>
              </a:extLst>
            </p:cNvPr>
            <p:cNvSpPr/>
            <p:nvPr/>
          </p:nvSpPr>
          <p:spPr>
            <a:xfrm>
              <a:off x="10476374" y="3976084"/>
              <a:ext cx="342011" cy="146208"/>
            </a:xfrm>
            <a:custGeom>
              <a:avLst/>
              <a:gdLst/>
              <a:ahLst/>
              <a:cxnLst/>
              <a:rect l="l" t="t" r="r" b="b"/>
              <a:pathLst>
                <a:path w="342011" h="146208" extrusionOk="0">
                  <a:moveTo>
                    <a:pt x="45402" y="146209"/>
                  </a:moveTo>
                  <a:lnTo>
                    <a:pt x="37433" y="137509"/>
                  </a:lnTo>
                  <a:lnTo>
                    <a:pt x="37179" y="137255"/>
                  </a:lnTo>
                  <a:lnTo>
                    <a:pt x="36894" y="136970"/>
                  </a:lnTo>
                  <a:cubicBezTo>
                    <a:pt x="26257" y="126143"/>
                    <a:pt x="21019" y="110331"/>
                    <a:pt x="21019" y="89948"/>
                  </a:cubicBezTo>
                  <a:cubicBezTo>
                    <a:pt x="20923" y="50705"/>
                    <a:pt x="49784" y="21082"/>
                    <a:pt x="88233" y="21082"/>
                  </a:cubicBezTo>
                  <a:cubicBezTo>
                    <a:pt x="117570" y="21082"/>
                    <a:pt x="142780" y="37814"/>
                    <a:pt x="150940" y="62738"/>
                  </a:cubicBezTo>
                  <a:lnTo>
                    <a:pt x="154908" y="75057"/>
                  </a:lnTo>
                  <a:lnTo>
                    <a:pt x="185198" y="75057"/>
                  </a:lnTo>
                  <a:lnTo>
                    <a:pt x="189833" y="65532"/>
                  </a:lnTo>
                  <a:cubicBezTo>
                    <a:pt x="204311" y="36068"/>
                    <a:pt x="225774" y="21082"/>
                    <a:pt x="253651" y="21082"/>
                  </a:cubicBezTo>
                  <a:cubicBezTo>
                    <a:pt x="291941" y="21082"/>
                    <a:pt x="320802" y="50641"/>
                    <a:pt x="320802" y="89884"/>
                  </a:cubicBezTo>
                  <a:cubicBezTo>
                    <a:pt x="320802" y="110268"/>
                    <a:pt x="315436" y="126079"/>
                    <a:pt x="304927" y="136906"/>
                  </a:cubicBezTo>
                  <a:lnTo>
                    <a:pt x="304641" y="137192"/>
                  </a:lnTo>
                  <a:lnTo>
                    <a:pt x="304387" y="137446"/>
                  </a:lnTo>
                  <a:lnTo>
                    <a:pt x="296450" y="146145"/>
                  </a:lnTo>
                  <a:lnTo>
                    <a:pt x="324771" y="146145"/>
                  </a:lnTo>
                  <a:cubicBezTo>
                    <a:pt x="337471" y="130080"/>
                    <a:pt x="342011" y="109982"/>
                    <a:pt x="342011" y="89884"/>
                  </a:cubicBezTo>
                  <a:cubicBezTo>
                    <a:pt x="342011" y="39338"/>
                    <a:pt x="303403" y="0"/>
                    <a:pt x="253778" y="0"/>
                  </a:cubicBezTo>
                  <a:cubicBezTo>
                    <a:pt x="215170" y="0"/>
                    <a:pt x="187611" y="22479"/>
                    <a:pt x="171228" y="56166"/>
                  </a:cubicBezTo>
                  <a:cubicBezTo>
                    <a:pt x="159766" y="22542"/>
                    <a:pt x="126683" y="63"/>
                    <a:pt x="88233" y="63"/>
                  </a:cubicBezTo>
                  <a:cubicBezTo>
                    <a:pt x="38608" y="63"/>
                    <a:pt x="0" y="39402"/>
                    <a:pt x="0" y="89948"/>
                  </a:cubicBezTo>
                  <a:cubicBezTo>
                    <a:pt x="0" y="110046"/>
                    <a:pt x="4445" y="130143"/>
                    <a:pt x="17240" y="14620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55" name="Google Shape;1550;p92">
              <a:extLst>
                <a:ext uri="{FF2B5EF4-FFF2-40B4-BE49-F238E27FC236}">
                  <a16:creationId xmlns:a16="http://schemas.microsoft.com/office/drawing/2014/main" id="{BDA037DD-5019-C486-399C-83EA9F08CA88}"/>
                </a:ext>
              </a:extLst>
            </p:cNvPr>
            <p:cNvSpPr/>
            <p:nvPr/>
          </p:nvSpPr>
          <p:spPr>
            <a:xfrm>
              <a:off x="10543526" y="4177379"/>
              <a:ext cx="207200" cy="113315"/>
            </a:xfrm>
            <a:custGeom>
              <a:avLst/>
              <a:gdLst/>
              <a:ahLst/>
              <a:cxnLst/>
              <a:rect l="l" t="t" r="r" b="b"/>
              <a:pathLst>
                <a:path w="207200" h="113315" extrusionOk="0">
                  <a:moveTo>
                    <a:pt x="103632" y="82106"/>
                  </a:moveTo>
                  <a:lnTo>
                    <a:pt x="28575" y="0"/>
                  </a:lnTo>
                  <a:lnTo>
                    <a:pt x="0" y="0"/>
                  </a:lnTo>
                  <a:lnTo>
                    <a:pt x="103632" y="113316"/>
                  </a:lnTo>
                  <a:lnTo>
                    <a:pt x="207201" y="0"/>
                  </a:lnTo>
                  <a:lnTo>
                    <a:pt x="178626"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56" name="Google Shape;1551;p92">
              <a:extLst>
                <a:ext uri="{FF2B5EF4-FFF2-40B4-BE49-F238E27FC236}">
                  <a16:creationId xmlns:a16="http://schemas.microsoft.com/office/drawing/2014/main" id="{29893079-D834-8AAA-98B1-C83D3CAC24F2}"/>
                </a:ext>
              </a:extLst>
            </p:cNvPr>
            <p:cNvSpPr/>
            <p:nvPr/>
          </p:nvSpPr>
          <p:spPr>
            <a:xfrm>
              <a:off x="10476215" y="4060570"/>
              <a:ext cx="341883" cy="125317"/>
            </a:xfrm>
            <a:custGeom>
              <a:avLst/>
              <a:gdLst/>
              <a:ahLst/>
              <a:cxnLst/>
              <a:rect l="l" t="t" r="r" b="b"/>
              <a:pathLst>
                <a:path w="341883" h="125317" extrusionOk="0">
                  <a:moveTo>
                    <a:pt x="125254" y="68675"/>
                  </a:moveTo>
                  <a:lnTo>
                    <a:pt x="166180" y="125317"/>
                  </a:lnTo>
                  <a:lnTo>
                    <a:pt x="204629" y="42259"/>
                  </a:lnTo>
                  <a:lnTo>
                    <a:pt x="236855" y="97885"/>
                  </a:lnTo>
                  <a:lnTo>
                    <a:pt x="341884" y="97885"/>
                  </a:lnTo>
                  <a:lnTo>
                    <a:pt x="341884" y="78359"/>
                  </a:lnTo>
                  <a:lnTo>
                    <a:pt x="248095" y="78359"/>
                  </a:lnTo>
                  <a:lnTo>
                    <a:pt x="202692" y="0"/>
                  </a:lnTo>
                  <a:lnTo>
                    <a:pt x="162465" y="86836"/>
                  </a:lnTo>
                  <a:lnTo>
                    <a:pt x="124809" y="34734"/>
                  </a:lnTo>
                  <a:lnTo>
                    <a:pt x="94647" y="78835"/>
                  </a:lnTo>
                  <a:lnTo>
                    <a:pt x="0" y="78835"/>
                  </a:lnTo>
                  <a:lnTo>
                    <a:pt x="0" y="98361"/>
                  </a:lnTo>
                  <a:lnTo>
                    <a:pt x="104934" y="98361"/>
                  </a:lnTo>
                  <a:lnTo>
                    <a:pt x="125254" y="68675"/>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grpSp>
      <p:sp>
        <p:nvSpPr>
          <p:cNvPr id="3" name="Rectangle 2">
            <a:extLst>
              <a:ext uri="{FF2B5EF4-FFF2-40B4-BE49-F238E27FC236}">
                <a16:creationId xmlns:a16="http://schemas.microsoft.com/office/drawing/2014/main" id="{33BB98B8-6827-4CCD-E4FE-A55C4C067AB3}"/>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18" name="Group 17">
            <a:extLst>
              <a:ext uri="{FF2B5EF4-FFF2-40B4-BE49-F238E27FC236}">
                <a16:creationId xmlns:a16="http://schemas.microsoft.com/office/drawing/2014/main" id="{5DDA4596-31E5-32B2-E305-AAE4E8FF61C2}"/>
              </a:ext>
            </a:extLst>
          </p:cNvPr>
          <p:cNvGrpSpPr/>
          <p:nvPr/>
        </p:nvGrpSpPr>
        <p:grpSpPr>
          <a:xfrm>
            <a:off x="9307133" y="126781"/>
            <a:ext cx="2441955" cy="217488"/>
            <a:chOff x="9307133" y="126781"/>
            <a:chExt cx="2441955" cy="217488"/>
          </a:xfrm>
        </p:grpSpPr>
        <p:sp>
          <p:nvSpPr>
            <p:cNvPr id="19" name="Rectangle 18">
              <a:extLst>
                <a:ext uri="{FF2B5EF4-FFF2-40B4-BE49-F238E27FC236}">
                  <a16:creationId xmlns:a16="http://schemas.microsoft.com/office/drawing/2014/main" id="{0930130B-C3CA-0D3F-FCEF-ED20D475573B}"/>
                </a:ext>
              </a:extLst>
            </p:cNvPr>
            <p:cNvSpPr/>
            <p:nvPr/>
          </p:nvSpPr>
          <p:spPr>
            <a:xfrm>
              <a:off x="930713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342D1AAE-D336-3691-59C9-42305FA367F4}"/>
                </a:ext>
              </a:extLst>
            </p:cNvPr>
            <p:cNvSpPr/>
            <p:nvPr/>
          </p:nvSpPr>
          <p:spPr>
            <a:xfrm>
              <a:off x="9790783" y="126781"/>
              <a:ext cx="1237148"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Rīcība negadījuma vietā</a:t>
              </a:r>
            </a:p>
          </p:txBody>
        </p:sp>
        <p:sp>
          <p:nvSpPr>
            <p:cNvPr id="21" name="Rectangle 20">
              <a:extLst>
                <a:ext uri="{FF2B5EF4-FFF2-40B4-BE49-F238E27FC236}">
                  <a16:creationId xmlns:a16="http://schemas.microsoft.com/office/drawing/2014/main" id="{8291E5FD-8BA7-08C9-DE86-06A7357EB2EA}"/>
                </a:ext>
              </a:extLst>
            </p:cNvPr>
            <p:cNvSpPr/>
            <p:nvPr/>
          </p:nvSpPr>
          <p:spPr>
            <a:xfrm>
              <a:off x="955040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2</a:t>
              </a:r>
              <a:endParaRPr kumimoji="0" lang="lv-LV" sz="800" b="1" i="0" u="none" strike="noStrike" kern="0" cap="none" spc="0" normalizeH="0" baseline="0" noProof="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3950A70E-3EB5-9C5A-54D6-EBB8EBE232A5}"/>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A5C9EE1B-9F21-7F3A-7EA4-FBC4B36DE58C}"/>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4</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6" name="Rectangle 25">
              <a:extLst>
                <a:ext uri="{FF2B5EF4-FFF2-40B4-BE49-F238E27FC236}">
                  <a16:creationId xmlns:a16="http://schemas.microsoft.com/office/drawing/2014/main" id="{05ABA03D-365B-A6D0-34A3-C2E190D97F39}"/>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30118756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86C0963A-C5CC-2E7D-B418-A43C2733186F}"/>
              </a:ext>
            </a:extLst>
          </p:cNvPr>
          <p:cNvGraphicFramePr>
            <a:graphicFrameLocks noChangeAspect="1"/>
          </p:cNvGraphicFramePr>
          <p:nvPr>
            <p:custDataLst>
              <p:tags r:id="rId1"/>
            </p:custDataLst>
            <p:extLst>
              <p:ext uri="{D42A27DB-BD31-4B8C-83A1-F6EECF244321}">
                <p14:modId xmlns:p14="http://schemas.microsoft.com/office/powerpoint/2010/main" val="1500878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4" name="think-cell data - do not delete" hidden="1">
                        <a:extLst>
                          <a:ext uri="{FF2B5EF4-FFF2-40B4-BE49-F238E27FC236}">
                            <a16:creationId xmlns:a16="http://schemas.microsoft.com/office/drawing/2014/main" id="{86C0963A-C5CC-2E7D-B418-A43C273318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7" name="TextBox 66">
            <a:extLst>
              <a:ext uri="{FF2B5EF4-FFF2-40B4-BE49-F238E27FC236}">
                <a16:creationId xmlns:a16="http://schemas.microsoft.com/office/drawing/2014/main" id="{A6669812-F1E7-B581-1037-FF52AE28937B}"/>
              </a:ext>
            </a:extLst>
          </p:cNvPr>
          <p:cNvSpPr txBox="1"/>
          <p:nvPr/>
        </p:nvSpPr>
        <p:spPr>
          <a:xfrm>
            <a:off x="4327525" y="2543969"/>
            <a:ext cx="7416801" cy="2175297"/>
          </a:xfrm>
          <a:prstGeom prst="rect">
            <a:avLst/>
          </a:prstGeom>
          <a:solidFill>
            <a:schemeClr val="bg1">
              <a:lumMod val="95000"/>
            </a:schemeClr>
          </a:solidFill>
        </p:spPr>
        <p:txBody>
          <a:bodyPr wrap="square" lIns="72000" tIns="72000" rIns="72000" bIns="72000">
            <a:noAutofit/>
          </a:bodyPr>
          <a:lstStyle/>
          <a:p>
            <a:endParaRPr lang="lv-LV" sz="1400">
              <a:highlight>
                <a:srgbClr val="FFFF00"/>
              </a:highlight>
            </a:endParaRPr>
          </a:p>
        </p:txBody>
      </p:sp>
      <p:sp>
        <p:nvSpPr>
          <p:cNvPr id="31" name="Content Placeholder 1">
            <a:extLst>
              <a:ext uri="{FF2B5EF4-FFF2-40B4-BE49-F238E27FC236}">
                <a16:creationId xmlns:a16="http://schemas.microsoft.com/office/drawing/2014/main" id="{E2CC0EEE-CAB2-2559-66CC-085D68FA85B6}"/>
              </a:ext>
            </a:extLst>
          </p:cNvPr>
          <p:cNvSpPr txBox="1">
            <a:spLocks/>
          </p:cNvSpPr>
          <p:nvPr/>
        </p:nvSpPr>
        <p:spPr>
          <a:xfrm>
            <a:off x="442914" y="1819275"/>
            <a:ext cx="3529012"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bg1"/>
                </a:solidFill>
              </a:rPr>
              <a:t>Sauciet pēc apkārtējo palīdzības!</a:t>
            </a:r>
          </a:p>
        </p:txBody>
      </p:sp>
      <p:sp>
        <p:nvSpPr>
          <p:cNvPr id="32" name="Content Placeholder 1">
            <a:extLst>
              <a:ext uri="{FF2B5EF4-FFF2-40B4-BE49-F238E27FC236}">
                <a16:creationId xmlns:a16="http://schemas.microsoft.com/office/drawing/2014/main" id="{6DC923B1-F81E-C41B-D732-20A592FD5A53}"/>
              </a:ext>
            </a:extLst>
          </p:cNvPr>
          <p:cNvSpPr txBox="1">
            <a:spLocks/>
          </p:cNvSpPr>
          <p:nvPr/>
        </p:nvSpPr>
        <p:spPr>
          <a:xfrm>
            <a:off x="4296603" y="1819275"/>
            <a:ext cx="7421563"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bg1"/>
                </a:solidFill>
              </a:rPr>
              <a:t>Izsauciet Neatliekamo palīdzību</a:t>
            </a:r>
          </a:p>
        </p:txBody>
      </p:sp>
      <p:sp>
        <p:nvSpPr>
          <p:cNvPr id="33" name="Content Placeholder 1">
            <a:extLst>
              <a:ext uri="{FF2B5EF4-FFF2-40B4-BE49-F238E27FC236}">
                <a16:creationId xmlns:a16="http://schemas.microsoft.com/office/drawing/2014/main" id="{DF43E668-9F50-57B8-04D1-B9499347A2DE}"/>
              </a:ext>
            </a:extLst>
          </p:cNvPr>
          <p:cNvSpPr txBox="1">
            <a:spLocks/>
          </p:cNvSpPr>
          <p:nvPr/>
        </p:nvSpPr>
        <p:spPr>
          <a:xfrm>
            <a:off x="11173088" y="181927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34" name="Content Placeholder 1">
            <a:extLst>
              <a:ext uri="{FF2B5EF4-FFF2-40B4-BE49-F238E27FC236}">
                <a16:creationId xmlns:a16="http://schemas.microsoft.com/office/drawing/2014/main" id="{66589027-9228-B89D-7E1A-9FECA5F1E1EF}"/>
              </a:ext>
            </a:extLst>
          </p:cNvPr>
          <p:cNvSpPr txBox="1">
            <a:spLocks/>
          </p:cNvSpPr>
          <p:nvPr/>
        </p:nvSpPr>
        <p:spPr>
          <a:xfrm>
            <a:off x="11105135" y="181927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grpSp>
        <p:nvGrpSpPr>
          <p:cNvPr id="58" name="Group 57">
            <a:extLst>
              <a:ext uri="{FF2B5EF4-FFF2-40B4-BE49-F238E27FC236}">
                <a16:creationId xmlns:a16="http://schemas.microsoft.com/office/drawing/2014/main" id="{873550C4-4981-89FD-8CE8-B835669FAD87}"/>
              </a:ext>
            </a:extLst>
          </p:cNvPr>
          <p:cNvGrpSpPr/>
          <p:nvPr/>
        </p:nvGrpSpPr>
        <p:grpSpPr>
          <a:xfrm>
            <a:off x="3324538" y="1819275"/>
            <a:ext cx="647388" cy="576000"/>
            <a:chOff x="5269224" y="1819275"/>
            <a:chExt cx="647388" cy="576000"/>
          </a:xfrm>
        </p:grpSpPr>
        <p:sp>
          <p:nvSpPr>
            <p:cNvPr id="35" name="Content Placeholder 1">
              <a:extLst>
                <a:ext uri="{FF2B5EF4-FFF2-40B4-BE49-F238E27FC236}">
                  <a16:creationId xmlns:a16="http://schemas.microsoft.com/office/drawing/2014/main" id="{EB5B638A-E0A2-E95A-0C67-6BB415F0EFE3}"/>
                </a:ext>
              </a:extLst>
            </p:cNvPr>
            <p:cNvSpPr txBox="1">
              <a:spLocks/>
            </p:cNvSpPr>
            <p:nvPr/>
          </p:nvSpPr>
          <p:spPr>
            <a:xfrm>
              <a:off x="5340612" y="181927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56" name="Content Placeholder 1">
              <a:extLst>
                <a:ext uri="{FF2B5EF4-FFF2-40B4-BE49-F238E27FC236}">
                  <a16:creationId xmlns:a16="http://schemas.microsoft.com/office/drawing/2014/main" id="{AA943CE1-3998-F2FA-5810-5F0CADCF2715}"/>
                </a:ext>
              </a:extLst>
            </p:cNvPr>
            <p:cNvSpPr txBox="1">
              <a:spLocks/>
            </p:cNvSpPr>
            <p:nvPr/>
          </p:nvSpPr>
          <p:spPr>
            <a:xfrm>
              <a:off x="5269224" y="181927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grpSp>
      <p:sp>
        <p:nvSpPr>
          <p:cNvPr id="2" name="Title 1">
            <a:extLst>
              <a:ext uri="{FF2B5EF4-FFF2-40B4-BE49-F238E27FC236}">
                <a16:creationId xmlns:a16="http://schemas.microsoft.com/office/drawing/2014/main" id="{EDFBCEAB-7D4A-91D0-E036-AAFACC3ABE8D}"/>
              </a:ext>
            </a:extLst>
          </p:cNvPr>
          <p:cNvSpPr>
            <a:spLocks noGrp="1"/>
          </p:cNvSpPr>
          <p:nvPr>
            <p:ph type="title"/>
          </p:nvPr>
        </p:nvSpPr>
        <p:spPr/>
        <p:txBody>
          <a:bodyPr vert="horz"/>
          <a:lstStyle/>
          <a:p>
            <a:r>
              <a:rPr lang="lv-LV"/>
              <a:t>Kā izsaukt palīdzību?</a:t>
            </a:r>
          </a:p>
        </p:txBody>
      </p:sp>
      <p:sp>
        <p:nvSpPr>
          <p:cNvPr id="4" name="Slide Number Placeholder 3">
            <a:extLst>
              <a:ext uri="{FF2B5EF4-FFF2-40B4-BE49-F238E27FC236}">
                <a16:creationId xmlns:a16="http://schemas.microsoft.com/office/drawing/2014/main" id="{A6320228-D809-6F87-2500-99BCB217E23A}"/>
              </a:ext>
            </a:extLst>
          </p:cNvPr>
          <p:cNvSpPr>
            <a:spLocks noGrp="1"/>
          </p:cNvSpPr>
          <p:nvPr>
            <p:ph type="sldNum" sz="quarter" idx="11"/>
          </p:nvPr>
        </p:nvSpPr>
        <p:spPr/>
        <p:txBody>
          <a:bodyPr/>
          <a:lstStyle/>
          <a:p>
            <a:fld id="{7870704B-CE94-48CC-AF30-84932A1262A7}" type="slidenum">
              <a:rPr lang="lv-LV" smtClean="0"/>
              <a:pPr/>
              <a:t>12</a:t>
            </a:fld>
            <a:endParaRPr lang="lv-LV"/>
          </a:p>
        </p:txBody>
      </p:sp>
      <p:sp>
        <p:nvSpPr>
          <p:cNvPr id="22" name="TextBox 21">
            <a:extLst>
              <a:ext uri="{FF2B5EF4-FFF2-40B4-BE49-F238E27FC236}">
                <a16:creationId xmlns:a16="http://schemas.microsoft.com/office/drawing/2014/main" id="{FD456066-D6DB-ED05-F1F7-BFB8E89B2676}"/>
              </a:ext>
            </a:extLst>
          </p:cNvPr>
          <p:cNvSpPr txBox="1"/>
          <p:nvPr/>
        </p:nvSpPr>
        <p:spPr>
          <a:xfrm>
            <a:off x="2055951" y="5038726"/>
            <a:ext cx="9693138" cy="1134056"/>
          </a:xfrm>
          <a:prstGeom prst="rect">
            <a:avLst/>
          </a:prstGeom>
          <a:solidFill>
            <a:schemeClr val="accent6"/>
          </a:solidFill>
        </p:spPr>
        <p:txBody>
          <a:bodyPr wrap="square" lIns="72000" tIns="72000" rIns="72000" bIns="72000" rtlCol="0" anchor="ctr">
            <a:noAutofit/>
          </a:bodyPr>
          <a:lstStyle/>
          <a:p>
            <a:pPr marL="284400" lvl="0" indent="-284400" hangingPunct="0">
              <a:spcAft>
                <a:spcPts val="600"/>
              </a:spcAft>
              <a:buBlip>
                <a:blip r:embed="rId6"/>
              </a:buBlip>
            </a:pPr>
            <a:r>
              <a:rPr lang="lv-LV" sz="1400">
                <a:effectLst/>
                <a:ea typeface="Calibri" panose="020F0502020204030204" pitchFamily="34" charset="0"/>
                <a:cs typeface="Times New Roman" panose="02020603050405020304" pitchFamily="18" charset="0"/>
              </a:rPr>
              <a:t>Nepārtrauciet sarunu, pirms to nav izdarījis dispečers</a:t>
            </a:r>
          </a:p>
          <a:p>
            <a:pPr marL="284400" lvl="0" indent="-284400" hangingPunct="0">
              <a:spcAft>
                <a:spcPts val="600"/>
              </a:spcAft>
              <a:buBlip>
                <a:blip r:embed="rId6"/>
              </a:buBlip>
            </a:pPr>
            <a:r>
              <a:rPr lang="lv-LV" sz="1400">
                <a:effectLst/>
                <a:ea typeface="Calibri" panose="020F0502020204030204" pitchFamily="34" charset="0"/>
                <a:cs typeface="Times New Roman" panose="02020603050405020304" pitchFamily="18" charset="0"/>
              </a:rPr>
              <a:t>Atbildiet uz dispečera jautājumiem, uzklausiet padomus</a:t>
            </a:r>
          </a:p>
          <a:p>
            <a:pPr marL="284400" lvl="0" indent="-284400" hangingPunct="0">
              <a:spcAft>
                <a:spcPts val="600"/>
              </a:spcAft>
              <a:buBlip>
                <a:blip r:embed="rId6"/>
              </a:buBlip>
            </a:pPr>
            <a:r>
              <a:rPr lang="lv-LV" sz="1400">
                <a:effectLst/>
                <a:ea typeface="Calibri" panose="020F0502020204030204" pitchFamily="34" charset="0"/>
                <a:cs typeface="Times New Roman" panose="02020603050405020304" pitchFamily="18" charset="0"/>
              </a:rPr>
              <a:t>Sniedziet palīdzību līdz Neatliekamās palīdzības ierašanās brīdim</a:t>
            </a:r>
          </a:p>
        </p:txBody>
      </p:sp>
      <p:grpSp>
        <p:nvGrpSpPr>
          <p:cNvPr id="25" name="Group 24">
            <a:extLst>
              <a:ext uri="{FF2B5EF4-FFF2-40B4-BE49-F238E27FC236}">
                <a16:creationId xmlns:a16="http://schemas.microsoft.com/office/drawing/2014/main" id="{BACE7719-6924-A295-8F4C-2DE5F6D26049}"/>
              </a:ext>
            </a:extLst>
          </p:cNvPr>
          <p:cNvGrpSpPr/>
          <p:nvPr/>
        </p:nvGrpSpPr>
        <p:grpSpPr>
          <a:xfrm>
            <a:off x="7902708" y="432000"/>
            <a:ext cx="3846380" cy="360000"/>
            <a:chOff x="7902708" y="432000"/>
            <a:chExt cx="3846380" cy="360000"/>
          </a:xfrm>
        </p:grpSpPr>
        <p:sp>
          <p:nvSpPr>
            <p:cNvPr id="26" name="TextBox 25">
              <a:extLst>
                <a:ext uri="{FF2B5EF4-FFF2-40B4-BE49-F238E27FC236}">
                  <a16:creationId xmlns:a16="http://schemas.microsoft.com/office/drawing/2014/main" id="{CA90F111-E668-30BE-440B-5CC38462EB08}"/>
                </a:ext>
              </a:extLst>
            </p:cNvPr>
            <p:cNvSpPr txBox="1"/>
            <p:nvPr/>
          </p:nvSpPr>
          <p:spPr>
            <a:xfrm>
              <a:off x="7902708" y="432000"/>
              <a:ext cx="1055778" cy="360000"/>
            </a:xfrm>
            <a:prstGeom prst="rect">
              <a:avLst/>
            </a:prstGeom>
            <a:solidFill>
              <a:schemeClr val="accent6"/>
            </a:solidFill>
            <a:ln w="28575">
              <a:noFill/>
            </a:ln>
          </p:spPr>
          <p:txBody>
            <a:bodyPr wrap="square" lIns="72000" tIns="72000" rIns="72000" bIns="72000" rtlCol="0" anchor="ctr">
              <a:noAutofit/>
            </a:bodyPr>
            <a:lstStyle/>
            <a:p>
              <a:pPr algn="ctr">
                <a:lnSpc>
                  <a:spcPct val="100000"/>
                </a:lnSpc>
                <a:buSzPct val="100000"/>
              </a:pPr>
              <a:r>
                <a:rPr lang="lv-LV" sz="1100">
                  <a:solidFill>
                    <a:schemeClr val="accent3"/>
                  </a:solidFill>
                  <a:effectLst/>
                  <a:ea typeface="Calibri" panose="020F0502020204030204" pitchFamily="34" charset="0"/>
                  <a:cs typeface="Times New Roman" panose="02020603050405020304" pitchFamily="18" charset="0"/>
                </a:rPr>
                <a:t>Tūlītējie pasākumi</a:t>
              </a:r>
              <a:endParaRPr lang="lv-LV" sz="1100">
                <a:solidFill>
                  <a:schemeClr val="accent3"/>
                </a:solidFill>
              </a:endParaRPr>
            </a:p>
          </p:txBody>
        </p:sp>
        <p:sp>
          <p:nvSpPr>
            <p:cNvPr id="27" name="TextBox 26">
              <a:extLst>
                <a:ext uri="{FF2B5EF4-FFF2-40B4-BE49-F238E27FC236}">
                  <a16:creationId xmlns:a16="http://schemas.microsoft.com/office/drawing/2014/main" id="{172E5147-E792-A60A-3E58-BBA21B93A3CD}"/>
                </a:ext>
              </a:extLst>
            </p:cNvPr>
            <p:cNvSpPr txBox="1"/>
            <p:nvPr/>
          </p:nvSpPr>
          <p:spPr>
            <a:xfrm>
              <a:off x="9298009" y="432000"/>
              <a:ext cx="1055778" cy="360000"/>
            </a:xfrm>
            <a:prstGeom prst="rect">
              <a:avLst/>
            </a:prstGeom>
            <a:solidFill>
              <a:schemeClr val="accent3"/>
            </a:solidFill>
            <a:ln w="28575">
              <a:noFill/>
            </a:ln>
          </p:spPr>
          <p:txBody>
            <a:bodyPr wrap="square" lIns="72000" tIns="72000" rIns="72000" bIns="72000" rtlCol="0" anchor="ctr">
              <a:noAutofit/>
            </a:bodyPr>
            <a:lstStyle/>
            <a:p>
              <a:pPr algn="ctr">
                <a:lnSpc>
                  <a:spcPct val="100000"/>
                </a:lnSpc>
                <a:buSzPct val="100000"/>
              </a:pPr>
              <a:r>
                <a:rPr lang="lv-LV" sz="1100" b="1">
                  <a:solidFill>
                    <a:schemeClr val="bg1"/>
                  </a:solidFill>
                  <a:effectLst/>
                  <a:ea typeface="Calibri" panose="020F0502020204030204" pitchFamily="34" charset="0"/>
                  <a:cs typeface="Times New Roman" panose="02020603050405020304" pitchFamily="18" charset="0"/>
                </a:rPr>
                <a:t>Palīdzības izsaukšana</a:t>
              </a:r>
              <a:endParaRPr lang="lv-LV" sz="1100" b="1">
                <a:solidFill>
                  <a:schemeClr val="bg1"/>
                </a:solidFill>
              </a:endParaRPr>
            </a:p>
          </p:txBody>
        </p:sp>
        <p:sp>
          <p:nvSpPr>
            <p:cNvPr id="28" name="TextBox 27">
              <a:extLst>
                <a:ext uri="{FF2B5EF4-FFF2-40B4-BE49-F238E27FC236}">
                  <a16:creationId xmlns:a16="http://schemas.microsoft.com/office/drawing/2014/main" id="{113D09D0-B233-D26A-50AA-AAC45C1DB393}"/>
                </a:ext>
              </a:extLst>
            </p:cNvPr>
            <p:cNvSpPr txBox="1"/>
            <p:nvPr/>
          </p:nvSpPr>
          <p:spPr>
            <a:xfrm>
              <a:off x="10693310" y="432000"/>
              <a:ext cx="1055778" cy="360000"/>
            </a:xfrm>
            <a:prstGeom prst="rect">
              <a:avLst/>
            </a:prstGeom>
            <a:solidFill>
              <a:schemeClr val="accent6"/>
            </a:solidFill>
            <a:ln w="28575">
              <a:noFill/>
            </a:ln>
          </p:spPr>
          <p:txBody>
            <a:bodyPr wrap="square" lIns="72000" tIns="72000" rIns="72000" bIns="72000" rtlCol="0" anchor="ctr">
              <a:noAutofit/>
            </a:bodyPr>
            <a:lstStyle/>
            <a:p>
              <a:pPr algn="ctr">
                <a:lnSpc>
                  <a:spcPct val="100000"/>
                </a:lnSpc>
                <a:buSzPct val="100000"/>
              </a:pPr>
              <a:r>
                <a:rPr lang="lv-LV" sz="1100">
                  <a:solidFill>
                    <a:schemeClr val="accent3"/>
                  </a:solidFill>
                  <a:effectLst/>
                  <a:ea typeface="Calibri" panose="020F0502020204030204" pitchFamily="34" charset="0"/>
                  <a:cs typeface="Times New Roman" panose="02020603050405020304" pitchFamily="18" charset="0"/>
                </a:rPr>
                <a:t>Cietušā </a:t>
              </a:r>
            </a:p>
            <a:p>
              <a:pPr algn="ctr">
                <a:lnSpc>
                  <a:spcPct val="100000"/>
                </a:lnSpc>
                <a:buSzPct val="100000"/>
              </a:pPr>
              <a:r>
                <a:rPr lang="lv-LV" sz="1100">
                  <a:solidFill>
                    <a:schemeClr val="accent3"/>
                  </a:solidFill>
                  <a:effectLst/>
                  <a:ea typeface="Calibri" panose="020F0502020204030204" pitchFamily="34" charset="0"/>
                  <a:cs typeface="Times New Roman" panose="02020603050405020304" pitchFamily="18" charset="0"/>
                </a:rPr>
                <a:t>aprūpe</a:t>
              </a:r>
              <a:endParaRPr lang="lv-LV" sz="1100">
                <a:solidFill>
                  <a:schemeClr val="accent3"/>
                </a:solidFill>
              </a:endParaRPr>
            </a:p>
          </p:txBody>
        </p:sp>
        <p:sp>
          <p:nvSpPr>
            <p:cNvPr id="29" name="Arrow: Right 28">
              <a:extLst>
                <a:ext uri="{FF2B5EF4-FFF2-40B4-BE49-F238E27FC236}">
                  <a16:creationId xmlns:a16="http://schemas.microsoft.com/office/drawing/2014/main" id="{42AFA3F6-67B6-DCB6-69E0-4FEA827E9A7D}"/>
                </a:ext>
              </a:extLst>
            </p:cNvPr>
            <p:cNvSpPr/>
            <p:nvPr/>
          </p:nvSpPr>
          <p:spPr>
            <a:xfrm>
              <a:off x="9029367" y="504000"/>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0" name="Arrow: Right 29">
              <a:extLst>
                <a:ext uri="{FF2B5EF4-FFF2-40B4-BE49-F238E27FC236}">
                  <a16:creationId xmlns:a16="http://schemas.microsoft.com/office/drawing/2014/main" id="{062CCA3E-954F-6862-9874-A90D093D0984}"/>
                </a:ext>
              </a:extLst>
            </p:cNvPr>
            <p:cNvSpPr/>
            <p:nvPr/>
          </p:nvSpPr>
          <p:spPr>
            <a:xfrm>
              <a:off x="10424668" y="504000"/>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59" name="TextBox 58">
            <a:extLst>
              <a:ext uri="{FF2B5EF4-FFF2-40B4-BE49-F238E27FC236}">
                <a16:creationId xmlns:a16="http://schemas.microsoft.com/office/drawing/2014/main" id="{34CAA65D-F32B-4FFB-DA56-9F4BF785AA35}"/>
              </a:ext>
            </a:extLst>
          </p:cNvPr>
          <p:cNvSpPr txBox="1"/>
          <p:nvPr/>
        </p:nvSpPr>
        <p:spPr>
          <a:xfrm>
            <a:off x="442912" y="2543970"/>
            <a:ext cx="3529013" cy="2175297"/>
          </a:xfrm>
          <a:prstGeom prst="rect">
            <a:avLst/>
          </a:prstGeom>
          <a:solidFill>
            <a:schemeClr val="bg1">
              <a:lumMod val="95000"/>
            </a:schemeClr>
          </a:solidFill>
        </p:spPr>
        <p:txBody>
          <a:bodyPr wrap="square" lIns="72000" tIns="72000" rIns="72000" bIns="72000">
            <a:noAutofit/>
          </a:bodyPr>
          <a:lstStyle/>
          <a:p>
            <a:r>
              <a:rPr lang="lv-LV" sz="1400"/>
              <a:t>Ja protat palīdzēt, tad lūdziet neatliekamo palīdzību izsaukt kādam citam</a:t>
            </a:r>
          </a:p>
        </p:txBody>
      </p:sp>
      <p:sp>
        <p:nvSpPr>
          <p:cNvPr id="66" name="TextBox 65">
            <a:extLst>
              <a:ext uri="{FF2B5EF4-FFF2-40B4-BE49-F238E27FC236}">
                <a16:creationId xmlns:a16="http://schemas.microsoft.com/office/drawing/2014/main" id="{CD026E74-0314-F99D-587A-EA39147E7DB9}"/>
              </a:ext>
            </a:extLst>
          </p:cNvPr>
          <p:cNvSpPr txBox="1"/>
          <p:nvPr/>
        </p:nvSpPr>
        <p:spPr>
          <a:xfrm>
            <a:off x="442912" y="5038726"/>
            <a:ext cx="1613038" cy="1134056"/>
          </a:xfrm>
          <a:prstGeom prst="rect">
            <a:avLst/>
          </a:prstGeom>
          <a:solidFill>
            <a:schemeClr val="accent3"/>
          </a:solidFill>
        </p:spPr>
        <p:txBody>
          <a:bodyPr wrap="square" lIns="72000" tIns="72000" rIns="72000" bIns="72000" rtlCol="0" anchor="ctr">
            <a:noAutofit/>
          </a:bodyPr>
          <a:lstStyle/>
          <a:p>
            <a:pPr lvl="0" algn="ctr" hangingPunct="0">
              <a:lnSpc>
                <a:spcPct val="115000"/>
              </a:lnSpc>
            </a:pPr>
            <a:r>
              <a:rPr lang="lv-LV" sz="1400" b="1">
                <a:solidFill>
                  <a:schemeClr val="bg1"/>
                </a:solidFill>
                <a:effectLst/>
                <a:ea typeface="Calibri" panose="020F0502020204030204" pitchFamily="34" charset="0"/>
                <a:cs typeface="Times New Roman" panose="02020603050405020304" pitchFamily="18" charset="0"/>
              </a:rPr>
              <a:t>Svarīgi!</a:t>
            </a:r>
          </a:p>
        </p:txBody>
      </p:sp>
      <p:sp>
        <p:nvSpPr>
          <p:cNvPr id="3" name="Content Placeholder 2">
            <a:extLst>
              <a:ext uri="{FF2B5EF4-FFF2-40B4-BE49-F238E27FC236}">
                <a16:creationId xmlns:a16="http://schemas.microsoft.com/office/drawing/2014/main" id="{4C152C15-BC58-532B-E67E-FFA20C37B22F}"/>
              </a:ext>
            </a:extLst>
          </p:cNvPr>
          <p:cNvSpPr txBox="1">
            <a:spLocks/>
          </p:cNvSpPr>
          <p:nvPr/>
        </p:nvSpPr>
        <p:spPr>
          <a:xfrm>
            <a:off x="4332287" y="2543970"/>
            <a:ext cx="3529013" cy="288147"/>
          </a:xfrm>
          <a:prstGeom prst="rect">
            <a:avLst/>
          </a:prstGeom>
          <a:noFill/>
        </p:spPr>
        <p:txBody>
          <a:bodyPr vert="horz" lIns="72000" tIns="72000" rIns="0" bIns="0" rtlCol="0" anchor="t">
            <a:sp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accent2"/>
                </a:solidFill>
              </a:rPr>
              <a:t>Zvaniet, izmantojot:</a:t>
            </a:r>
          </a:p>
        </p:txBody>
      </p:sp>
      <p:sp>
        <p:nvSpPr>
          <p:cNvPr id="5" name="Content Placeholder 2">
            <a:extLst>
              <a:ext uri="{FF2B5EF4-FFF2-40B4-BE49-F238E27FC236}">
                <a16:creationId xmlns:a16="http://schemas.microsoft.com/office/drawing/2014/main" id="{945044BE-2322-FDB2-86F2-2ACD1D763423}"/>
              </a:ext>
            </a:extLst>
          </p:cNvPr>
          <p:cNvSpPr txBox="1">
            <a:spLocks/>
          </p:cNvSpPr>
          <p:nvPr/>
        </p:nvSpPr>
        <p:spPr>
          <a:xfrm>
            <a:off x="8218488" y="2543970"/>
            <a:ext cx="3529448" cy="288147"/>
          </a:xfrm>
          <a:prstGeom prst="rect">
            <a:avLst/>
          </a:prstGeom>
          <a:noFill/>
        </p:spPr>
        <p:txBody>
          <a:bodyPr vert="horz" lIns="72000" tIns="72000" rIns="0" bIns="0" rtlCol="0" anchor="t">
            <a:sp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accent2"/>
                </a:solidFill>
              </a:rPr>
              <a:t>Ziņojiet:</a:t>
            </a:r>
          </a:p>
        </p:txBody>
      </p:sp>
      <p:grpSp>
        <p:nvGrpSpPr>
          <p:cNvPr id="112" name="Group 111">
            <a:extLst>
              <a:ext uri="{FF2B5EF4-FFF2-40B4-BE49-F238E27FC236}">
                <a16:creationId xmlns:a16="http://schemas.microsoft.com/office/drawing/2014/main" id="{2DF38961-65A0-3CF0-F0C0-71EBA3C91784}"/>
              </a:ext>
            </a:extLst>
          </p:cNvPr>
          <p:cNvGrpSpPr/>
          <p:nvPr/>
        </p:nvGrpSpPr>
        <p:grpSpPr>
          <a:xfrm>
            <a:off x="8394935" y="2870960"/>
            <a:ext cx="3178722" cy="1731288"/>
            <a:chOff x="4527026" y="2931248"/>
            <a:chExt cx="3178722" cy="1731288"/>
          </a:xfrm>
        </p:grpSpPr>
        <p:grpSp>
          <p:nvGrpSpPr>
            <p:cNvPr id="113" name="Group 112">
              <a:extLst>
                <a:ext uri="{FF2B5EF4-FFF2-40B4-BE49-F238E27FC236}">
                  <a16:creationId xmlns:a16="http://schemas.microsoft.com/office/drawing/2014/main" id="{6F62761F-867A-573C-2EB7-18864D381AC8}"/>
                </a:ext>
              </a:extLst>
            </p:cNvPr>
            <p:cNvGrpSpPr/>
            <p:nvPr/>
          </p:nvGrpSpPr>
          <p:grpSpPr>
            <a:xfrm>
              <a:off x="4527026" y="2958923"/>
              <a:ext cx="1359482" cy="1304130"/>
              <a:chOff x="4450283" y="2958923"/>
              <a:chExt cx="1359482" cy="1304130"/>
            </a:xfrm>
            <a:solidFill>
              <a:schemeClr val="accent3"/>
            </a:solidFill>
          </p:grpSpPr>
          <p:sp>
            <p:nvSpPr>
              <p:cNvPr id="120" name="Freeform: Shape 119">
                <a:extLst>
                  <a:ext uri="{FF2B5EF4-FFF2-40B4-BE49-F238E27FC236}">
                    <a16:creationId xmlns:a16="http://schemas.microsoft.com/office/drawing/2014/main" id="{2C4ECBDD-D380-C0CD-F655-304F17E419DE}"/>
                  </a:ext>
                </a:extLst>
              </p:cNvPr>
              <p:cNvSpPr/>
              <p:nvPr/>
            </p:nvSpPr>
            <p:spPr>
              <a:xfrm>
                <a:off x="4450283" y="2958923"/>
                <a:ext cx="1281715" cy="1304130"/>
              </a:xfrm>
              <a:custGeom>
                <a:avLst/>
                <a:gdLst>
                  <a:gd name="connsiteX0" fmla="*/ 1272439 w 1281715"/>
                  <a:gd name="connsiteY0" fmla="*/ 461235 h 1304130"/>
                  <a:gd name="connsiteX1" fmla="*/ 1281715 w 1281715"/>
                  <a:gd name="connsiteY1" fmla="*/ 491120 h 1304130"/>
                  <a:gd name="connsiteX2" fmla="*/ 1200156 w 1281715"/>
                  <a:gd name="connsiteY2" fmla="*/ 539344 h 1304130"/>
                  <a:gd name="connsiteX3" fmla="*/ 1200153 w 1281715"/>
                  <a:gd name="connsiteY3" fmla="*/ 539316 h 1304130"/>
                  <a:gd name="connsiteX4" fmla="*/ 1193052 w 1281715"/>
                  <a:gd name="connsiteY4" fmla="*/ 516438 h 1304130"/>
                  <a:gd name="connsiteX5" fmla="*/ 1235963 w 1281715"/>
                  <a:gd name="connsiteY5" fmla="*/ 481033 h 1304130"/>
                  <a:gd name="connsiteX6" fmla="*/ 652065 w 1281715"/>
                  <a:gd name="connsiteY6" fmla="*/ 0 h 1304130"/>
                  <a:gd name="connsiteX7" fmla="*/ 1252888 w 1281715"/>
                  <a:gd name="connsiteY7" fmla="*/ 398252 h 1304130"/>
                  <a:gd name="connsiteX8" fmla="*/ 1272439 w 1281715"/>
                  <a:gd name="connsiteY8" fmla="*/ 461234 h 1304130"/>
                  <a:gd name="connsiteX9" fmla="*/ 1235963 w 1281715"/>
                  <a:gd name="connsiteY9" fmla="*/ 481032 h 1304130"/>
                  <a:gd name="connsiteX10" fmla="*/ 1193052 w 1281715"/>
                  <a:gd name="connsiteY10" fmla="*/ 516437 h 1304130"/>
                  <a:gd name="connsiteX11" fmla="*/ 1167554 w 1281715"/>
                  <a:gd name="connsiteY11" fmla="*/ 434300 h 1304130"/>
                  <a:gd name="connsiteX12" fmla="*/ 652065 w 1281715"/>
                  <a:gd name="connsiteY12" fmla="*/ 92611 h 1304130"/>
                  <a:gd name="connsiteX13" fmla="*/ 92611 w 1281715"/>
                  <a:gd name="connsiteY13" fmla="*/ 652065 h 1304130"/>
                  <a:gd name="connsiteX14" fmla="*/ 652065 w 1281715"/>
                  <a:gd name="connsiteY14" fmla="*/ 1211519 h 1304130"/>
                  <a:gd name="connsiteX15" fmla="*/ 869830 w 1281715"/>
                  <a:gd name="connsiteY15" fmla="*/ 1167554 h 1304130"/>
                  <a:gd name="connsiteX16" fmla="*/ 940452 w 1281715"/>
                  <a:gd name="connsiteY16" fmla="*/ 1129222 h 1304130"/>
                  <a:gd name="connsiteX17" fmla="*/ 946600 w 1281715"/>
                  <a:gd name="connsiteY17" fmla="*/ 1190207 h 1304130"/>
                  <a:gd name="connsiteX18" fmla="*/ 957380 w 1281715"/>
                  <a:gd name="connsiteY18" fmla="*/ 1224933 h 1304130"/>
                  <a:gd name="connsiteX19" fmla="*/ 905878 w 1281715"/>
                  <a:gd name="connsiteY19" fmla="*/ 1252887 h 1304130"/>
                  <a:gd name="connsiteX20" fmla="*/ 652065 w 1281715"/>
                  <a:gd name="connsiteY20" fmla="*/ 1304130 h 1304130"/>
                  <a:gd name="connsiteX21" fmla="*/ 0 w 1281715"/>
                  <a:gd name="connsiteY21" fmla="*/ 652065 h 1304130"/>
                  <a:gd name="connsiteX22" fmla="*/ 652065 w 1281715"/>
                  <a:gd name="connsiteY22" fmla="*/ 0 h 1304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1715" h="1304130">
                    <a:moveTo>
                      <a:pt x="1272439" y="461235"/>
                    </a:moveTo>
                    <a:lnTo>
                      <a:pt x="1281715" y="491120"/>
                    </a:lnTo>
                    <a:lnTo>
                      <a:pt x="1200156" y="539344"/>
                    </a:lnTo>
                    <a:lnTo>
                      <a:pt x="1200153" y="539316"/>
                    </a:lnTo>
                    <a:lnTo>
                      <a:pt x="1193052" y="516438"/>
                    </a:lnTo>
                    <a:lnTo>
                      <a:pt x="1235963" y="481033"/>
                    </a:lnTo>
                    <a:close/>
                    <a:moveTo>
                      <a:pt x="652065" y="0"/>
                    </a:moveTo>
                    <a:cubicBezTo>
                      <a:pt x="922159" y="0"/>
                      <a:pt x="1153899" y="164216"/>
                      <a:pt x="1252888" y="398252"/>
                    </a:cubicBezTo>
                    <a:lnTo>
                      <a:pt x="1272439" y="461234"/>
                    </a:lnTo>
                    <a:lnTo>
                      <a:pt x="1235963" y="481032"/>
                    </a:lnTo>
                    <a:lnTo>
                      <a:pt x="1193052" y="516437"/>
                    </a:lnTo>
                    <a:lnTo>
                      <a:pt x="1167554" y="434300"/>
                    </a:lnTo>
                    <a:cubicBezTo>
                      <a:pt x="1082625" y="233504"/>
                      <a:pt x="883798" y="92611"/>
                      <a:pt x="652065" y="92611"/>
                    </a:cubicBezTo>
                    <a:cubicBezTo>
                      <a:pt x="343087" y="92611"/>
                      <a:pt x="92611" y="343087"/>
                      <a:pt x="92611" y="652065"/>
                    </a:cubicBezTo>
                    <a:cubicBezTo>
                      <a:pt x="92611" y="961043"/>
                      <a:pt x="343087" y="1211519"/>
                      <a:pt x="652065" y="1211519"/>
                    </a:cubicBezTo>
                    <a:cubicBezTo>
                      <a:pt x="729309" y="1211519"/>
                      <a:pt x="802897" y="1195864"/>
                      <a:pt x="869830" y="1167554"/>
                    </a:cubicBezTo>
                    <a:lnTo>
                      <a:pt x="940452" y="1129222"/>
                    </a:lnTo>
                    <a:lnTo>
                      <a:pt x="946600" y="1190207"/>
                    </a:lnTo>
                    <a:lnTo>
                      <a:pt x="957380" y="1224933"/>
                    </a:lnTo>
                    <a:lnTo>
                      <a:pt x="905878" y="1252887"/>
                    </a:lnTo>
                    <a:cubicBezTo>
                      <a:pt x="827866" y="1285884"/>
                      <a:pt x="742096" y="1304130"/>
                      <a:pt x="652065" y="1304130"/>
                    </a:cubicBezTo>
                    <a:cubicBezTo>
                      <a:pt x="291940" y="1304130"/>
                      <a:pt x="0" y="1012190"/>
                      <a:pt x="0" y="652065"/>
                    </a:cubicBezTo>
                    <a:cubicBezTo>
                      <a:pt x="0" y="291940"/>
                      <a:pt x="291940" y="0"/>
                      <a:pt x="652065" y="0"/>
                    </a:cubicBezTo>
                    <a:close/>
                  </a:path>
                </a:pathLst>
              </a:custGeom>
              <a:grp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endParaRPr lang="lv-LV" sz="1600"/>
              </a:p>
            </p:txBody>
          </p:sp>
          <p:sp>
            <p:nvSpPr>
              <p:cNvPr id="121" name="Isosceles Triangle 120">
                <a:extLst>
                  <a:ext uri="{FF2B5EF4-FFF2-40B4-BE49-F238E27FC236}">
                    <a16:creationId xmlns:a16="http://schemas.microsoft.com/office/drawing/2014/main" id="{A4B6CF2E-FE3D-0F3A-53AB-081EC1E80CDB}"/>
                  </a:ext>
                </a:extLst>
              </p:cNvPr>
              <p:cNvSpPr/>
              <p:nvPr/>
            </p:nvSpPr>
            <p:spPr>
              <a:xfrm rot="9056281">
                <a:off x="5618090" y="3466237"/>
                <a:ext cx="191675" cy="104106"/>
              </a:xfrm>
              <a:prstGeom prst="triangle">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grpSp>
          <p:nvGrpSpPr>
            <p:cNvPr id="114" name="Group 113">
              <a:extLst>
                <a:ext uri="{FF2B5EF4-FFF2-40B4-BE49-F238E27FC236}">
                  <a16:creationId xmlns:a16="http://schemas.microsoft.com/office/drawing/2014/main" id="{01725567-AA3F-4814-C353-07E52F0A22D0}"/>
                </a:ext>
              </a:extLst>
            </p:cNvPr>
            <p:cNvGrpSpPr/>
            <p:nvPr/>
          </p:nvGrpSpPr>
          <p:grpSpPr>
            <a:xfrm rot="5400000" flipH="1">
              <a:off x="5391181" y="3330730"/>
              <a:ext cx="1359482" cy="1304130"/>
              <a:chOff x="4450283" y="2958923"/>
              <a:chExt cx="1359482" cy="1304130"/>
            </a:xfrm>
            <a:solidFill>
              <a:schemeClr val="accent3"/>
            </a:solidFill>
          </p:grpSpPr>
          <p:sp>
            <p:nvSpPr>
              <p:cNvPr id="118" name="Freeform: Shape 117">
                <a:extLst>
                  <a:ext uri="{FF2B5EF4-FFF2-40B4-BE49-F238E27FC236}">
                    <a16:creationId xmlns:a16="http://schemas.microsoft.com/office/drawing/2014/main" id="{F150E54A-CAF6-6CD8-09D4-0805B27146CE}"/>
                  </a:ext>
                </a:extLst>
              </p:cNvPr>
              <p:cNvSpPr/>
              <p:nvPr/>
            </p:nvSpPr>
            <p:spPr>
              <a:xfrm>
                <a:off x="4450283" y="2958923"/>
                <a:ext cx="1281715" cy="1304130"/>
              </a:xfrm>
              <a:custGeom>
                <a:avLst/>
                <a:gdLst>
                  <a:gd name="connsiteX0" fmla="*/ 1272439 w 1281715"/>
                  <a:gd name="connsiteY0" fmla="*/ 461235 h 1304130"/>
                  <a:gd name="connsiteX1" fmla="*/ 1281715 w 1281715"/>
                  <a:gd name="connsiteY1" fmla="*/ 491120 h 1304130"/>
                  <a:gd name="connsiteX2" fmla="*/ 1200156 w 1281715"/>
                  <a:gd name="connsiteY2" fmla="*/ 539344 h 1304130"/>
                  <a:gd name="connsiteX3" fmla="*/ 1200153 w 1281715"/>
                  <a:gd name="connsiteY3" fmla="*/ 539316 h 1304130"/>
                  <a:gd name="connsiteX4" fmla="*/ 1193052 w 1281715"/>
                  <a:gd name="connsiteY4" fmla="*/ 516438 h 1304130"/>
                  <a:gd name="connsiteX5" fmla="*/ 1235963 w 1281715"/>
                  <a:gd name="connsiteY5" fmla="*/ 481033 h 1304130"/>
                  <a:gd name="connsiteX6" fmla="*/ 652065 w 1281715"/>
                  <a:gd name="connsiteY6" fmla="*/ 0 h 1304130"/>
                  <a:gd name="connsiteX7" fmla="*/ 1252888 w 1281715"/>
                  <a:gd name="connsiteY7" fmla="*/ 398252 h 1304130"/>
                  <a:gd name="connsiteX8" fmla="*/ 1272439 w 1281715"/>
                  <a:gd name="connsiteY8" fmla="*/ 461234 h 1304130"/>
                  <a:gd name="connsiteX9" fmla="*/ 1235963 w 1281715"/>
                  <a:gd name="connsiteY9" fmla="*/ 481032 h 1304130"/>
                  <a:gd name="connsiteX10" fmla="*/ 1193052 w 1281715"/>
                  <a:gd name="connsiteY10" fmla="*/ 516437 h 1304130"/>
                  <a:gd name="connsiteX11" fmla="*/ 1167554 w 1281715"/>
                  <a:gd name="connsiteY11" fmla="*/ 434300 h 1304130"/>
                  <a:gd name="connsiteX12" fmla="*/ 652065 w 1281715"/>
                  <a:gd name="connsiteY12" fmla="*/ 92611 h 1304130"/>
                  <a:gd name="connsiteX13" fmla="*/ 92611 w 1281715"/>
                  <a:gd name="connsiteY13" fmla="*/ 652065 h 1304130"/>
                  <a:gd name="connsiteX14" fmla="*/ 652065 w 1281715"/>
                  <a:gd name="connsiteY14" fmla="*/ 1211519 h 1304130"/>
                  <a:gd name="connsiteX15" fmla="*/ 869830 w 1281715"/>
                  <a:gd name="connsiteY15" fmla="*/ 1167554 h 1304130"/>
                  <a:gd name="connsiteX16" fmla="*/ 940452 w 1281715"/>
                  <a:gd name="connsiteY16" fmla="*/ 1129222 h 1304130"/>
                  <a:gd name="connsiteX17" fmla="*/ 946600 w 1281715"/>
                  <a:gd name="connsiteY17" fmla="*/ 1190207 h 1304130"/>
                  <a:gd name="connsiteX18" fmla="*/ 957380 w 1281715"/>
                  <a:gd name="connsiteY18" fmla="*/ 1224933 h 1304130"/>
                  <a:gd name="connsiteX19" fmla="*/ 905878 w 1281715"/>
                  <a:gd name="connsiteY19" fmla="*/ 1252887 h 1304130"/>
                  <a:gd name="connsiteX20" fmla="*/ 652065 w 1281715"/>
                  <a:gd name="connsiteY20" fmla="*/ 1304130 h 1304130"/>
                  <a:gd name="connsiteX21" fmla="*/ 0 w 1281715"/>
                  <a:gd name="connsiteY21" fmla="*/ 652065 h 1304130"/>
                  <a:gd name="connsiteX22" fmla="*/ 652065 w 1281715"/>
                  <a:gd name="connsiteY22" fmla="*/ 0 h 1304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1715" h="1304130">
                    <a:moveTo>
                      <a:pt x="1272439" y="461235"/>
                    </a:moveTo>
                    <a:lnTo>
                      <a:pt x="1281715" y="491120"/>
                    </a:lnTo>
                    <a:lnTo>
                      <a:pt x="1200156" y="539344"/>
                    </a:lnTo>
                    <a:lnTo>
                      <a:pt x="1200153" y="539316"/>
                    </a:lnTo>
                    <a:lnTo>
                      <a:pt x="1193052" y="516438"/>
                    </a:lnTo>
                    <a:lnTo>
                      <a:pt x="1235963" y="481033"/>
                    </a:lnTo>
                    <a:close/>
                    <a:moveTo>
                      <a:pt x="652065" y="0"/>
                    </a:moveTo>
                    <a:cubicBezTo>
                      <a:pt x="922159" y="0"/>
                      <a:pt x="1153899" y="164216"/>
                      <a:pt x="1252888" y="398252"/>
                    </a:cubicBezTo>
                    <a:lnTo>
                      <a:pt x="1272439" y="461234"/>
                    </a:lnTo>
                    <a:lnTo>
                      <a:pt x="1235963" y="481032"/>
                    </a:lnTo>
                    <a:lnTo>
                      <a:pt x="1193052" y="516437"/>
                    </a:lnTo>
                    <a:lnTo>
                      <a:pt x="1167554" y="434300"/>
                    </a:lnTo>
                    <a:cubicBezTo>
                      <a:pt x="1082625" y="233504"/>
                      <a:pt x="883798" y="92611"/>
                      <a:pt x="652065" y="92611"/>
                    </a:cubicBezTo>
                    <a:cubicBezTo>
                      <a:pt x="343087" y="92611"/>
                      <a:pt x="92611" y="343087"/>
                      <a:pt x="92611" y="652065"/>
                    </a:cubicBezTo>
                    <a:cubicBezTo>
                      <a:pt x="92611" y="961043"/>
                      <a:pt x="343087" y="1211519"/>
                      <a:pt x="652065" y="1211519"/>
                    </a:cubicBezTo>
                    <a:cubicBezTo>
                      <a:pt x="729309" y="1211519"/>
                      <a:pt x="802897" y="1195864"/>
                      <a:pt x="869830" y="1167554"/>
                    </a:cubicBezTo>
                    <a:lnTo>
                      <a:pt x="940452" y="1129222"/>
                    </a:lnTo>
                    <a:lnTo>
                      <a:pt x="946600" y="1190207"/>
                    </a:lnTo>
                    <a:lnTo>
                      <a:pt x="957380" y="1224933"/>
                    </a:lnTo>
                    <a:lnTo>
                      <a:pt x="905878" y="1252887"/>
                    </a:lnTo>
                    <a:cubicBezTo>
                      <a:pt x="827866" y="1285884"/>
                      <a:pt x="742096" y="1304130"/>
                      <a:pt x="652065" y="1304130"/>
                    </a:cubicBezTo>
                    <a:cubicBezTo>
                      <a:pt x="291940" y="1304130"/>
                      <a:pt x="0" y="1012190"/>
                      <a:pt x="0" y="652065"/>
                    </a:cubicBezTo>
                    <a:cubicBezTo>
                      <a:pt x="0" y="291940"/>
                      <a:pt x="291940" y="0"/>
                      <a:pt x="652065" y="0"/>
                    </a:cubicBezTo>
                    <a:close/>
                  </a:path>
                </a:pathLst>
              </a:custGeom>
              <a:grp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endParaRPr lang="lv-LV" sz="1600"/>
              </a:p>
            </p:txBody>
          </p:sp>
          <p:sp>
            <p:nvSpPr>
              <p:cNvPr id="119" name="Isosceles Triangle 118">
                <a:extLst>
                  <a:ext uri="{FF2B5EF4-FFF2-40B4-BE49-F238E27FC236}">
                    <a16:creationId xmlns:a16="http://schemas.microsoft.com/office/drawing/2014/main" id="{5D623F10-DC12-7A6D-BEA5-43C169E2FE3B}"/>
                  </a:ext>
                </a:extLst>
              </p:cNvPr>
              <p:cNvSpPr/>
              <p:nvPr/>
            </p:nvSpPr>
            <p:spPr>
              <a:xfrm rot="9056281">
                <a:off x="5618090" y="3466237"/>
                <a:ext cx="191675" cy="104106"/>
              </a:xfrm>
              <a:prstGeom prst="triangle">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grpSp>
          <p:nvGrpSpPr>
            <p:cNvPr id="115" name="Group 114">
              <a:extLst>
                <a:ext uri="{FF2B5EF4-FFF2-40B4-BE49-F238E27FC236}">
                  <a16:creationId xmlns:a16="http://schemas.microsoft.com/office/drawing/2014/main" id="{A65B5391-727D-8218-72D3-212247B17253}"/>
                </a:ext>
              </a:extLst>
            </p:cNvPr>
            <p:cNvGrpSpPr/>
            <p:nvPr/>
          </p:nvGrpSpPr>
          <p:grpSpPr>
            <a:xfrm rot="7200000">
              <a:off x="6373942" y="2958924"/>
              <a:ext cx="1359482" cy="1304130"/>
              <a:chOff x="4450283" y="2958923"/>
              <a:chExt cx="1359482" cy="1304130"/>
            </a:xfrm>
            <a:solidFill>
              <a:schemeClr val="accent3"/>
            </a:solidFill>
          </p:grpSpPr>
          <p:sp>
            <p:nvSpPr>
              <p:cNvPr id="116" name="Freeform: Shape 115">
                <a:extLst>
                  <a:ext uri="{FF2B5EF4-FFF2-40B4-BE49-F238E27FC236}">
                    <a16:creationId xmlns:a16="http://schemas.microsoft.com/office/drawing/2014/main" id="{0911658D-4F8D-7751-7C9D-2BB60E57CA06}"/>
                  </a:ext>
                </a:extLst>
              </p:cNvPr>
              <p:cNvSpPr/>
              <p:nvPr/>
            </p:nvSpPr>
            <p:spPr>
              <a:xfrm>
                <a:off x="4450283" y="2958923"/>
                <a:ext cx="1281715" cy="1304130"/>
              </a:xfrm>
              <a:custGeom>
                <a:avLst/>
                <a:gdLst>
                  <a:gd name="connsiteX0" fmla="*/ 1272439 w 1281715"/>
                  <a:gd name="connsiteY0" fmla="*/ 461235 h 1304130"/>
                  <a:gd name="connsiteX1" fmla="*/ 1281715 w 1281715"/>
                  <a:gd name="connsiteY1" fmla="*/ 491120 h 1304130"/>
                  <a:gd name="connsiteX2" fmla="*/ 1200156 w 1281715"/>
                  <a:gd name="connsiteY2" fmla="*/ 539344 h 1304130"/>
                  <a:gd name="connsiteX3" fmla="*/ 1200153 w 1281715"/>
                  <a:gd name="connsiteY3" fmla="*/ 539316 h 1304130"/>
                  <a:gd name="connsiteX4" fmla="*/ 1193052 w 1281715"/>
                  <a:gd name="connsiteY4" fmla="*/ 516438 h 1304130"/>
                  <a:gd name="connsiteX5" fmla="*/ 1235963 w 1281715"/>
                  <a:gd name="connsiteY5" fmla="*/ 481033 h 1304130"/>
                  <a:gd name="connsiteX6" fmla="*/ 652065 w 1281715"/>
                  <a:gd name="connsiteY6" fmla="*/ 0 h 1304130"/>
                  <a:gd name="connsiteX7" fmla="*/ 1252888 w 1281715"/>
                  <a:gd name="connsiteY7" fmla="*/ 398252 h 1304130"/>
                  <a:gd name="connsiteX8" fmla="*/ 1272439 w 1281715"/>
                  <a:gd name="connsiteY8" fmla="*/ 461234 h 1304130"/>
                  <a:gd name="connsiteX9" fmla="*/ 1235963 w 1281715"/>
                  <a:gd name="connsiteY9" fmla="*/ 481032 h 1304130"/>
                  <a:gd name="connsiteX10" fmla="*/ 1193052 w 1281715"/>
                  <a:gd name="connsiteY10" fmla="*/ 516437 h 1304130"/>
                  <a:gd name="connsiteX11" fmla="*/ 1167554 w 1281715"/>
                  <a:gd name="connsiteY11" fmla="*/ 434300 h 1304130"/>
                  <a:gd name="connsiteX12" fmla="*/ 652065 w 1281715"/>
                  <a:gd name="connsiteY12" fmla="*/ 92611 h 1304130"/>
                  <a:gd name="connsiteX13" fmla="*/ 92611 w 1281715"/>
                  <a:gd name="connsiteY13" fmla="*/ 652065 h 1304130"/>
                  <a:gd name="connsiteX14" fmla="*/ 652065 w 1281715"/>
                  <a:gd name="connsiteY14" fmla="*/ 1211519 h 1304130"/>
                  <a:gd name="connsiteX15" fmla="*/ 869830 w 1281715"/>
                  <a:gd name="connsiteY15" fmla="*/ 1167554 h 1304130"/>
                  <a:gd name="connsiteX16" fmla="*/ 940452 w 1281715"/>
                  <a:gd name="connsiteY16" fmla="*/ 1129222 h 1304130"/>
                  <a:gd name="connsiteX17" fmla="*/ 946600 w 1281715"/>
                  <a:gd name="connsiteY17" fmla="*/ 1190207 h 1304130"/>
                  <a:gd name="connsiteX18" fmla="*/ 957380 w 1281715"/>
                  <a:gd name="connsiteY18" fmla="*/ 1224933 h 1304130"/>
                  <a:gd name="connsiteX19" fmla="*/ 905878 w 1281715"/>
                  <a:gd name="connsiteY19" fmla="*/ 1252887 h 1304130"/>
                  <a:gd name="connsiteX20" fmla="*/ 652065 w 1281715"/>
                  <a:gd name="connsiteY20" fmla="*/ 1304130 h 1304130"/>
                  <a:gd name="connsiteX21" fmla="*/ 0 w 1281715"/>
                  <a:gd name="connsiteY21" fmla="*/ 652065 h 1304130"/>
                  <a:gd name="connsiteX22" fmla="*/ 652065 w 1281715"/>
                  <a:gd name="connsiteY22" fmla="*/ 0 h 1304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1715" h="1304130">
                    <a:moveTo>
                      <a:pt x="1272439" y="461235"/>
                    </a:moveTo>
                    <a:lnTo>
                      <a:pt x="1281715" y="491120"/>
                    </a:lnTo>
                    <a:lnTo>
                      <a:pt x="1200156" y="539344"/>
                    </a:lnTo>
                    <a:lnTo>
                      <a:pt x="1200153" y="539316"/>
                    </a:lnTo>
                    <a:lnTo>
                      <a:pt x="1193052" y="516438"/>
                    </a:lnTo>
                    <a:lnTo>
                      <a:pt x="1235963" y="481033"/>
                    </a:lnTo>
                    <a:close/>
                    <a:moveTo>
                      <a:pt x="652065" y="0"/>
                    </a:moveTo>
                    <a:cubicBezTo>
                      <a:pt x="922159" y="0"/>
                      <a:pt x="1153899" y="164216"/>
                      <a:pt x="1252888" y="398252"/>
                    </a:cubicBezTo>
                    <a:lnTo>
                      <a:pt x="1272439" y="461234"/>
                    </a:lnTo>
                    <a:lnTo>
                      <a:pt x="1235963" y="481032"/>
                    </a:lnTo>
                    <a:lnTo>
                      <a:pt x="1193052" y="516437"/>
                    </a:lnTo>
                    <a:lnTo>
                      <a:pt x="1167554" y="434300"/>
                    </a:lnTo>
                    <a:cubicBezTo>
                      <a:pt x="1082625" y="233504"/>
                      <a:pt x="883798" y="92611"/>
                      <a:pt x="652065" y="92611"/>
                    </a:cubicBezTo>
                    <a:cubicBezTo>
                      <a:pt x="343087" y="92611"/>
                      <a:pt x="92611" y="343087"/>
                      <a:pt x="92611" y="652065"/>
                    </a:cubicBezTo>
                    <a:cubicBezTo>
                      <a:pt x="92611" y="961043"/>
                      <a:pt x="343087" y="1211519"/>
                      <a:pt x="652065" y="1211519"/>
                    </a:cubicBezTo>
                    <a:cubicBezTo>
                      <a:pt x="729309" y="1211519"/>
                      <a:pt x="802897" y="1195864"/>
                      <a:pt x="869830" y="1167554"/>
                    </a:cubicBezTo>
                    <a:lnTo>
                      <a:pt x="940452" y="1129222"/>
                    </a:lnTo>
                    <a:lnTo>
                      <a:pt x="946600" y="1190207"/>
                    </a:lnTo>
                    <a:lnTo>
                      <a:pt x="957380" y="1224933"/>
                    </a:lnTo>
                    <a:lnTo>
                      <a:pt x="905878" y="1252887"/>
                    </a:lnTo>
                    <a:cubicBezTo>
                      <a:pt x="827866" y="1285884"/>
                      <a:pt x="742096" y="1304130"/>
                      <a:pt x="652065" y="1304130"/>
                    </a:cubicBezTo>
                    <a:cubicBezTo>
                      <a:pt x="291940" y="1304130"/>
                      <a:pt x="0" y="1012190"/>
                      <a:pt x="0" y="652065"/>
                    </a:cubicBezTo>
                    <a:cubicBezTo>
                      <a:pt x="0" y="291940"/>
                      <a:pt x="291940" y="0"/>
                      <a:pt x="652065" y="0"/>
                    </a:cubicBezTo>
                    <a:close/>
                  </a:path>
                </a:pathLst>
              </a:custGeom>
              <a:grp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endParaRPr lang="lv-LV" sz="1600"/>
              </a:p>
            </p:txBody>
          </p:sp>
          <p:sp>
            <p:nvSpPr>
              <p:cNvPr id="117" name="Isosceles Triangle 116">
                <a:extLst>
                  <a:ext uri="{FF2B5EF4-FFF2-40B4-BE49-F238E27FC236}">
                    <a16:creationId xmlns:a16="http://schemas.microsoft.com/office/drawing/2014/main" id="{720C14AF-2E3B-5595-0CE1-AA89F0821800}"/>
                  </a:ext>
                </a:extLst>
              </p:cNvPr>
              <p:cNvSpPr/>
              <p:nvPr/>
            </p:nvSpPr>
            <p:spPr>
              <a:xfrm rot="9056281">
                <a:off x="5618090" y="3466237"/>
                <a:ext cx="191675" cy="104106"/>
              </a:xfrm>
              <a:prstGeom prst="triangle">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grpSp>
      <p:sp>
        <p:nvSpPr>
          <p:cNvPr id="122" name="Content Placeholder 2">
            <a:extLst>
              <a:ext uri="{FF2B5EF4-FFF2-40B4-BE49-F238E27FC236}">
                <a16:creationId xmlns:a16="http://schemas.microsoft.com/office/drawing/2014/main" id="{6EC1D153-5C15-3EAE-F858-8A50316E93DD}"/>
              </a:ext>
            </a:extLst>
          </p:cNvPr>
          <p:cNvSpPr txBox="1">
            <a:spLocks/>
          </p:cNvSpPr>
          <p:nvPr/>
        </p:nvSpPr>
        <p:spPr>
          <a:xfrm>
            <a:off x="8538918" y="3320532"/>
            <a:ext cx="952393" cy="340336"/>
          </a:xfrm>
          <a:prstGeom prst="rect">
            <a:avLst/>
          </a:prstGeom>
          <a:noFill/>
        </p:spPr>
        <p:txBody>
          <a:bodyPr vert="horz" lIns="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spcAft>
                <a:spcPts val="0"/>
              </a:spcAft>
            </a:pPr>
            <a:r>
              <a:rPr lang="lv-LV" sz="1400" b="0">
                <a:solidFill>
                  <a:schemeClr val="tx1"/>
                </a:solidFill>
              </a:rPr>
              <a:t>Kur </a:t>
            </a:r>
          </a:p>
          <a:p>
            <a:pPr algn="ctr">
              <a:spcAft>
                <a:spcPts val="0"/>
              </a:spcAft>
            </a:pPr>
            <a:r>
              <a:rPr lang="lv-LV" sz="1400" b="0">
                <a:solidFill>
                  <a:schemeClr val="tx1"/>
                </a:solidFill>
              </a:rPr>
              <a:t>noticis negadī-jums</a:t>
            </a:r>
          </a:p>
        </p:txBody>
      </p:sp>
      <p:sp>
        <p:nvSpPr>
          <p:cNvPr id="123" name="Content Placeholder 2">
            <a:extLst>
              <a:ext uri="{FF2B5EF4-FFF2-40B4-BE49-F238E27FC236}">
                <a16:creationId xmlns:a16="http://schemas.microsoft.com/office/drawing/2014/main" id="{53FE2AD4-6665-1E07-01D8-F6C62B580128}"/>
              </a:ext>
            </a:extLst>
          </p:cNvPr>
          <p:cNvSpPr txBox="1">
            <a:spLocks/>
          </p:cNvSpPr>
          <p:nvPr/>
        </p:nvSpPr>
        <p:spPr>
          <a:xfrm>
            <a:off x="9615810" y="3791223"/>
            <a:ext cx="597575" cy="340336"/>
          </a:xfrm>
          <a:prstGeom prst="rect">
            <a:avLst/>
          </a:prstGeom>
          <a:noFill/>
        </p:spPr>
        <p:txBody>
          <a:bodyPr vert="horz" lIns="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spcAft>
                <a:spcPts val="0"/>
              </a:spcAft>
            </a:pPr>
            <a:r>
              <a:rPr lang="lv-LV" sz="1400" b="0">
                <a:solidFill>
                  <a:schemeClr val="tx1"/>
                </a:solidFill>
              </a:rPr>
              <a:t>Kas noticis</a:t>
            </a:r>
          </a:p>
        </p:txBody>
      </p:sp>
      <p:sp>
        <p:nvSpPr>
          <p:cNvPr id="124" name="Content Placeholder 2">
            <a:extLst>
              <a:ext uri="{FF2B5EF4-FFF2-40B4-BE49-F238E27FC236}">
                <a16:creationId xmlns:a16="http://schemas.microsoft.com/office/drawing/2014/main" id="{11BDF5B2-2755-2424-E4C1-A590DA713569}"/>
              </a:ext>
            </a:extLst>
          </p:cNvPr>
          <p:cNvSpPr txBox="1">
            <a:spLocks/>
          </p:cNvSpPr>
          <p:nvPr/>
        </p:nvSpPr>
        <p:spPr>
          <a:xfrm>
            <a:off x="10536769" y="3338604"/>
            <a:ext cx="897041" cy="340336"/>
          </a:xfrm>
          <a:prstGeom prst="rect">
            <a:avLst/>
          </a:prstGeom>
          <a:noFill/>
        </p:spPr>
        <p:txBody>
          <a:bodyPr vert="horz" lIns="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spcAft>
                <a:spcPts val="0"/>
              </a:spcAft>
            </a:pPr>
            <a:r>
              <a:rPr lang="lv-LV" sz="1400" b="0">
                <a:solidFill>
                  <a:schemeClr val="tx1"/>
                </a:solidFill>
              </a:rPr>
              <a:t>Cik </a:t>
            </a:r>
          </a:p>
          <a:p>
            <a:pPr algn="ctr">
              <a:spcAft>
                <a:spcPts val="0"/>
              </a:spcAft>
            </a:pPr>
            <a:r>
              <a:rPr lang="lv-LV" sz="1400" b="0">
                <a:solidFill>
                  <a:schemeClr val="tx1"/>
                </a:solidFill>
              </a:rPr>
              <a:t>cietušo vai saslimušo</a:t>
            </a:r>
          </a:p>
        </p:txBody>
      </p:sp>
      <p:sp>
        <p:nvSpPr>
          <p:cNvPr id="125" name="Content Placeholder 2">
            <a:extLst>
              <a:ext uri="{FF2B5EF4-FFF2-40B4-BE49-F238E27FC236}">
                <a16:creationId xmlns:a16="http://schemas.microsoft.com/office/drawing/2014/main" id="{1734212E-2EA2-B135-55B3-866F1CF570E1}"/>
              </a:ext>
            </a:extLst>
          </p:cNvPr>
          <p:cNvSpPr txBox="1">
            <a:spLocks/>
          </p:cNvSpPr>
          <p:nvPr/>
        </p:nvSpPr>
        <p:spPr>
          <a:xfrm>
            <a:off x="4413051" y="3057578"/>
            <a:ext cx="3448249" cy="1151556"/>
          </a:xfrm>
          <a:prstGeom prst="rect">
            <a:avLst/>
          </a:prstGeom>
          <a:noFill/>
        </p:spPr>
        <p:txBody>
          <a:bodyPr vert="horz" lIns="0" tIns="0" rIns="0" bIns="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285750" indent="-285750">
              <a:spcAft>
                <a:spcPts val="600"/>
              </a:spcAft>
              <a:buBlip>
                <a:blip r:embed="rId6"/>
              </a:buBlip>
            </a:pPr>
            <a:r>
              <a:rPr lang="lv-LV" sz="1400" b="0">
                <a:solidFill>
                  <a:schemeClr val="tx1"/>
                </a:solidFill>
              </a:rPr>
              <a:t>113</a:t>
            </a:r>
          </a:p>
          <a:p>
            <a:pPr marL="285750" indent="-285750">
              <a:spcAft>
                <a:spcPts val="600"/>
              </a:spcAft>
              <a:buBlip>
                <a:blip r:embed="rId6"/>
              </a:buBlip>
            </a:pPr>
            <a:r>
              <a:rPr lang="lv-LV" sz="1400" b="0">
                <a:solidFill>
                  <a:schemeClr val="tx1"/>
                </a:solidFill>
              </a:rPr>
              <a:t>112</a:t>
            </a:r>
          </a:p>
          <a:p>
            <a:pPr marL="285750" indent="-285750">
              <a:spcAft>
                <a:spcPts val="600"/>
              </a:spcAft>
              <a:buBlip>
                <a:blip r:embed="rId6"/>
              </a:buBlip>
            </a:pPr>
            <a:r>
              <a:rPr lang="lv-LV" sz="1400" b="0">
                <a:solidFill>
                  <a:schemeClr val="tx1"/>
                </a:solidFill>
              </a:rPr>
              <a:t>Mobilās lietotnes, piemēram, eVeselībasPunkts, Mana Drošība, </a:t>
            </a:r>
            <a:br>
              <a:rPr lang="lv-LV" sz="1400" b="0">
                <a:solidFill>
                  <a:schemeClr val="tx1"/>
                </a:solidFill>
              </a:rPr>
            </a:br>
            <a:r>
              <a:rPr lang="lv-LV" sz="1400" b="0">
                <a:solidFill>
                  <a:schemeClr val="tx1"/>
                </a:solidFill>
              </a:rPr>
              <a:t>112 Latvija  </a:t>
            </a:r>
          </a:p>
        </p:txBody>
      </p:sp>
      <p:sp>
        <p:nvSpPr>
          <p:cNvPr id="126" name="Google Shape;771;p79">
            <a:extLst>
              <a:ext uri="{FF2B5EF4-FFF2-40B4-BE49-F238E27FC236}">
                <a16:creationId xmlns:a16="http://schemas.microsoft.com/office/drawing/2014/main" id="{A786E605-28E8-780E-8339-3A6A775DA0C0}"/>
              </a:ext>
            </a:extLst>
          </p:cNvPr>
          <p:cNvSpPr/>
          <p:nvPr/>
        </p:nvSpPr>
        <p:spPr>
          <a:xfrm>
            <a:off x="3501903" y="1927275"/>
            <a:ext cx="360000" cy="360000"/>
          </a:xfrm>
          <a:custGeom>
            <a:avLst/>
            <a:gdLst/>
            <a:ahLst/>
            <a:cxnLst/>
            <a:rect l="l" t="t" r="r" b="b"/>
            <a:pathLst>
              <a:path w="576" h="576" extrusionOk="0">
                <a:moveTo>
                  <a:pt x="553" y="552"/>
                </a:moveTo>
                <a:cubicBezTo>
                  <a:pt x="477" y="552"/>
                  <a:pt x="477" y="552"/>
                  <a:pt x="477" y="552"/>
                </a:cubicBezTo>
                <a:cubicBezTo>
                  <a:pt x="464" y="458"/>
                  <a:pt x="464" y="458"/>
                  <a:pt x="464" y="458"/>
                </a:cubicBezTo>
                <a:cubicBezTo>
                  <a:pt x="456" y="433"/>
                  <a:pt x="437" y="412"/>
                  <a:pt x="412" y="404"/>
                </a:cubicBezTo>
                <a:cubicBezTo>
                  <a:pt x="338" y="379"/>
                  <a:pt x="338" y="379"/>
                  <a:pt x="338" y="379"/>
                </a:cubicBezTo>
                <a:cubicBezTo>
                  <a:pt x="329" y="376"/>
                  <a:pt x="319" y="378"/>
                  <a:pt x="312" y="385"/>
                </a:cubicBezTo>
                <a:cubicBezTo>
                  <a:pt x="307" y="391"/>
                  <a:pt x="307" y="391"/>
                  <a:pt x="307" y="391"/>
                </a:cubicBezTo>
                <a:cubicBezTo>
                  <a:pt x="302" y="396"/>
                  <a:pt x="295" y="399"/>
                  <a:pt x="288" y="399"/>
                </a:cubicBezTo>
                <a:cubicBezTo>
                  <a:pt x="282" y="399"/>
                  <a:pt x="276" y="396"/>
                  <a:pt x="270" y="391"/>
                </a:cubicBezTo>
                <a:cubicBezTo>
                  <a:pt x="265" y="385"/>
                  <a:pt x="265" y="385"/>
                  <a:pt x="265" y="385"/>
                </a:cubicBezTo>
                <a:cubicBezTo>
                  <a:pt x="258" y="378"/>
                  <a:pt x="248" y="376"/>
                  <a:pt x="238" y="379"/>
                </a:cubicBezTo>
                <a:cubicBezTo>
                  <a:pt x="209" y="389"/>
                  <a:pt x="209" y="389"/>
                  <a:pt x="209" y="389"/>
                </a:cubicBezTo>
                <a:cubicBezTo>
                  <a:pt x="204" y="342"/>
                  <a:pt x="204" y="342"/>
                  <a:pt x="204" y="342"/>
                </a:cubicBezTo>
                <a:cubicBezTo>
                  <a:pt x="203" y="341"/>
                  <a:pt x="203" y="341"/>
                  <a:pt x="203" y="341"/>
                </a:cubicBezTo>
                <a:cubicBezTo>
                  <a:pt x="198" y="324"/>
                  <a:pt x="185" y="310"/>
                  <a:pt x="168" y="304"/>
                </a:cubicBezTo>
                <a:cubicBezTo>
                  <a:pt x="123" y="289"/>
                  <a:pt x="123" y="289"/>
                  <a:pt x="123" y="289"/>
                </a:cubicBezTo>
                <a:cubicBezTo>
                  <a:pt x="116" y="287"/>
                  <a:pt x="108" y="289"/>
                  <a:pt x="103" y="294"/>
                </a:cubicBezTo>
                <a:cubicBezTo>
                  <a:pt x="99" y="297"/>
                  <a:pt x="99" y="297"/>
                  <a:pt x="99" y="297"/>
                </a:cubicBezTo>
                <a:cubicBezTo>
                  <a:pt x="97" y="300"/>
                  <a:pt x="94" y="301"/>
                  <a:pt x="91" y="301"/>
                </a:cubicBezTo>
                <a:cubicBezTo>
                  <a:pt x="88" y="301"/>
                  <a:pt x="85" y="300"/>
                  <a:pt x="83" y="297"/>
                </a:cubicBezTo>
                <a:cubicBezTo>
                  <a:pt x="79" y="294"/>
                  <a:pt x="79" y="294"/>
                  <a:pt x="79" y="294"/>
                </a:cubicBezTo>
                <a:cubicBezTo>
                  <a:pt x="74" y="289"/>
                  <a:pt x="66" y="287"/>
                  <a:pt x="59" y="289"/>
                </a:cubicBezTo>
                <a:cubicBezTo>
                  <a:pt x="24" y="301"/>
                  <a:pt x="24" y="301"/>
                  <a:pt x="24" y="301"/>
                </a:cubicBezTo>
                <a:cubicBezTo>
                  <a:pt x="24" y="23"/>
                  <a:pt x="24" y="23"/>
                  <a:pt x="24" y="23"/>
                </a:cubicBezTo>
                <a:cubicBezTo>
                  <a:pt x="244" y="23"/>
                  <a:pt x="244" y="23"/>
                  <a:pt x="244" y="23"/>
                </a:cubicBezTo>
                <a:cubicBezTo>
                  <a:pt x="244" y="0"/>
                  <a:pt x="244" y="0"/>
                  <a:pt x="244" y="0"/>
                </a:cubicBezTo>
                <a:cubicBezTo>
                  <a:pt x="0" y="0"/>
                  <a:pt x="0" y="0"/>
                  <a:pt x="0" y="0"/>
                </a:cubicBezTo>
                <a:cubicBezTo>
                  <a:pt x="0" y="576"/>
                  <a:pt x="0" y="576"/>
                  <a:pt x="0" y="576"/>
                </a:cubicBezTo>
                <a:cubicBezTo>
                  <a:pt x="121" y="576"/>
                  <a:pt x="121" y="576"/>
                  <a:pt x="121" y="576"/>
                </a:cubicBezTo>
                <a:cubicBezTo>
                  <a:pt x="135" y="465"/>
                  <a:pt x="135" y="465"/>
                  <a:pt x="135" y="465"/>
                </a:cubicBezTo>
                <a:cubicBezTo>
                  <a:pt x="140" y="447"/>
                  <a:pt x="155" y="432"/>
                  <a:pt x="173" y="426"/>
                </a:cubicBezTo>
                <a:cubicBezTo>
                  <a:pt x="246" y="401"/>
                  <a:pt x="246" y="401"/>
                  <a:pt x="246" y="401"/>
                </a:cubicBezTo>
                <a:cubicBezTo>
                  <a:pt x="247" y="401"/>
                  <a:pt x="247" y="401"/>
                  <a:pt x="247" y="401"/>
                </a:cubicBezTo>
                <a:cubicBezTo>
                  <a:pt x="247" y="401"/>
                  <a:pt x="247" y="401"/>
                  <a:pt x="247" y="401"/>
                </a:cubicBezTo>
                <a:cubicBezTo>
                  <a:pt x="253" y="408"/>
                  <a:pt x="253" y="408"/>
                  <a:pt x="253" y="408"/>
                </a:cubicBezTo>
                <a:cubicBezTo>
                  <a:pt x="263" y="417"/>
                  <a:pt x="276" y="423"/>
                  <a:pt x="288" y="423"/>
                </a:cubicBezTo>
                <a:cubicBezTo>
                  <a:pt x="301" y="423"/>
                  <a:pt x="314" y="417"/>
                  <a:pt x="324" y="408"/>
                </a:cubicBezTo>
                <a:cubicBezTo>
                  <a:pt x="329" y="402"/>
                  <a:pt x="329" y="402"/>
                  <a:pt x="329" y="402"/>
                </a:cubicBezTo>
                <a:cubicBezTo>
                  <a:pt x="329" y="401"/>
                  <a:pt x="329" y="401"/>
                  <a:pt x="330" y="401"/>
                </a:cubicBezTo>
                <a:cubicBezTo>
                  <a:pt x="330" y="401"/>
                  <a:pt x="330" y="401"/>
                  <a:pt x="330" y="401"/>
                </a:cubicBezTo>
                <a:cubicBezTo>
                  <a:pt x="404" y="426"/>
                  <a:pt x="404" y="426"/>
                  <a:pt x="404" y="426"/>
                </a:cubicBezTo>
                <a:cubicBezTo>
                  <a:pt x="422" y="432"/>
                  <a:pt x="436" y="447"/>
                  <a:pt x="441" y="463"/>
                </a:cubicBezTo>
                <a:cubicBezTo>
                  <a:pt x="456" y="576"/>
                  <a:pt x="456" y="576"/>
                  <a:pt x="456" y="576"/>
                </a:cubicBezTo>
                <a:cubicBezTo>
                  <a:pt x="576" y="576"/>
                  <a:pt x="576" y="576"/>
                  <a:pt x="576" y="576"/>
                </a:cubicBezTo>
                <a:cubicBezTo>
                  <a:pt x="576" y="266"/>
                  <a:pt x="576" y="266"/>
                  <a:pt x="576" y="266"/>
                </a:cubicBezTo>
                <a:cubicBezTo>
                  <a:pt x="553" y="266"/>
                  <a:pt x="553" y="266"/>
                  <a:pt x="553" y="266"/>
                </a:cubicBezTo>
                <a:lnTo>
                  <a:pt x="553" y="552"/>
                </a:lnTo>
                <a:close/>
                <a:moveTo>
                  <a:pt x="100" y="552"/>
                </a:moveTo>
                <a:cubicBezTo>
                  <a:pt x="24" y="552"/>
                  <a:pt x="24" y="552"/>
                  <a:pt x="24" y="552"/>
                </a:cubicBezTo>
                <a:cubicBezTo>
                  <a:pt x="24" y="326"/>
                  <a:pt x="24" y="326"/>
                  <a:pt x="24" y="326"/>
                </a:cubicBezTo>
                <a:cubicBezTo>
                  <a:pt x="64" y="313"/>
                  <a:pt x="64" y="313"/>
                  <a:pt x="64" y="313"/>
                </a:cubicBezTo>
                <a:cubicBezTo>
                  <a:pt x="66" y="314"/>
                  <a:pt x="66" y="314"/>
                  <a:pt x="66" y="314"/>
                </a:cubicBezTo>
                <a:cubicBezTo>
                  <a:pt x="72" y="321"/>
                  <a:pt x="82" y="324"/>
                  <a:pt x="91" y="324"/>
                </a:cubicBezTo>
                <a:cubicBezTo>
                  <a:pt x="101" y="324"/>
                  <a:pt x="109" y="321"/>
                  <a:pt x="116" y="314"/>
                </a:cubicBezTo>
                <a:cubicBezTo>
                  <a:pt x="118" y="313"/>
                  <a:pt x="118" y="313"/>
                  <a:pt x="118" y="313"/>
                </a:cubicBezTo>
                <a:cubicBezTo>
                  <a:pt x="160" y="326"/>
                  <a:pt x="160" y="326"/>
                  <a:pt x="160" y="326"/>
                </a:cubicBezTo>
                <a:cubicBezTo>
                  <a:pt x="169" y="330"/>
                  <a:pt x="177" y="338"/>
                  <a:pt x="180" y="347"/>
                </a:cubicBezTo>
                <a:cubicBezTo>
                  <a:pt x="186" y="396"/>
                  <a:pt x="186" y="396"/>
                  <a:pt x="186" y="396"/>
                </a:cubicBezTo>
                <a:cubicBezTo>
                  <a:pt x="165" y="404"/>
                  <a:pt x="165" y="404"/>
                  <a:pt x="165" y="404"/>
                </a:cubicBezTo>
                <a:cubicBezTo>
                  <a:pt x="139" y="413"/>
                  <a:pt x="120" y="433"/>
                  <a:pt x="112" y="460"/>
                </a:cubicBezTo>
                <a:lnTo>
                  <a:pt x="100" y="552"/>
                </a:lnTo>
                <a:close/>
                <a:moveTo>
                  <a:pt x="289" y="186"/>
                </a:moveTo>
                <a:cubicBezTo>
                  <a:pt x="252" y="186"/>
                  <a:pt x="222" y="219"/>
                  <a:pt x="222" y="260"/>
                </a:cubicBezTo>
                <a:cubicBezTo>
                  <a:pt x="222" y="301"/>
                  <a:pt x="229" y="329"/>
                  <a:pt x="244" y="345"/>
                </a:cubicBezTo>
                <a:cubicBezTo>
                  <a:pt x="257" y="360"/>
                  <a:pt x="268" y="371"/>
                  <a:pt x="289" y="371"/>
                </a:cubicBezTo>
                <a:cubicBezTo>
                  <a:pt x="311" y="371"/>
                  <a:pt x="323" y="358"/>
                  <a:pt x="334" y="345"/>
                </a:cubicBezTo>
                <a:cubicBezTo>
                  <a:pt x="349" y="329"/>
                  <a:pt x="357" y="300"/>
                  <a:pt x="357" y="260"/>
                </a:cubicBezTo>
                <a:cubicBezTo>
                  <a:pt x="357" y="219"/>
                  <a:pt x="326" y="186"/>
                  <a:pt x="289" y="186"/>
                </a:cubicBezTo>
                <a:close/>
                <a:moveTo>
                  <a:pt x="289" y="347"/>
                </a:moveTo>
                <a:cubicBezTo>
                  <a:pt x="280" y="347"/>
                  <a:pt x="274" y="343"/>
                  <a:pt x="262" y="330"/>
                </a:cubicBezTo>
                <a:cubicBezTo>
                  <a:pt x="251" y="318"/>
                  <a:pt x="246" y="294"/>
                  <a:pt x="246" y="260"/>
                </a:cubicBezTo>
                <a:cubicBezTo>
                  <a:pt x="246" y="232"/>
                  <a:pt x="265" y="210"/>
                  <a:pt x="289" y="210"/>
                </a:cubicBezTo>
                <a:cubicBezTo>
                  <a:pt x="313" y="210"/>
                  <a:pt x="333" y="232"/>
                  <a:pt x="333" y="260"/>
                </a:cubicBezTo>
                <a:cubicBezTo>
                  <a:pt x="333" y="292"/>
                  <a:pt x="327" y="317"/>
                  <a:pt x="317" y="330"/>
                </a:cubicBezTo>
                <a:cubicBezTo>
                  <a:pt x="304" y="343"/>
                  <a:pt x="299" y="347"/>
                  <a:pt x="289" y="347"/>
                </a:cubicBezTo>
                <a:close/>
                <a:moveTo>
                  <a:pt x="46" y="206"/>
                </a:moveTo>
                <a:cubicBezTo>
                  <a:pt x="46" y="232"/>
                  <a:pt x="51" y="251"/>
                  <a:pt x="61" y="261"/>
                </a:cubicBezTo>
                <a:cubicBezTo>
                  <a:pt x="69" y="271"/>
                  <a:pt x="77" y="279"/>
                  <a:pt x="92" y="279"/>
                </a:cubicBezTo>
                <a:cubicBezTo>
                  <a:pt x="107" y="279"/>
                  <a:pt x="116" y="270"/>
                  <a:pt x="123" y="261"/>
                </a:cubicBezTo>
                <a:cubicBezTo>
                  <a:pt x="133" y="251"/>
                  <a:pt x="138" y="232"/>
                  <a:pt x="138" y="206"/>
                </a:cubicBezTo>
                <a:cubicBezTo>
                  <a:pt x="138" y="178"/>
                  <a:pt x="118" y="156"/>
                  <a:pt x="92" y="156"/>
                </a:cubicBezTo>
                <a:cubicBezTo>
                  <a:pt x="66" y="156"/>
                  <a:pt x="46" y="178"/>
                  <a:pt x="46" y="206"/>
                </a:cubicBezTo>
                <a:close/>
                <a:moveTo>
                  <a:pt x="92" y="255"/>
                </a:moveTo>
                <a:cubicBezTo>
                  <a:pt x="88" y="255"/>
                  <a:pt x="86" y="254"/>
                  <a:pt x="79" y="246"/>
                </a:cubicBezTo>
                <a:cubicBezTo>
                  <a:pt x="73" y="239"/>
                  <a:pt x="70" y="226"/>
                  <a:pt x="70" y="206"/>
                </a:cubicBezTo>
                <a:cubicBezTo>
                  <a:pt x="70" y="191"/>
                  <a:pt x="79" y="180"/>
                  <a:pt x="92" y="180"/>
                </a:cubicBezTo>
                <a:cubicBezTo>
                  <a:pt x="104" y="180"/>
                  <a:pt x="114" y="192"/>
                  <a:pt x="114" y="206"/>
                </a:cubicBezTo>
                <a:cubicBezTo>
                  <a:pt x="114" y="224"/>
                  <a:pt x="111" y="239"/>
                  <a:pt x="106" y="246"/>
                </a:cubicBezTo>
                <a:cubicBezTo>
                  <a:pt x="98" y="254"/>
                  <a:pt x="95" y="255"/>
                  <a:pt x="92" y="255"/>
                </a:cubicBezTo>
                <a:close/>
                <a:moveTo>
                  <a:pt x="576" y="0"/>
                </a:moveTo>
                <a:cubicBezTo>
                  <a:pt x="576" y="237"/>
                  <a:pt x="576" y="237"/>
                  <a:pt x="576" y="237"/>
                </a:cubicBezTo>
                <a:cubicBezTo>
                  <a:pt x="522" y="237"/>
                  <a:pt x="522" y="237"/>
                  <a:pt x="522" y="237"/>
                </a:cubicBezTo>
                <a:cubicBezTo>
                  <a:pt x="423" y="334"/>
                  <a:pt x="423" y="334"/>
                  <a:pt x="423" y="334"/>
                </a:cubicBezTo>
                <a:cubicBezTo>
                  <a:pt x="423" y="237"/>
                  <a:pt x="423" y="237"/>
                  <a:pt x="423" y="237"/>
                </a:cubicBezTo>
                <a:cubicBezTo>
                  <a:pt x="381" y="237"/>
                  <a:pt x="381" y="237"/>
                  <a:pt x="381" y="237"/>
                </a:cubicBezTo>
                <a:cubicBezTo>
                  <a:pt x="381" y="214"/>
                  <a:pt x="381" y="214"/>
                  <a:pt x="381" y="214"/>
                </a:cubicBezTo>
                <a:cubicBezTo>
                  <a:pt x="446" y="214"/>
                  <a:pt x="446" y="214"/>
                  <a:pt x="446" y="214"/>
                </a:cubicBezTo>
                <a:cubicBezTo>
                  <a:pt x="446" y="282"/>
                  <a:pt x="446" y="282"/>
                  <a:pt x="446" y="282"/>
                </a:cubicBezTo>
                <a:cubicBezTo>
                  <a:pt x="513" y="214"/>
                  <a:pt x="513" y="214"/>
                  <a:pt x="513" y="214"/>
                </a:cubicBezTo>
                <a:cubicBezTo>
                  <a:pt x="554" y="214"/>
                  <a:pt x="554" y="214"/>
                  <a:pt x="554" y="214"/>
                </a:cubicBezTo>
                <a:cubicBezTo>
                  <a:pt x="554" y="22"/>
                  <a:pt x="554" y="22"/>
                  <a:pt x="554" y="22"/>
                </a:cubicBezTo>
                <a:cubicBezTo>
                  <a:pt x="300" y="22"/>
                  <a:pt x="300" y="22"/>
                  <a:pt x="300" y="22"/>
                </a:cubicBezTo>
                <a:cubicBezTo>
                  <a:pt x="300" y="161"/>
                  <a:pt x="300" y="161"/>
                  <a:pt x="300" y="161"/>
                </a:cubicBezTo>
                <a:cubicBezTo>
                  <a:pt x="279" y="161"/>
                  <a:pt x="279" y="161"/>
                  <a:pt x="279" y="161"/>
                </a:cubicBezTo>
                <a:cubicBezTo>
                  <a:pt x="279" y="0"/>
                  <a:pt x="279" y="0"/>
                  <a:pt x="279" y="0"/>
                </a:cubicBezTo>
                <a:lnTo>
                  <a:pt x="576" y="0"/>
                </a:lnTo>
                <a:close/>
                <a:moveTo>
                  <a:pt x="498" y="104"/>
                </a:moveTo>
                <a:cubicBezTo>
                  <a:pt x="356" y="104"/>
                  <a:pt x="356" y="104"/>
                  <a:pt x="356" y="104"/>
                </a:cubicBezTo>
                <a:cubicBezTo>
                  <a:pt x="356" y="82"/>
                  <a:pt x="356" y="82"/>
                  <a:pt x="356" y="82"/>
                </a:cubicBezTo>
                <a:cubicBezTo>
                  <a:pt x="498" y="82"/>
                  <a:pt x="498" y="82"/>
                  <a:pt x="498" y="82"/>
                </a:cubicBezTo>
                <a:lnTo>
                  <a:pt x="498" y="104"/>
                </a:lnTo>
                <a:close/>
                <a:moveTo>
                  <a:pt x="356" y="132"/>
                </a:moveTo>
                <a:cubicBezTo>
                  <a:pt x="498" y="132"/>
                  <a:pt x="498" y="132"/>
                  <a:pt x="498" y="132"/>
                </a:cubicBezTo>
                <a:cubicBezTo>
                  <a:pt x="498" y="153"/>
                  <a:pt x="498" y="153"/>
                  <a:pt x="498" y="153"/>
                </a:cubicBezTo>
                <a:cubicBezTo>
                  <a:pt x="356" y="153"/>
                  <a:pt x="356" y="153"/>
                  <a:pt x="356" y="153"/>
                </a:cubicBezTo>
                <a:lnTo>
                  <a:pt x="356" y="132"/>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1800">
              <a:solidFill>
                <a:schemeClr val="accent1"/>
              </a:solidFill>
              <a:latin typeface="Arial"/>
              <a:ea typeface="Arial"/>
              <a:cs typeface="Arial"/>
              <a:sym typeface="Arial"/>
            </a:endParaRPr>
          </a:p>
        </p:txBody>
      </p:sp>
      <p:sp>
        <p:nvSpPr>
          <p:cNvPr id="127" name="Google Shape;905;p83">
            <a:extLst>
              <a:ext uri="{FF2B5EF4-FFF2-40B4-BE49-F238E27FC236}">
                <a16:creationId xmlns:a16="http://schemas.microsoft.com/office/drawing/2014/main" id="{1C1E571C-E6C1-D7AD-AF5E-49EF85BA448A}"/>
              </a:ext>
            </a:extLst>
          </p:cNvPr>
          <p:cNvSpPr/>
          <p:nvPr/>
        </p:nvSpPr>
        <p:spPr>
          <a:xfrm>
            <a:off x="11296133" y="1927275"/>
            <a:ext cx="360000" cy="360000"/>
          </a:xfrm>
          <a:custGeom>
            <a:avLst/>
            <a:gdLst/>
            <a:ahLst/>
            <a:cxnLst/>
            <a:rect l="l" t="t" r="r" b="b"/>
            <a:pathLst>
              <a:path w="576" h="576" extrusionOk="0">
                <a:moveTo>
                  <a:pt x="287" y="524"/>
                </a:moveTo>
                <a:cubicBezTo>
                  <a:pt x="359" y="524"/>
                  <a:pt x="418" y="465"/>
                  <a:pt x="418" y="393"/>
                </a:cubicBezTo>
                <a:cubicBezTo>
                  <a:pt x="418" y="320"/>
                  <a:pt x="359" y="262"/>
                  <a:pt x="287" y="262"/>
                </a:cubicBezTo>
                <a:cubicBezTo>
                  <a:pt x="215" y="262"/>
                  <a:pt x="156" y="320"/>
                  <a:pt x="156" y="393"/>
                </a:cubicBezTo>
                <a:cubicBezTo>
                  <a:pt x="156" y="465"/>
                  <a:pt x="215" y="524"/>
                  <a:pt x="287" y="524"/>
                </a:cubicBezTo>
                <a:close/>
                <a:moveTo>
                  <a:pt x="287" y="286"/>
                </a:moveTo>
                <a:cubicBezTo>
                  <a:pt x="346" y="286"/>
                  <a:pt x="394" y="334"/>
                  <a:pt x="394" y="393"/>
                </a:cubicBezTo>
                <a:cubicBezTo>
                  <a:pt x="394" y="451"/>
                  <a:pt x="346" y="499"/>
                  <a:pt x="287" y="499"/>
                </a:cubicBezTo>
                <a:cubicBezTo>
                  <a:pt x="228" y="499"/>
                  <a:pt x="181" y="451"/>
                  <a:pt x="181" y="393"/>
                </a:cubicBezTo>
                <a:cubicBezTo>
                  <a:pt x="181" y="334"/>
                  <a:pt x="228" y="286"/>
                  <a:pt x="287" y="286"/>
                </a:cubicBezTo>
                <a:close/>
                <a:moveTo>
                  <a:pt x="576" y="576"/>
                </a:moveTo>
                <a:cubicBezTo>
                  <a:pt x="575" y="335"/>
                  <a:pt x="575" y="335"/>
                  <a:pt x="575" y="335"/>
                </a:cubicBezTo>
                <a:cubicBezTo>
                  <a:pt x="404" y="232"/>
                  <a:pt x="404" y="232"/>
                  <a:pt x="404" y="232"/>
                </a:cubicBezTo>
                <a:cubicBezTo>
                  <a:pt x="389" y="163"/>
                  <a:pt x="389" y="163"/>
                  <a:pt x="389" y="163"/>
                </a:cubicBezTo>
                <a:cubicBezTo>
                  <a:pt x="186" y="163"/>
                  <a:pt x="186" y="163"/>
                  <a:pt x="186" y="163"/>
                </a:cubicBezTo>
                <a:cubicBezTo>
                  <a:pt x="171" y="232"/>
                  <a:pt x="171" y="232"/>
                  <a:pt x="171" y="232"/>
                </a:cubicBezTo>
                <a:cubicBezTo>
                  <a:pt x="0" y="337"/>
                  <a:pt x="0" y="337"/>
                  <a:pt x="0" y="337"/>
                </a:cubicBezTo>
                <a:cubicBezTo>
                  <a:pt x="0" y="576"/>
                  <a:pt x="0" y="576"/>
                  <a:pt x="0" y="576"/>
                </a:cubicBezTo>
                <a:lnTo>
                  <a:pt x="576" y="576"/>
                </a:lnTo>
                <a:close/>
                <a:moveTo>
                  <a:pt x="192" y="247"/>
                </a:moveTo>
                <a:cubicBezTo>
                  <a:pt x="206" y="188"/>
                  <a:pt x="206" y="188"/>
                  <a:pt x="206" y="188"/>
                </a:cubicBezTo>
                <a:cubicBezTo>
                  <a:pt x="369" y="188"/>
                  <a:pt x="369" y="188"/>
                  <a:pt x="369" y="188"/>
                </a:cubicBezTo>
                <a:cubicBezTo>
                  <a:pt x="383" y="248"/>
                  <a:pt x="383" y="248"/>
                  <a:pt x="383" y="248"/>
                </a:cubicBezTo>
                <a:cubicBezTo>
                  <a:pt x="551" y="349"/>
                  <a:pt x="551" y="349"/>
                  <a:pt x="551" y="349"/>
                </a:cubicBezTo>
                <a:cubicBezTo>
                  <a:pt x="551" y="551"/>
                  <a:pt x="551" y="551"/>
                  <a:pt x="551" y="551"/>
                </a:cubicBezTo>
                <a:cubicBezTo>
                  <a:pt x="24" y="551"/>
                  <a:pt x="24" y="551"/>
                  <a:pt x="24" y="551"/>
                </a:cubicBezTo>
                <a:cubicBezTo>
                  <a:pt x="24" y="511"/>
                  <a:pt x="24" y="382"/>
                  <a:pt x="24" y="351"/>
                </a:cubicBezTo>
                <a:lnTo>
                  <a:pt x="192" y="247"/>
                </a:lnTo>
                <a:close/>
                <a:moveTo>
                  <a:pt x="8" y="232"/>
                </a:moveTo>
                <a:cubicBezTo>
                  <a:pt x="11" y="235"/>
                  <a:pt x="15" y="236"/>
                  <a:pt x="19" y="236"/>
                </a:cubicBezTo>
                <a:cubicBezTo>
                  <a:pt x="21" y="236"/>
                  <a:pt x="23" y="235"/>
                  <a:pt x="26" y="235"/>
                </a:cubicBezTo>
                <a:cubicBezTo>
                  <a:pt x="142" y="205"/>
                  <a:pt x="142" y="205"/>
                  <a:pt x="142" y="205"/>
                </a:cubicBezTo>
                <a:cubicBezTo>
                  <a:pt x="143" y="204"/>
                  <a:pt x="143" y="204"/>
                  <a:pt x="143" y="204"/>
                </a:cubicBezTo>
                <a:cubicBezTo>
                  <a:pt x="154" y="201"/>
                  <a:pt x="162" y="190"/>
                  <a:pt x="162" y="178"/>
                </a:cubicBezTo>
                <a:cubicBezTo>
                  <a:pt x="162" y="135"/>
                  <a:pt x="162" y="135"/>
                  <a:pt x="162" y="135"/>
                </a:cubicBezTo>
                <a:cubicBezTo>
                  <a:pt x="162" y="132"/>
                  <a:pt x="164" y="127"/>
                  <a:pt x="166" y="125"/>
                </a:cubicBezTo>
                <a:cubicBezTo>
                  <a:pt x="166" y="125"/>
                  <a:pt x="193" y="100"/>
                  <a:pt x="287" y="100"/>
                </a:cubicBezTo>
                <a:cubicBezTo>
                  <a:pt x="382" y="100"/>
                  <a:pt x="409" y="125"/>
                  <a:pt x="409" y="125"/>
                </a:cubicBezTo>
                <a:cubicBezTo>
                  <a:pt x="411" y="127"/>
                  <a:pt x="413" y="132"/>
                  <a:pt x="413" y="135"/>
                </a:cubicBezTo>
                <a:cubicBezTo>
                  <a:pt x="413" y="172"/>
                  <a:pt x="413" y="172"/>
                  <a:pt x="413" y="172"/>
                </a:cubicBezTo>
                <a:cubicBezTo>
                  <a:pt x="413" y="183"/>
                  <a:pt x="421" y="194"/>
                  <a:pt x="432" y="198"/>
                </a:cubicBezTo>
                <a:cubicBezTo>
                  <a:pt x="549" y="234"/>
                  <a:pt x="549" y="234"/>
                  <a:pt x="549" y="234"/>
                </a:cubicBezTo>
                <a:cubicBezTo>
                  <a:pt x="555" y="236"/>
                  <a:pt x="562" y="236"/>
                  <a:pt x="567" y="232"/>
                </a:cubicBezTo>
                <a:cubicBezTo>
                  <a:pt x="572" y="228"/>
                  <a:pt x="575" y="222"/>
                  <a:pt x="575" y="215"/>
                </a:cubicBezTo>
                <a:cubicBezTo>
                  <a:pt x="575" y="115"/>
                  <a:pt x="575" y="115"/>
                  <a:pt x="575" y="115"/>
                </a:cubicBezTo>
                <a:cubicBezTo>
                  <a:pt x="575" y="106"/>
                  <a:pt x="572" y="95"/>
                  <a:pt x="566" y="88"/>
                </a:cubicBezTo>
                <a:cubicBezTo>
                  <a:pt x="564" y="84"/>
                  <a:pt x="497" y="0"/>
                  <a:pt x="287" y="0"/>
                </a:cubicBezTo>
                <a:cubicBezTo>
                  <a:pt x="78" y="0"/>
                  <a:pt x="11" y="84"/>
                  <a:pt x="9" y="88"/>
                </a:cubicBezTo>
                <a:cubicBezTo>
                  <a:pt x="3" y="95"/>
                  <a:pt x="0" y="106"/>
                  <a:pt x="0" y="115"/>
                </a:cubicBezTo>
                <a:cubicBezTo>
                  <a:pt x="0" y="215"/>
                  <a:pt x="0" y="215"/>
                  <a:pt x="0" y="215"/>
                </a:cubicBezTo>
                <a:cubicBezTo>
                  <a:pt x="0" y="222"/>
                  <a:pt x="2" y="228"/>
                  <a:pt x="8" y="232"/>
                </a:cubicBezTo>
                <a:close/>
                <a:moveTo>
                  <a:pt x="24" y="115"/>
                </a:moveTo>
                <a:cubicBezTo>
                  <a:pt x="24" y="112"/>
                  <a:pt x="26" y="105"/>
                  <a:pt x="28" y="103"/>
                </a:cubicBezTo>
                <a:cubicBezTo>
                  <a:pt x="29" y="102"/>
                  <a:pt x="90" y="24"/>
                  <a:pt x="287" y="24"/>
                </a:cubicBezTo>
                <a:cubicBezTo>
                  <a:pt x="483" y="24"/>
                  <a:pt x="546" y="102"/>
                  <a:pt x="547" y="103"/>
                </a:cubicBezTo>
                <a:cubicBezTo>
                  <a:pt x="549" y="105"/>
                  <a:pt x="551" y="112"/>
                  <a:pt x="551" y="115"/>
                </a:cubicBezTo>
                <a:cubicBezTo>
                  <a:pt x="551" y="209"/>
                  <a:pt x="551" y="209"/>
                  <a:pt x="551" y="209"/>
                </a:cubicBezTo>
                <a:cubicBezTo>
                  <a:pt x="440" y="175"/>
                  <a:pt x="440" y="175"/>
                  <a:pt x="440" y="175"/>
                </a:cubicBezTo>
                <a:cubicBezTo>
                  <a:pt x="439" y="175"/>
                  <a:pt x="438" y="173"/>
                  <a:pt x="438" y="172"/>
                </a:cubicBezTo>
                <a:cubicBezTo>
                  <a:pt x="438" y="135"/>
                  <a:pt x="438" y="135"/>
                  <a:pt x="438" y="135"/>
                </a:cubicBezTo>
                <a:cubicBezTo>
                  <a:pt x="438" y="126"/>
                  <a:pt x="433" y="114"/>
                  <a:pt x="427" y="108"/>
                </a:cubicBezTo>
                <a:cubicBezTo>
                  <a:pt x="423" y="104"/>
                  <a:pt x="392" y="76"/>
                  <a:pt x="287" y="76"/>
                </a:cubicBezTo>
                <a:cubicBezTo>
                  <a:pt x="183" y="76"/>
                  <a:pt x="152" y="104"/>
                  <a:pt x="149" y="108"/>
                </a:cubicBezTo>
                <a:cubicBezTo>
                  <a:pt x="142" y="114"/>
                  <a:pt x="137" y="126"/>
                  <a:pt x="137" y="135"/>
                </a:cubicBezTo>
                <a:cubicBezTo>
                  <a:pt x="137" y="178"/>
                  <a:pt x="137" y="178"/>
                  <a:pt x="137" y="178"/>
                </a:cubicBezTo>
                <a:cubicBezTo>
                  <a:pt x="137" y="179"/>
                  <a:pt x="136" y="181"/>
                  <a:pt x="135" y="181"/>
                </a:cubicBezTo>
                <a:cubicBezTo>
                  <a:pt x="24" y="210"/>
                  <a:pt x="24" y="210"/>
                  <a:pt x="24" y="210"/>
                </a:cubicBezTo>
                <a:lnTo>
                  <a:pt x="24" y="115"/>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1800">
              <a:solidFill>
                <a:schemeClr val="accent1"/>
              </a:solidFill>
              <a:latin typeface="Arial"/>
              <a:ea typeface="Arial"/>
              <a:cs typeface="Arial"/>
              <a:sym typeface="Arial"/>
            </a:endParaRPr>
          </a:p>
        </p:txBody>
      </p:sp>
      <p:sp>
        <p:nvSpPr>
          <p:cNvPr id="6" name="Rectangle 5">
            <a:extLst>
              <a:ext uri="{FF2B5EF4-FFF2-40B4-BE49-F238E27FC236}">
                <a16:creationId xmlns:a16="http://schemas.microsoft.com/office/drawing/2014/main" id="{236C7614-93A6-8AC7-7258-BAE206E1F0BE}"/>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15" name="Group 14">
            <a:extLst>
              <a:ext uri="{FF2B5EF4-FFF2-40B4-BE49-F238E27FC236}">
                <a16:creationId xmlns:a16="http://schemas.microsoft.com/office/drawing/2014/main" id="{1F5F69A6-EEE7-88E6-D6C5-6004ED0B7C00}"/>
              </a:ext>
            </a:extLst>
          </p:cNvPr>
          <p:cNvGrpSpPr/>
          <p:nvPr/>
        </p:nvGrpSpPr>
        <p:grpSpPr>
          <a:xfrm>
            <a:off x="9307133" y="126781"/>
            <a:ext cx="2441955" cy="217488"/>
            <a:chOff x="9307133" y="126781"/>
            <a:chExt cx="2441955" cy="217488"/>
          </a:xfrm>
        </p:grpSpPr>
        <p:sp>
          <p:nvSpPr>
            <p:cNvPr id="16" name="Rectangle 15">
              <a:extLst>
                <a:ext uri="{FF2B5EF4-FFF2-40B4-BE49-F238E27FC236}">
                  <a16:creationId xmlns:a16="http://schemas.microsoft.com/office/drawing/2014/main" id="{6AE8C961-2E1F-3CF0-F8BE-030748688B3F}"/>
                </a:ext>
              </a:extLst>
            </p:cNvPr>
            <p:cNvSpPr/>
            <p:nvPr/>
          </p:nvSpPr>
          <p:spPr>
            <a:xfrm>
              <a:off x="930713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32CC8033-42EE-8EAD-6949-78939AF31F9A}"/>
                </a:ext>
              </a:extLst>
            </p:cNvPr>
            <p:cNvSpPr/>
            <p:nvPr/>
          </p:nvSpPr>
          <p:spPr>
            <a:xfrm>
              <a:off x="9790783" y="126781"/>
              <a:ext cx="1237148"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Rīcība negadījuma vietā</a:t>
              </a:r>
            </a:p>
          </p:txBody>
        </p:sp>
        <p:sp>
          <p:nvSpPr>
            <p:cNvPr id="18" name="Rectangle 17">
              <a:extLst>
                <a:ext uri="{FF2B5EF4-FFF2-40B4-BE49-F238E27FC236}">
                  <a16:creationId xmlns:a16="http://schemas.microsoft.com/office/drawing/2014/main" id="{8C138BBB-19C6-5FA4-8B3A-FDDA746455BB}"/>
                </a:ext>
              </a:extLst>
            </p:cNvPr>
            <p:cNvSpPr/>
            <p:nvPr/>
          </p:nvSpPr>
          <p:spPr>
            <a:xfrm>
              <a:off x="955040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2</a:t>
              </a:r>
              <a:endParaRPr kumimoji="0" lang="lv-LV" sz="800" b="1" i="0" u="none" strike="noStrike" kern="0" cap="none" spc="0" normalizeH="0" baseline="0" noProof="0">
                <a:ln>
                  <a:noFill/>
                </a:ln>
                <a:effectLst/>
                <a:uLnTx/>
                <a:uFillTx/>
                <a:ea typeface="Georgia"/>
                <a:cs typeface="Georgia"/>
                <a:sym typeface="Georgia"/>
              </a:endParaRPr>
            </a:p>
          </p:txBody>
        </p:sp>
        <p:sp>
          <p:nvSpPr>
            <p:cNvPr id="19" name="Rectangle 18">
              <a:extLst>
                <a:ext uri="{FF2B5EF4-FFF2-40B4-BE49-F238E27FC236}">
                  <a16:creationId xmlns:a16="http://schemas.microsoft.com/office/drawing/2014/main" id="{25CA0E9F-B743-DDA9-48DC-0C06CE8C4BEA}"/>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C6E13F5E-625B-B8C5-3983-C0DA4BA1E8C9}"/>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4</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3A0A837A-4EA4-4519-F1FC-9C03416609E7}"/>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7956852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E7E1260-77C1-6B8B-40A7-CB041F0971E9}"/>
              </a:ext>
            </a:extLst>
          </p:cNvPr>
          <p:cNvGraphicFramePr>
            <a:graphicFrameLocks noChangeAspect="1"/>
          </p:cNvGraphicFramePr>
          <p:nvPr>
            <p:custDataLst>
              <p:tags r:id="rId1"/>
            </p:custDataLst>
            <p:extLst>
              <p:ext uri="{D42A27DB-BD31-4B8C-83A1-F6EECF244321}">
                <p14:modId xmlns:p14="http://schemas.microsoft.com/office/powerpoint/2010/main" val="2474050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DE7E1260-77C1-6B8B-40A7-CB041F0971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1" name="Picture 50">
            <a:extLst>
              <a:ext uri="{FF2B5EF4-FFF2-40B4-BE49-F238E27FC236}">
                <a16:creationId xmlns:a16="http://schemas.microsoft.com/office/drawing/2014/main" id="{922F9593-A62D-AA28-4006-3500D3BEF8CC}"/>
              </a:ext>
            </a:extLst>
          </p:cNvPr>
          <p:cNvPicPr>
            <a:picLocks noChangeAspect="1"/>
          </p:cNvPicPr>
          <p:nvPr/>
        </p:nvPicPr>
        <p:blipFill rotWithShape="1">
          <a:blip r:embed="rId6"/>
          <a:srcRect t="10447" b="34449"/>
          <a:stretch/>
        </p:blipFill>
        <p:spPr>
          <a:xfrm>
            <a:off x="-1" y="1819275"/>
            <a:ext cx="12191999" cy="5038726"/>
          </a:xfrm>
          <a:prstGeom prst="rect">
            <a:avLst/>
          </a:prstGeom>
        </p:spPr>
      </p:pic>
      <p:sp>
        <p:nvSpPr>
          <p:cNvPr id="49" name="Rectangle 48">
            <a:extLst>
              <a:ext uri="{FF2B5EF4-FFF2-40B4-BE49-F238E27FC236}">
                <a16:creationId xmlns:a16="http://schemas.microsoft.com/office/drawing/2014/main" id="{2C40FD44-D961-01E3-E566-FEE845800AF9}"/>
              </a:ext>
            </a:extLst>
          </p:cNvPr>
          <p:cNvSpPr/>
          <p:nvPr/>
        </p:nvSpPr>
        <p:spPr>
          <a:xfrm>
            <a:off x="0" y="1819275"/>
            <a:ext cx="12192000" cy="5038725"/>
          </a:xfrm>
          <a:prstGeom prst="rect">
            <a:avLst/>
          </a:prstGeom>
          <a:solidFill>
            <a:schemeClr val="accent3">
              <a:alpha val="7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 name="Title 1">
            <a:extLst>
              <a:ext uri="{FF2B5EF4-FFF2-40B4-BE49-F238E27FC236}">
                <a16:creationId xmlns:a16="http://schemas.microsoft.com/office/drawing/2014/main" id="{EDFBCEAB-7D4A-91D0-E036-AAFACC3ABE8D}"/>
              </a:ext>
            </a:extLst>
          </p:cNvPr>
          <p:cNvSpPr>
            <a:spLocks noGrp="1"/>
          </p:cNvSpPr>
          <p:nvPr>
            <p:ph type="title"/>
          </p:nvPr>
        </p:nvSpPr>
        <p:spPr/>
        <p:txBody>
          <a:bodyPr vert="horz"/>
          <a:lstStyle/>
          <a:p>
            <a:r>
              <a:rPr lang="lv-LV"/>
              <a:t>Kādi tūlītējie pasākumi jāveic? </a:t>
            </a:r>
          </a:p>
        </p:txBody>
      </p:sp>
      <p:sp>
        <p:nvSpPr>
          <p:cNvPr id="4" name="Slide Number Placeholder 3">
            <a:extLst>
              <a:ext uri="{FF2B5EF4-FFF2-40B4-BE49-F238E27FC236}">
                <a16:creationId xmlns:a16="http://schemas.microsoft.com/office/drawing/2014/main" id="{A6320228-D809-6F87-2500-99BCB217E23A}"/>
              </a:ext>
            </a:extLst>
          </p:cNvPr>
          <p:cNvSpPr>
            <a:spLocks noGrp="1"/>
          </p:cNvSpPr>
          <p:nvPr>
            <p:ph type="sldNum" sz="quarter" idx="11"/>
          </p:nvPr>
        </p:nvSpPr>
        <p:spPr/>
        <p:txBody>
          <a:bodyPr/>
          <a:lstStyle/>
          <a:p>
            <a:fld id="{7870704B-CE94-48CC-AF30-84932A1262A7}" type="slidenum">
              <a:rPr lang="lv-LV" smtClean="0">
                <a:solidFill>
                  <a:schemeClr val="bg1"/>
                </a:solidFill>
              </a:rPr>
              <a:pPr/>
              <a:t>13</a:t>
            </a:fld>
            <a:endParaRPr lang="lv-LV">
              <a:solidFill>
                <a:schemeClr val="bg1"/>
              </a:solidFill>
            </a:endParaRPr>
          </a:p>
        </p:txBody>
      </p:sp>
      <p:grpSp>
        <p:nvGrpSpPr>
          <p:cNvPr id="20" name="Group 19">
            <a:extLst>
              <a:ext uri="{FF2B5EF4-FFF2-40B4-BE49-F238E27FC236}">
                <a16:creationId xmlns:a16="http://schemas.microsoft.com/office/drawing/2014/main" id="{32285829-6F0F-7CB7-1EB3-7D2BE58D87E4}"/>
              </a:ext>
            </a:extLst>
          </p:cNvPr>
          <p:cNvGrpSpPr/>
          <p:nvPr/>
        </p:nvGrpSpPr>
        <p:grpSpPr>
          <a:xfrm>
            <a:off x="7902708" y="432000"/>
            <a:ext cx="3846380" cy="360000"/>
            <a:chOff x="7902708" y="432000"/>
            <a:chExt cx="3846380" cy="360000"/>
          </a:xfrm>
        </p:grpSpPr>
        <p:sp>
          <p:nvSpPr>
            <p:cNvPr id="21" name="TextBox 20">
              <a:extLst>
                <a:ext uri="{FF2B5EF4-FFF2-40B4-BE49-F238E27FC236}">
                  <a16:creationId xmlns:a16="http://schemas.microsoft.com/office/drawing/2014/main" id="{38BB8091-1076-C602-6CED-C2AE6678F5A9}"/>
                </a:ext>
              </a:extLst>
            </p:cNvPr>
            <p:cNvSpPr txBox="1"/>
            <p:nvPr/>
          </p:nvSpPr>
          <p:spPr>
            <a:xfrm>
              <a:off x="7902708" y="432000"/>
              <a:ext cx="1055778" cy="360000"/>
            </a:xfrm>
            <a:prstGeom prst="rect">
              <a:avLst/>
            </a:prstGeom>
            <a:solidFill>
              <a:schemeClr val="accent6"/>
            </a:solidFill>
            <a:ln w="28575">
              <a:noFill/>
            </a:ln>
          </p:spPr>
          <p:txBody>
            <a:bodyPr wrap="square" lIns="72000" tIns="72000" rIns="72000" bIns="72000" rtlCol="0" anchor="ctr">
              <a:noAutofit/>
            </a:bodyPr>
            <a:lstStyle/>
            <a:p>
              <a:pPr algn="ctr">
                <a:lnSpc>
                  <a:spcPct val="100000"/>
                </a:lnSpc>
                <a:buSzPct val="100000"/>
              </a:pPr>
              <a:r>
                <a:rPr lang="lv-LV" sz="1100">
                  <a:solidFill>
                    <a:schemeClr val="accent3"/>
                  </a:solidFill>
                  <a:effectLst/>
                  <a:ea typeface="Calibri" panose="020F0502020204030204" pitchFamily="34" charset="0"/>
                  <a:cs typeface="Times New Roman" panose="02020603050405020304" pitchFamily="18" charset="0"/>
                </a:rPr>
                <a:t>Tūlītējie pasākumi</a:t>
              </a:r>
              <a:endParaRPr lang="lv-LV" sz="1100">
                <a:solidFill>
                  <a:schemeClr val="accent3"/>
                </a:solidFill>
              </a:endParaRPr>
            </a:p>
          </p:txBody>
        </p:sp>
        <p:sp>
          <p:nvSpPr>
            <p:cNvPr id="22" name="TextBox 21">
              <a:extLst>
                <a:ext uri="{FF2B5EF4-FFF2-40B4-BE49-F238E27FC236}">
                  <a16:creationId xmlns:a16="http://schemas.microsoft.com/office/drawing/2014/main" id="{14F35E1A-2C93-B6CB-918D-868C9B06B0A7}"/>
                </a:ext>
              </a:extLst>
            </p:cNvPr>
            <p:cNvSpPr txBox="1"/>
            <p:nvPr/>
          </p:nvSpPr>
          <p:spPr>
            <a:xfrm>
              <a:off x="9298009" y="432000"/>
              <a:ext cx="1055778" cy="360000"/>
            </a:xfrm>
            <a:prstGeom prst="rect">
              <a:avLst/>
            </a:prstGeom>
            <a:solidFill>
              <a:schemeClr val="accent6"/>
            </a:solidFill>
            <a:ln w="28575">
              <a:noFill/>
            </a:ln>
          </p:spPr>
          <p:txBody>
            <a:bodyPr wrap="square" lIns="72000" tIns="72000" rIns="72000" bIns="72000" rtlCol="0" anchor="ctr">
              <a:noAutofit/>
            </a:bodyPr>
            <a:lstStyle/>
            <a:p>
              <a:pPr algn="ctr">
                <a:lnSpc>
                  <a:spcPct val="100000"/>
                </a:lnSpc>
                <a:buSzPct val="100000"/>
              </a:pPr>
              <a:r>
                <a:rPr lang="lv-LV" sz="1100">
                  <a:solidFill>
                    <a:schemeClr val="accent3"/>
                  </a:solidFill>
                  <a:effectLst/>
                  <a:ea typeface="Calibri" panose="020F0502020204030204" pitchFamily="34" charset="0"/>
                  <a:cs typeface="Times New Roman" panose="02020603050405020304" pitchFamily="18" charset="0"/>
                </a:rPr>
                <a:t>Palīdzības izsaukšana</a:t>
              </a:r>
              <a:endParaRPr lang="lv-LV" sz="1100">
                <a:solidFill>
                  <a:schemeClr val="accent3"/>
                </a:solidFill>
              </a:endParaRPr>
            </a:p>
          </p:txBody>
        </p:sp>
        <p:sp>
          <p:nvSpPr>
            <p:cNvPr id="23" name="TextBox 22">
              <a:extLst>
                <a:ext uri="{FF2B5EF4-FFF2-40B4-BE49-F238E27FC236}">
                  <a16:creationId xmlns:a16="http://schemas.microsoft.com/office/drawing/2014/main" id="{F97CB2C5-7142-8223-7214-B1FDFDA9926A}"/>
                </a:ext>
              </a:extLst>
            </p:cNvPr>
            <p:cNvSpPr txBox="1"/>
            <p:nvPr/>
          </p:nvSpPr>
          <p:spPr>
            <a:xfrm>
              <a:off x="10693310" y="432000"/>
              <a:ext cx="1055778" cy="360000"/>
            </a:xfrm>
            <a:prstGeom prst="rect">
              <a:avLst/>
            </a:prstGeom>
            <a:solidFill>
              <a:schemeClr val="accent3"/>
            </a:solidFill>
            <a:ln w="28575">
              <a:noFill/>
            </a:ln>
          </p:spPr>
          <p:txBody>
            <a:bodyPr wrap="square" lIns="72000" tIns="72000" rIns="72000" bIns="72000" rtlCol="0" anchor="ctr">
              <a:noAutofit/>
            </a:bodyPr>
            <a:lstStyle/>
            <a:p>
              <a:pPr algn="ctr">
                <a:lnSpc>
                  <a:spcPct val="100000"/>
                </a:lnSpc>
                <a:buSzPct val="100000"/>
              </a:pPr>
              <a:r>
                <a:rPr lang="lv-LV" sz="1100" b="1">
                  <a:solidFill>
                    <a:schemeClr val="bg1"/>
                  </a:solidFill>
                  <a:effectLst/>
                  <a:ea typeface="Calibri" panose="020F0502020204030204" pitchFamily="34" charset="0"/>
                  <a:cs typeface="Times New Roman" panose="02020603050405020304" pitchFamily="18" charset="0"/>
                </a:rPr>
                <a:t>Cietušā </a:t>
              </a:r>
            </a:p>
            <a:p>
              <a:pPr algn="ctr">
                <a:lnSpc>
                  <a:spcPct val="100000"/>
                </a:lnSpc>
                <a:buSzPct val="100000"/>
              </a:pPr>
              <a:r>
                <a:rPr lang="lv-LV" sz="1100" b="1">
                  <a:solidFill>
                    <a:schemeClr val="bg1"/>
                  </a:solidFill>
                  <a:effectLst/>
                  <a:ea typeface="Calibri" panose="020F0502020204030204" pitchFamily="34" charset="0"/>
                  <a:cs typeface="Times New Roman" panose="02020603050405020304" pitchFamily="18" charset="0"/>
                </a:rPr>
                <a:t>aprūpe</a:t>
              </a:r>
              <a:endParaRPr lang="lv-LV" sz="1100" b="1">
                <a:solidFill>
                  <a:schemeClr val="bg1"/>
                </a:solidFill>
              </a:endParaRPr>
            </a:p>
          </p:txBody>
        </p:sp>
        <p:sp>
          <p:nvSpPr>
            <p:cNvPr id="24" name="Arrow: Right 23">
              <a:extLst>
                <a:ext uri="{FF2B5EF4-FFF2-40B4-BE49-F238E27FC236}">
                  <a16:creationId xmlns:a16="http://schemas.microsoft.com/office/drawing/2014/main" id="{F0AA07AA-4D21-8CE3-744C-AD9A127C8D02}"/>
                </a:ext>
              </a:extLst>
            </p:cNvPr>
            <p:cNvSpPr/>
            <p:nvPr/>
          </p:nvSpPr>
          <p:spPr>
            <a:xfrm>
              <a:off x="9029367" y="504000"/>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5" name="Arrow: Right 24">
              <a:extLst>
                <a:ext uri="{FF2B5EF4-FFF2-40B4-BE49-F238E27FC236}">
                  <a16:creationId xmlns:a16="http://schemas.microsoft.com/office/drawing/2014/main" id="{1CA1B5B0-7F3C-4506-0CFC-FC71900DAEB0}"/>
                </a:ext>
              </a:extLst>
            </p:cNvPr>
            <p:cNvSpPr/>
            <p:nvPr/>
          </p:nvSpPr>
          <p:spPr>
            <a:xfrm>
              <a:off x="10424668" y="504000"/>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26" name="TextBox 25">
            <a:extLst>
              <a:ext uri="{FF2B5EF4-FFF2-40B4-BE49-F238E27FC236}">
                <a16:creationId xmlns:a16="http://schemas.microsoft.com/office/drawing/2014/main" id="{CAFFDCE5-3051-49DF-AF83-5287E01B7716}"/>
              </a:ext>
            </a:extLst>
          </p:cNvPr>
          <p:cNvSpPr txBox="1"/>
          <p:nvPr/>
        </p:nvSpPr>
        <p:spPr>
          <a:xfrm>
            <a:off x="442912" y="3180080"/>
            <a:ext cx="2591437" cy="2992120"/>
          </a:xfrm>
          <a:prstGeom prst="rect">
            <a:avLst/>
          </a:prstGeom>
          <a:solidFill>
            <a:schemeClr val="bg1">
              <a:alpha val="85000"/>
            </a:schemeClr>
          </a:solidFill>
        </p:spPr>
        <p:txBody>
          <a:bodyPr wrap="square" lIns="72000" tIns="72000" rIns="72000" bIns="72000">
            <a:noAutofit/>
          </a:bodyPr>
          <a:lstStyle/>
          <a:p>
            <a:pPr marL="285750" indent="-285750">
              <a:spcAft>
                <a:spcPts val="600"/>
              </a:spcAft>
              <a:buSzPct val="120000"/>
              <a:buBlip>
                <a:blip r:embed="rId7"/>
              </a:buBlip>
            </a:pPr>
            <a:r>
              <a:rPr lang="lv-LV" sz="1400"/>
              <a:t>Bez vajadzības nemainiet cietušā pozu</a:t>
            </a:r>
          </a:p>
          <a:p>
            <a:pPr marL="285750" indent="-285750">
              <a:spcAft>
                <a:spcPts val="600"/>
              </a:spcAft>
              <a:buSzPct val="120000"/>
              <a:buBlip>
                <a:blip r:embed="rId7"/>
              </a:buBlip>
            </a:pPr>
            <a:r>
              <a:rPr lang="lv-LV" sz="1400"/>
              <a:t>Palīdziet ieņemt cietušajam ērtāko pozu vai to noguldiet</a:t>
            </a:r>
          </a:p>
          <a:p>
            <a:pPr marL="285750" indent="-285750">
              <a:spcAft>
                <a:spcPts val="600"/>
              </a:spcAft>
              <a:buSzPct val="120000"/>
              <a:buBlip>
                <a:blip r:embed="rId7"/>
              </a:buBlip>
            </a:pPr>
            <a:r>
              <a:rPr lang="lv-LV" sz="1400"/>
              <a:t>Uzmaniet, vai cietušā stāvoklis nepasliktinās</a:t>
            </a:r>
          </a:p>
          <a:p>
            <a:pPr marL="285750" indent="-285750">
              <a:spcAft>
                <a:spcPts val="600"/>
              </a:spcAft>
              <a:buSzPct val="120000"/>
              <a:buBlip>
                <a:blip r:embed="rId7"/>
              </a:buBlip>
            </a:pPr>
            <a:r>
              <a:rPr lang="lv-LV" sz="1400"/>
              <a:t>Gādājiet par cietušā komfortu</a:t>
            </a:r>
          </a:p>
        </p:txBody>
      </p:sp>
      <p:sp>
        <p:nvSpPr>
          <p:cNvPr id="27" name="Content Placeholder 1">
            <a:extLst>
              <a:ext uri="{FF2B5EF4-FFF2-40B4-BE49-F238E27FC236}">
                <a16:creationId xmlns:a16="http://schemas.microsoft.com/office/drawing/2014/main" id="{D6EA5D0F-11EF-2398-660B-39FF89189180}"/>
              </a:ext>
            </a:extLst>
          </p:cNvPr>
          <p:cNvSpPr txBox="1">
            <a:spLocks/>
          </p:cNvSpPr>
          <p:nvPr/>
        </p:nvSpPr>
        <p:spPr>
          <a:xfrm>
            <a:off x="442914" y="2175439"/>
            <a:ext cx="2591436" cy="864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bg1"/>
                </a:solidFill>
              </a:rPr>
              <a:t>Turpiniet sniegt palīdzību līdz Neatliekamās palīdzības ierašanās brīdim:</a:t>
            </a:r>
          </a:p>
        </p:txBody>
      </p:sp>
      <p:sp>
        <p:nvSpPr>
          <p:cNvPr id="28" name="TextBox 27">
            <a:extLst>
              <a:ext uri="{FF2B5EF4-FFF2-40B4-BE49-F238E27FC236}">
                <a16:creationId xmlns:a16="http://schemas.microsoft.com/office/drawing/2014/main" id="{29F2449E-4ED8-5ADE-AE30-9E9AB83EF649}"/>
              </a:ext>
            </a:extLst>
          </p:cNvPr>
          <p:cNvSpPr txBox="1"/>
          <p:nvPr/>
        </p:nvSpPr>
        <p:spPr>
          <a:xfrm>
            <a:off x="3389949" y="3180080"/>
            <a:ext cx="2591437" cy="2992120"/>
          </a:xfrm>
          <a:prstGeom prst="rect">
            <a:avLst/>
          </a:prstGeom>
          <a:solidFill>
            <a:schemeClr val="bg1">
              <a:alpha val="85000"/>
            </a:schemeClr>
          </a:solidFill>
        </p:spPr>
        <p:txBody>
          <a:bodyPr wrap="square" lIns="72000" tIns="72000" rIns="72000" bIns="72000">
            <a:noAutofit/>
          </a:bodyPr>
          <a:lstStyle/>
          <a:p>
            <a:pPr marL="285750" indent="-285750">
              <a:spcAft>
                <a:spcPts val="600"/>
              </a:spcAft>
              <a:buSzPct val="120000"/>
              <a:buBlip>
                <a:blip r:embed="rId7"/>
              </a:buBlip>
            </a:pPr>
            <a:r>
              <a:rPr lang="lv-LV" sz="1400"/>
              <a:t>Neļaujiet atdzist cietušajam (piemēram, ietiniet folijas segā)</a:t>
            </a:r>
          </a:p>
          <a:p>
            <a:pPr marL="285750" indent="-285750">
              <a:spcAft>
                <a:spcPts val="600"/>
              </a:spcAft>
              <a:buSzPct val="120000"/>
              <a:buBlip>
                <a:blip r:embed="rId7"/>
              </a:buBlip>
            </a:pPr>
            <a:r>
              <a:rPr lang="lv-LV" sz="1400"/>
              <a:t>Pasargājiet no pārkaršanas (piemēram, pārvietojiet vēsākā vietā)</a:t>
            </a:r>
          </a:p>
        </p:txBody>
      </p:sp>
      <p:sp>
        <p:nvSpPr>
          <p:cNvPr id="29" name="Content Placeholder 1">
            <a:extLst>
              <a:ext uri="{FF2B5EF4-FFF2-40B4-BE49-F238E27FC236}">
                <a16:creationId xmlns:a16="http://schemas.microsoft.com/office/drawing/2014/main" id="{00134262-F6E7-5D0D-46C6-48E2647244CF}"/>
              </a:ext>
            </a:extLst>
          </p:cNvPr>
          <p:cNvSpPr txBox="1">
            <a:spLocks/>
          </p:cNvSpPr>
          <p:nvPr/>
        </p:nvSpPr>
        <p:spPr>
          <a:xfrm>
            <a:off x="3389951" y="2175439"/>
            <a:ext cx="2591436" cy="864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bg1"/>
                </a:solidFill>
              </a:rPr>
              <a:t>Pasargājiet cietušo no apkārtējās vides iedarbības:</a:t>
            </a:r>
          </a:p>
        </p:txBody>
      </p:sp>
      <p:sp>
        <p:nvSpPr>
          <p:cNvPr id="30" name="TextBox 29">
            <a:extLst>
              <a:ext uri="{FF2B5EF4-FFF2-40B4-BE49-F238E27FC236}">
                <a16:creationId xmlns:a16="http://schemas.microsoft.com/office/drawing/2014/main" id="{9EFCB31E-34D9-1914-7367-57FB33E6D927}"/>
              </a:ext>
            </a:extLst>
          </p:cNvPr>
          <p:cNvSpPr txBox="1"/>
          <p:nvPr/>
        </p:nvSpPr>
        <p:spPr>
          <a:xfrm>
            <a:off x="6336986" y="3180080"/>
            <a:ext cx="5412104" cy="2992120"/>
          </a:xfrm>
          <a:prstGeom prst="rect">
            <a:avLst/>
          </a:prstGeom>
          <a:solidFill>
            <a:schemeClr val="bg1">
              <a:alpha val="85000"/>
            </a:schemeClr>
          </a:solidFill>
        </p:spPr>
        <p:txBody>
          <a:bodyPr wrap="square" lIns="72000" tIns="72000" rIns="72000" bIns="72000">
            <a:noAutofit/>
          </a:bodyPr>
          <a:lstStyle/>
          <a:p>
            <a:pPr marL="285750" indent="-285750">
              <a:spcAft>
                <a:spcPts val="600"/>
              </a:spcAft>
              <a:buSzPct val="120000"/>
              <a:buBlip>
                <a:blip r:embed="rId7"/>
              </a:buBlip>
            </a:pPr>
            <a:r>
              <a:rPr lang="lv-LV" sz="1400"/>
              <a:t>Runājiet mierīgi, nomierinoši, bet pārliecinoši</a:t>
            </a:r>
          </a:p>
          <a:p>
            <a:pPr marL="285750" indent="-285750">
              <a:spcAft>
                <a:spcPts val="600"/>
              </a:spcAft>
              <a:buSzPct val="120000"/>
              <a:buBlip>
                <a:blip r:embed="rId7"/>
              </a:buBlip>
            </a:pPr>
            <a:r>
              <a:rPr lang="lv-LV" sz="1400"/>
              <a:t>Iepazīstiniet ar sevi</a:t>
            </a:r>
          </a:p>
          <a:p>
            <a:pPr marL="285750" indent="-285750">
              <a:spcAft>
                <a:spcPts val="600"/>
              </a:spcAft>
              <a:buSzPct val="120000"/>
              <a:buBlip>
                <a:blip r:embed="rId7"/>
              </a:buBlip>
            </a:pPr>
            <a:r>
              <a:rPr lang="lv-LV" sz="1400"/>
              <a:t>Uzklausiet cietušo</a:t>
            </a:r>
          </a:p>
          <a:p>
            <a:pPr marL="285750" indent="-285750">
              <a:spcAft>
                <a:spcPts val="600"/>
              </a:spcAft>
              <a:buSzPct val="120000"/>
              <a:buBlip>
                <a:blip r:embed="rId7"/>
              </a:buBlip>
            </a:pPr>
            <a:r>
              <a:rPr lang="lv-LV" sz="1400"/>
              <a:t>Neatstājiet cietušo vienu</a:t>
            </a:r>
          </a:p>
          <a:p>
            <a:pPr marL="285750" indent="-285750">
              <a:spcAft>
                <a:spcPts val="600"/>
              </a:spcAft>
              <a:buSzPct val="120000"/>
              <a:buBlip>
                <a:blip r:embed="rId7"/>
              </a:buBlip>
            </a:pPr>
            <a:r>
              <a:rPr lang="lv-LV" sz="1400"/>
              <a:t>Informējiet cietušo par savām (glābēja) darbībām</a:t>
            </a:r>
          </a:p>
          <a:p>
            <a:pPr marL="285750" indent="-285750">
              <a:spcAft>
                <a:spcPts val="600"/>
              </a:spcAft>
              <a:buSzPct val="120000"/>
              <a:buBlip>
                <a:blip r:embed="rId7"/>
              </a:buBlip>
            </a:pPr>
            <a:r>
              <a:rPr lang="lv-LV" sz="1400"/>
              <a:t>Informējiet cietušo par notiekošo (reālā pozitīvā informācija)</a:t>
            </a:r>
          </a:p>
          <a:p>
            <a:pPr marL="285750" indent="-285750">
              <a:spcAft>
                <a:spcPts val="600"/>
              </a:spcAft>
              <a:buSzPct val="120000"/>
              <a:buBlip>
                <a:blip r:embed="rId7"/>
              </a:buBlip>
            </a:pPr>
            <a:r>
              <a:rPr lang="lv-LV" sz="1400"/>
              <a:t>Uzturiet vieglu kontaktu ar cietušā ķermeni</a:t>
            </a:r>
          </a:p>
          <a:p>
            <a:pPr marL="285750" indent="-285750">
              <a:spcAft>
                <a:spcPts val="600"/>
              </a:spcAft>
              <a:buSzPct val="120000"/>
              <a:buBlip>
                <a:blip r:embed="rId7"/>
              </a:buBlip>
            </a:pPr>
            <a:r>
              <a:rPr lang="lv-LV" sz="1400"/>
              <a:t>Neko nepārmetiet</a:t>
            </a:r>
          </a:p>
          <a:p>
            <a:pPr marL="285750" indent="-285750">
              <a:spcAft>
                <a:spcPts val="600"/>
              </a:spcAft>
              <a:buSzPct val="120000"/>
              <a:buBlip>
                <a:blip r:embed="rId7"/>
              </a:buBlip>
            </a:pPr>
            <a:r>
              <a:rPr lang="lv-LV" sz="1400"/>
              <a:t>Pasargājiet cietušo no ziņkārīgajiem</a:t>
            </a:r>
          </a:p>
          <a:p>
            <a:pPr marL="285750" indent="-285750">
              <a:spcAft>
                <a:spcPts val="600"/>
              </a:spcAft>
              <a:buSzPct val="120000"/>
              <a:buBlip>
                <a:blip r:embed="rId7"/>
              </a:buBlip>
            </a:pPr>
            <a:r>
              <a:rPr lang="lv-LV" sz="1400"/>
              <a:t>Pajautājiet, vai nepieciešams kādam paziņot par notikušo</a:t>
            </a:r>
          </a:p>
        </p:txBody>
      </p:sp>
      <p:sp>
        <p:nvSpPr>
          <p:cNvPr id="31" name="Content Placeholder 1">
            <a:extLst>
              <a:ext uri="{FF2B5EF4-FFF2-40B4-BE49-F238E27FC236}">
                <a16:creationId xmlns:a16="http://schemas.microsoft.com/office/drawing/2014/main" id="{B24CF0FE-B844-4682-3534-6E167E9F0FFA}"/>
              </a:ext>
            </a:extLst>
          </p:cNvPr>
          <p:cNvSpPr txBox="1">
            <a:spLocks/>
          </p:cNvSpPr>
          <p:nvPr/>
        </p:nvSpPr>
        <p:spPr>
          <a:xfrm>
            <a:off x="6336988" y="2175439"/>
            <a:ext cx="5412102" cy="864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bg1"/>
                </a:solidFill>
              </a:rPr>
              <a:t>Nodrošiniet psiholoģisko atbalstu:</a:t>
            </a:r>
          </a:p>
        </p:txBody>
      </p:sp>
      <p:sp>
        <p:nvSpPr>
          <p:cNvPr id="32" name="Content Placeholder 1">
            <a:extLst>
              <a:ext uri="{FF2B5EF4-FFF2-40B4-BE49-F238E27FC236}">
                <a16:creationId xmlns:a16="http://schemas.microsoft.com/office/drawing/2014/main" id="{34992742-13EE-A536-FAEC-18532BDD82A6}"/>
              </a:ext>
            </a:extLst>
          </p:cNvPr>
          <p:cNvSpPr txBox="1">
            <a:spLocks/>
          </p:cNvSpPr>
          <p:nvPr/>
        </p:nvSpPr>
        <p:spPr>
          <a:xfrm>
            <a:off x="442914" y="2103438"/>
            <a:ext cx="2591436" cy="72000"/>
          </a:xfrm>
          <a:prstGeom prst="rect">
            <a:avLst/>
          </a:prstGeom>
          <a:solidFill>
            <a:schemeClr val="accent6"/>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33" name="Content Placeholder 1">
            <a:extLst>
              <a:ext uri="{FF2B5EF4-FFF2-40B4-BE49-F238E27FC236}">
                <a16:creationId xmlns:a16="http://schemas.microsoft.com/office/drawing/2014/main" id="{6614B880-DCB4-A5EA-0F50-19A1C810C41E}"/>
              </a:ext>
            </a:extLst>
          </p:cNvPr>
          <p:cNvSpPr txBox="1">
            <a:spLocks/>
          </p:cNvSpPr>
          <p:nvPr/>
        </p:nvSpPr>
        <p:spPr>
          <a:xfrm>
            <a:off x="3389951" y="2103438"/>
            <a:ext cx="2591436" cy="72000"/>
          </a:xfrm>
          <a:prstGeom prst="rect">
            <a:avLst/>
          </a:prstGeom>
          <a:solidFill>
            <a:schemeClr val="accent6"/>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34" name="Content Placeholder 1">
            <a:extLst>
              <a:ext uri="{FF2B5EF4-FFF2-40B4-BE49-F238E27FC236}">
                <a16:creationId xmlns:a16="http://schemas.microsoft.com/office/drawing/2014/main" id="{92BD7321-AEC3-477C-EB5F-005F7DC540AF}"/>
              </a:ext>
            </a:extLst>
          </p:cNvPr>
          <p:cNvSpPr txBox="1">
            <a:spLocks/>
          </p:cNvSpPr>
          <p:nvPr/>
        </p:nvSpPr>
        <p:spPr>
          <a:xfrm>
            <a:off x="6336988" y="2103438"/>
            <a:ext cx="5412102" cy="72000"/>
          </a:xfrm>
          <a:prstGeom prst="rect">
            <a:avLst/>
          </a:prstGeom>
          <a:solidFill>
            <a:schemeClr val="accent6"/>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3" name="Rectangle 2">
            <a:extLst>
              <a:ext uri="{FF2B5EF4-FFF2-40B4-BE49-F238E27FC236}">
                <a16:creationId xmlns:a16="http://schemas.microsoft.com/office/drawing/2014/main" id="{70832196-8F04-2AE8-0728-1989AF43F84D}"/>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13" name="Group 12">
            <a:extLst>
              <a:ext uri="{FF2B5EF4-FFF2-40B4-BE49-F238E27FC236}">
                <a16:creationId xmlns:a16="http://schemas.microsoft.com/office/drawing/2014/main" id="{91F7358D-A7BF-DACB-CE35-FD17B08FE4FD}"/>
              </a:ext>
            </a:extLst>
          </p:cNvPr>
          <p:cNvGrpSpPr/>
          <p:nvPr/>
        </p:nvGrpSpPr>
        <p:grpSpPr>
          <a:xfrm>
            <a:off x="9307133" y="126781"/>
            <a:ext cx="2441955" cy="217488"/>
            <a:chOff x="9307133" y="126781"/>
            <a:chExt cx="2441955" cy="217488"/>
          </a:xfrm>
        </p:grpSpPr>
        <p:sp>
          <p:nvSpPr>
            <p:cNvPr id="14" name="Rectangle 13">
              <a:extLst>
                <a:ext uri="{FF2B5EF4-FFF2-40B4-BE49-F238E27FC236}">
                  <a16:creationId xmlns:a16="http://schemas.microsoft.com/office/drawing/2014/main" id="{1F0182AE-A45D-7526-D25D-29CD47996263}"/>
                </a:ext>
              </a:extLst>
            </p:cNvPr>
            <p:cNvSpPr/>
            <p:nvPr/>
          </p:nvSpPr>
          <p:spPr>
            <a:xfrm>
              <a:off x="930713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306727E7-C731-BE3F-6C6F-876DEE238E5B}"/>
                </a:ext>
              </a:extLst>
            </p:cNvPr>
            <p:cNvSpPr/>
            <p:nvPr/>
          </p:nvSpPr>
          <p:spPr>
            <a:xfrm>
              <a:off x="9790783" y="126781"/>
              <a:ext cx="1237148"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Rīcība negadījuma vietā</a:t>
              </a:r>
            </a:p>
          </p:txBody>
        </p:sp>
        <p:sp>
          <p:nvSpPr>
            <p:cNvPr id="16" name="Rectangle 15">
              <a:extLst>
                <a:ext uri="{FF2B5EF4-FFF2-40B4-BE49-F238E27FC236}">
                  <a16:creationId xmlns:a16="http://schemas.microsoft.com/office/drawing/2014/main" id="{F9AA3D96-9489-1ED3-A81A-F48664322B4B}"/>
                </a:ext>
              </a:extLst>
            </p:cNvPr>
            <p:cNvSpPr/>
            <p:nvPr/>
          </p:nvSpPr>
          <p:spPr>
            <a:xfrm>
              <a:off x="955040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2</a:t>
              </a:r>
              <a:endParaRPr kumimoji="0" lang="lv-LV" sz="800" b="1" i="0" u="none" strike="noStrike" kern="0" cap="none" spc="0" normalizeH="0" baseline="0" noProof="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A7671A1E-D959-1A1F-C47E-E9417BF6AFF2}"/>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89B0D675-1E72-2851-1ECC-EABE326A10EB}"/>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4</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36E9D51E-6C00-F15E-BB9C-544242E9640B}"/>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5073330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B5F8EBF-52CC-2EDB-41E8-3667D4E9C17E}"/>
              </a:ext>
            </a:extLst>
          </p:cNvPr>
          <p:cNvGraphicFramePr>
            <a:graphicFrameLocks noChangeAspect="1"/>
          </p:cNvGraphicFramePr>
          <p:nvPr>
            <p:custDataLst>
              <p:tags r:id="rId1"/>
            </p:custDataLst>
            <p:extLst>
              <p:ext uri="{D42A27DB-BD31-4B8C-83A1-F6EECF244321}">
                <p14:modId xmlns:p14="http://schemas.microsoft.com/office/powerpoint/2010/main" val="3556299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6" name="think-cell data - do not delete" hidden="1">
                        <a:extLst>
                          <a:ext uri="{FF2B5EF4-FFF2-40B4-BE49-F238E27FC236}">
                            <a16:creationId xmlns:a16="http://schemas.microsoft.com/office/drawing/2014/main" id="{8B5F8EBF-52CC-2EDB-41E8-3667D4E9C1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a:extLst>
              <a:ext uri="{FF2B5EF4-FFF2-40B4-BE49-F238E27FC236}">
                <a16:creationId xmlns:a16="http://schemas.microsoft.com/office/drawing/2014/main" id="{C12A4605-BDCD-3C9E-973D-5EC378636C7E}"/>
              </a:ext>
            </a:extLst>
          </p:cNvPr>
          <p:cNvPicPr>
            <a:picLocks noGrp="1" noChangeAspect="1"/>
          </p:cNvPicPr>
          <p:nvPr>
            <p:ph type="pic" sz="quarter" idx="10"/>
          </p:nvPr>
        </p:nvPicPr>
        <p:blipFill>
          <a:blip r:embed="rId6"/>
          <a:srcRect t="21034" b="21034"/>
          <a:stretch>
            <a:fillRect/>
          </a:stretch>
        </p:blipFill>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064850"/>
            <a:ext cx="7418387" cy="2428875"/>
          </a:xfrm>
        </p:spPr>
        <p:txBody>
          <a:bodyPr vert="horz">
            <a:normAutofit/>
          </a:bodyPr>
          <a:lstStyle/>
          <a:p>
            <a:r>
              <a:rPr lang="lv-LV"/>
              <a:t>7.3. Atdzīvināšanas pasākumi</a:t>
            </a:r>
            <a:endParaRPr lang="en-GB"/>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767174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2FC370B2-2DA5-53E8-AA4E-CE67427065F6}"/>
              </a:ext>
            </a:extLst>
          </p:cNvPr>
          <p:cNvGraphicFramePr>
            <a:graphicFrameLocks noChangeAspect="1"/>
          </p:cNvGraphicFramePr>
          <p:nvPr>
            <p:custDataLst>
              <p:tags r:id="rId1"/>
            </p:custDataLst>
            <p:extLst>
              <p:ext uri="{D42A27DB-BD31-4B8C-83A1-F6EECF244321}">
                <p14:modId xmlns:p14="http://schemas.microsoft.com/office/powerpoint/2010/main" val="3794083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7" name="think-cell data - do not delete" hidden="1">
                        <a:extLst>
                          <a:ext uri="{FF2B5EF4-FFF2-40B4-BE49-F238E27FC236}">
                            <a16:creationId xmlns:a16="http://schemas.microsoft.com/office/drawing/2014/main" id="{2FC370B2-2DA5-53E8-AA4E-CE67427065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5" name="Picture 84">
            <a:extLst>
              <a:ext uri="{FF2B5EF4-FFF2-40B4-BE49-F238E27FC236}">
                <a16:creationId xmlns:a16="http://schemas.microsoft.com/office/drawing/2014/main" id="{1A4AA579-AB1A-3855-190A-DAD2FE00F873}"/>
              </a:ext>
            </a:extLst>
          </p:cNvPr>
          <p:cNvPicPr>
            <a:picLocks noChangeAspect="1"/>
          </p:cNvPicPr>
          <p:nvPr/>
        </p:nvPicPr>
        <p:blipFill rotWithShape="1">
          <a:blip r:embed="rId6"/>
          <a:srcRect l="26822" t="-1" r="30239" b="-49"/>
          <a:stretch/>
        </p:blipFill>
        <p:spPr>
          <a:xfrm>
            <a:off x="8218488" y="0"/>
            <a:ext cx="3973512" cy="6172200"/>
          </a:xfrm>
          <a:prstGeom prst="rect">
            <a:avLst/>
          </a:prstGeom>
        </p:spPr>
      </p:pic>
      <p:sp>
        <p:nvSpPr>
          <p:cNvPr id="3" name="Title 2">
            <a:extLst>
              <a:ext uri="{FF2B5EF4-FFF2-40B4-BE49-F238E27FC236}">
                <a16:creationId xmlns:a16="http://schemas.microsoft.com/office/drawing/2014/main" id="{18D846C5-0FE1-0722-5504-7D4D452EA64C}"/>
              </a:ext>
            </a:extLst>
          </p:cNvPr>
          <p:cNvSpPr>
            <a:spLocks noGrp="1"/>
          </p:cNvSpPr>
          <p:nvPr>
            <p:ph type="title"/>
          </p:nvPr>
        </p:nvSpPr>
        <p:spPr>
          <a:xfrm>
            <a:off x="442913" y="432000"/>
            <a:ext cx="11306175" cy="1387275"/>
          </a:xfrm>
        </p:spPr>
        <p:txBody>
          <a:bodyPr vert="horz"/>
          <a:lstStyle/>
          <a:p>
            <a:r>
              <a:rPr lang="lv-LV"/>
              <a:t>Pieaugušā atdzīvināšanas algoritms</a:t>
            </a:r>
          </a:p>
        </p:txBody>
      </p:sp>
      <p:sp>
        <p:nvSpPr>
          <p:cNvPr id="4" name="Slide Number Placeholder 3">
            <a:extLst>
              <a:ext uri="{FF2B5EF4-FFF2-40B4-BE49-F238E27FC236}">
                <a16:creationId xmlns:a16="http://schemas.microsoft.com/office/drawing/2014/main" id="{1D0816AF-800B-D4B3-9F92-EA9CA8F47531}"/>
              </a:ext>
            </a:extLst>
          </p:cNvPr>
          <p:cNvSpPr>
            <a:spLocks noGrp="1"/>
          </p:cNvSpPr>
          <p:nvPr>
            <p:ph type="sldNum" sz="quarter" idx="11"/>
          </p:nvPr>
        </p:nvSpPr>
        <p:spPr/>
        <p:txBody>
          <a:bodyPr/>
          <a:lstStyle/>
          <a:p>
            <a:fld id="{7870704B-CE94-48CC-AF30-84932A1262A7}" type="slidenum">
              <a:rPr lang="lv-LV" smtClean="0"/>
              <a:pPr/>
              <a:t>15</a:t>
            </a:fld>
            <a:endParaRPr lang="lv-LV"/>
          </a:p>
        </p:txBody>
      </p:sp>
      <p:sp>
        <p:nvSpPr>
          <p:cNvPr id="10" name="Rounded Rectangle 5">
            <a:extLst>
              <a:ext uri="{FF2B5EF4-FFF2-40B4-BE49-F238E27FC236}">
                <a16:creationId xmlns:a16="http://schemas.microsoft.com/office/drawing/2014/main" id="{C3DFDFF4-18D2-A047-B0B2-4C063F2C571A}"/>
              </a:ext>
            </a:extLst>
          </p:cNvPr>
          <p:cNvSpPr/>
          <p:nvPr/>
        </p:nvSpPr>
        <p:spPr>
          <a:xfrm>
            <a:off x="442912" y="1819274"/>
            <a:ext cx="3529013" cy="288000"/>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lv-LV" sz="1400" kern="1200">
                <a:solidFill>
                  <a:schemeClr val="bg1"/>
                </a:solidFill>
                <a:effectLst/>
                <a:ea typeface="Times New Roman" panose="02020603050405020304" pitchFamily="18" charset="0"/>
              </a:rPr>
              <a:t>Bezsamaņa?</a:t>
            </a:r>
            <a:endParaRPr lang="lv-LV" sz="1400">
              <a:solidFill>
                <a:schemeClr val="bg1"/>
              </a:solidFill>
              <a:effectLst/>
              <a:ea typeface="Times New Roman" panose="02020603050405020304" pitchFamily="18" charset="0"/>
            </a:endParaRPr>
          </a:p>
        </p:txBody>
      </p:sp>
      <p:sp>
        <p:nvSpPr>
          <p:cNvPr id="11" name="Rounded Rectangle 7">
            <a:extLst>
              <a:ext uri="{FF2B5EF4-FFF2-40B4-BE49-F238E27FC236}">
                <a16:creationId xmlns:a16="http://schemas.microsoft.com/office/drawing/2014/main" id="{ABB70BD2-60C1-064D-95BB-38DE736A1572}"/>
              </a:ext>
            </a:extLst>
          </p:cNvPr>
          <p:cNvSpPr/>
          <p:nvPr/>
        </p:nvSpPr>
        <p:spPr>
          <a:xfrm>
            <a:off x="4327524" y="1819276"/>
            <a:ext cx="3533775"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lv-LV" sz="1400" kern="1200">
                <a:solidFill>
                  <a:srgbClr val="000000"/>
                </a:solidFill>
                <a:effectLst/>
                <a:ea typeface="Times New Roman" panose="02020603050405020304" pitchFamily="18" charset="0"/>
              </a:rPr>
              <a:t>Sniedz nepieciešamo palīdzību</a:t>
            </a:r>
            <a:endParaRPr lang="lv-LV" sz="1400">
              <a:effectLst/>
              <a:ea typeface="Times New Roman" panose="02020603050405020304" pitchFamily="18" charset="0"/>
            </a:endParaRPr>
          </a:p>
        </p:txBody>
      </p:sp>
      <p:sp>
        <p:nvSpPr>
          <p:cNvPr id="12" name="Rounded Rectangle 9">
            <a:extLst>
              <a:ext uri="{FF2B5EF4-FFF2-40B4-BE49-F238E27FC236}">
                <a16:creationId xmlns:a16="http://schemas.microsoft.com/office/drawing/2014/main" id="{90E04B7C-9E41-4641-A5D6-FF34530482E0}"/>
              </a:ext>
            </a:extLst>
          </p:cNvPr>
          <p:cNvSpPr/>
          <p:nvPr/>
        </p:nvSpPr>
        <p:spPr>
          <a:xfrm>
            <a:off x="442912" y="2327014"/>
            <a:ext cx="3529013"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lv-LV" sz="1400" kern="1200">
                <a:solidFill>
                  <a:srgbClr val="000000"/>
                </a:solidFill>
                <a:effectLst/>
                <a:ea typeface="Times New Roman" panose="02020603050405020304" pitchFamily="18" charset="0"/>
              </a:rPr>
              <a:t>Palīgā!</a:t>
            </a:r>
            <a:endParaRPr lang="lv-LV" sz="1400">
              <a:effectLst/>
              <a:ea typeface="Times New Roman" panose="02020603050405020304" pitchFamily="18" charset="0"/>
            </a:endParaRPr>
          </a:p>
        </p:txBody>
      </p:sp>
      <p:sp>
        <p:nvSpPr>
          <p:cNvPr id="13" name="Rounded Rectangle 10">
            <a:extLst>
              <a:ext uri="{FF2B5EF4-FFF2-40B4-BE49-F238E27FC236}">
                <a16:creationId xmlns:a16="http://schemas.microsoft.com/office/drawing/2014/main" id="{FFA0AA22-B08B-7F4A-B365-587EEE2D842D}"/>
              </a:ext>
            </a:extLst>
          </p:cNvPr>
          <p:cNvSpPr/>
          <p:nvPr/>
        </p:nvSpPr>
        <p:spPr>
          <a:xfrm>
            <a:off x="442912" y="2834754"/>
            <a:ext cx="3529013"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lv-LV" sz="1400" kern="1200">
                <a:solidFill>
                  <a:srgbClr val="000000"/>
                </a:solidFill>
                <a:effectLst/>
                <a:ea typeface="Times New Roman" panose="02020603050405020304" pitchFamily="18" charset="0"/>
              </a:rPr>
              <a:t>Atbrīvojiet elpceļus</a:t>
            </a:r>
            <a:endParaRPr lang="lv-LV" sz="1400">
              <a:effectLst/>
              <a:ea typeface="Times New Roman" panose="02020603050405020304" pitchFamily="18" charset="0"/>
            </a:endParaRPr>
          </a:p>
        </p:txBody>
      </p:sp>
      <p:sp>
        <p:nvSpPr>
          <p:cNvPr id="15" name="Rounded Rectangle 12">
            <a:extLst>
              <a:ext uri="{FF2B5EF4-FFF2-40B4-BE49-F238E27FC236}">
                <a16:creationId xmlns:a16="http://schemas.microsoft.com/office/drawing/2014/main" id="{817192BF-33DA-6E42-944F-7B2F09E52C43}"/>
              </a:ext>
            </a:extLst>
          </p:cNvPr>
          <p:cNvSpPr/>
          <p:nvPr/>
        </p:nvSpPr>
        <p:spPr>
          <a:xfrm>
            <a:off x="442912" y="3342494"/>
            <a:ext cx="3529013"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lv-LV" sz="1400" kern="1200">
                <a:solidFill>
                  <a:srgbClr val="000000"/>
                </a:solidFill>
                <a:effectLst/>
                <a:ea typeface="Times New Roman" panose="02020603050405020304" pitchFamily="18" charset="0"/>
              </a:rPr>
              <a:t>Elpošanas kontrole</a:t>
            </a:r>
            <a:endParaRPr lang="lv-LV" sz="1400">
              <a:effectLst/>
              <a:ea typeface="Times New Roman" panose="02020603050405020304" pitchFamily="18" charset="0"/>
            </a:endParaRPr>
          </a:p>
        </p:txBody>
      </p:sp>
      <p:sp>
        <p:nvSpPr>
          <p:cNvPr id="16" name="Rounded Rectangle 14">
            <a:extLst>
              <a:ext uri="{FF2B5EF4-FFF2-40B4-BE49-F238E27FC236}">
                <a16:creationId xmlns:a16="http://schemas.microsoft.com/office/drawing/2014/main" id="{2AA0056B-1B3F-9647-9399-DD6B5207FA3B}"/>
              </a:ext>
            </a:extLst>
          </p:cNvPr>
          <p:cNvSpPr/>
          <p:nvPr/>
        </p:nvSpPr>
        <p:spPr>
          <a:xfrm>
            <a:off x="442912" y="3850234"/>
            <a:ext cx="3529013" cy="288000"/>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lv-LV" sz="1400" kern="1200">
                <a:solidFill>
                  <a:schemeClr val="bg1"/>
                </a:solidFill>
                <a:effectLst/>
                <a:ea typeface="Times New Roman" panose="02020603050405020304" pitchFamily="18" charset="0"/>
              </a:rPr>
              <a:t>Elpo?</a:t>
            </a:r>
            <a:endParaRPr lang="lv-LV" sz="1400">
              <a:solidFill>
                <a:schemeClr val="bg1"/>
              </a:solidFill>
              <a:effectLst/>
              <a:ea typeface="Times New Roman" panose="02020603050405020304" pitchFamily="18" charset="0"/>
            </a:endParaRPr>
          </a:p>
        </p:txBody>
      </p:sp>
      <p:sp>
        <p:nvSpPr>
          <p:cNvPr id="17" name="Rounded Rectangle 16">
            <a:extLst>
              <a:ext uri="{FF2B5EF4-FFF2-40B4-BE49-F238E27FC236}">
                <a16:creationId xmlns:a16="http://schemas.microsoft.com/office/drawing/2014/main" id="{C1683A97-5B75-9940-AD67-614A9DFD6627}"/>
              </a:ext>
            </a:extLst>
          </p:cNvPr>
          <p:cNvSpPr/>
          <p:nvPr/>
        </p:nvSpPr>
        <p:spPr>
          <a:xfrm>
            <a:off x="442912" y="4865714"/>
            <a:ext cx="3529013"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lv-LV" sz="1400" kern="1200">
                <a:solidFill>
                  <a:srgbClr val="000000"/>
                </a:solidFill>
                <a:effectLst/>
                <a:ea typeface="Times New Roman" panose="02020603050405020304" pitchFamily="18" charset="0"/>
              </a:rPr>
              <a:t>Stabilā sānu poza</a:t>
            </a:r>
            <a:endParaRPr lang="lv-LV" sz="1400">
              <a:effectLst/>
              <a:ea typeface="Times New Roman" panose="02020603050405020304" pitchFamily="18" charset="0"/>
            </a:endParaRPr>
          </a:p>
        </p:txBody>
      </p:sp>
      <p:sp>
        <p:nvSpPr>
          <p:cNvPr id="18" name="Rounded Rectangle 17">
            <a:extLst>
              <a:ext uri="{FF2B5EF4-FFF2-40B4-BE49-F238E27FC236}">
                <a16:creationId xmlns:a16="http://schemas.microsoft.com/office/drawing/2014/main" id="{E4C5F8F0-E4BD-274A-8190-28583D21E512}"/>
              </a:ext>
            </a:extLst>
          </p:cNvPr>
          <p:cNvSpPr/>
          <p:nvPr/>
        </p:nvSpPr>
        <p:spPr>
          <a:xfrm>
            <a:off x="442912" y="5373454"/>
            <a:ext cx="3529013"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lv-LV" sz="1400" kern="1200">
                <a:solidFill>
                  <a:srgbClr val="000000"/>
                </a:solidFill>
                <a:effectLst/>
                <a:ea typeface="Times New Roman" panose="02020603050405020304" pitchFamily="18" charset="0"/>
              </a:rPr>
              <a:t>Izsauciet NP</a:t>
            </a:r>
            <a:endParaRPr lang="lv-LV" sz="1400">
              <a:effectLst/>
              <a:ea typeface="Times New Roman" panose="02020603050405020304" pitchFamily="18" charset="0"/>
            </a:endParaRPr>
          </a:p>
        </p:txBody>
      </p:sp>
      <p:sp>
        <p:nvSpPr>
          <p:cNvPr id="23" name="Rounded Rectangle 23">
            <a:extLst>
              <a:ext uri="{FF2B5EF4-FFF2-40B4-BE49-F238E27FC236}">
                <a16:creationId xmlns:a16="http://schemas.microsoft.com/office/drawing/2014/main" id="{1DFA226E-CAF3-2D42-AC96-11A51BD07541}"/>
              </a:ext>
            </a:extLst>
          </p:cNvPr>
          <p:cNvSpPr/>
          <p:nvPr/>
        </p:nvSpPr>
        <p:spPr>
          <a:xfrm>
            <a:off x="4327524" y="3849309"/>
            <a:ext cx="3533775" cy="288925"/>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lv-LV" sz="1400" kern="1200">
                <a:solidFill>
                  <a:srgbClr val="000000"/>
                </a:solidFill>
                <a:effectLst/>
                <a:ea typeface="Times New Roman" panose="02020603050405020304" pitchFamily="18" charset="0"/>
              </a:rPr>
              <a:t>Izsauciet NP /</a:t>
            </a:r>
            <a:r>
              <a:rPr lang="lv-LV" sz="1400">
                <a:solidFill>
                  <a:srgbClr val="000000"/>
                </a:solidFill>
                <a:ea typeface="Times New Roman" panose="02020603050405020304" pitchFamily="18" charset="0"/>
              </a:rPr>
              <a:t> </a:t>
            </a:r>
            <a:r>
              <a:rPr lang="lv-LV" sz="1400" kern="1200">
                <a:solidFill>
                  <a:srgbClr val="000000"/>
                </a:solidFill>
                <a:effectLst/>
                <a:ea typeface="Times New Roman" panose="02020603050405020304" pitchFamily="18" charset="0"/>
              </a:rPr>
              <a:t>Lieciet atnest AĀD</a:t>
            </a:r>
            <a:endParaRPr lang="lv-LV" sz="1400">
              <a:effectLst/>
              <a:ea typeface="Times New Roman" panose="02020603050405020304" pitchFamily="18" charset="0"/>
            </a:endParaRPr>
          </a:p>
        </p:txBody>
      </p:sp>
      <p:sp>
        <p:nvSpPr>
          <p:cNvPr id="24" name="Rounded Rectangle 24">
            <a:extLst>
              <a:ext uri="{FF2B5EF4-FFF2-40B4-BE49-F238E27FC236}">
                <a16:creationId xmlns:a16="http://schemas.microsoft.com/office/drawing/2014/main" id="{10B15265-346F-0349-AF94-74C872CA65DD}"/>
              </a:ext>
            </a:extLst>
          </p:cNvPr>
          <p:cNvSpPr/>
          <p:nvPr/>
        </p:nvSpPr>
        <p:spPr>
          <a:xfrm>
            <a:off x="4327524" y="4357974"/>
            <a:ext cx="3533775"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lv-LV" sz="1400" kern="1200">
                <a:solidFill>
                  <a:srgbClr val="000000"/>
                </a:solidFill>
                <a:effectLst/>
                <a:ea typeface="Times New Roman" panose="02020603050405020304" pitchFamily="18" charset="0"/>
              </a:rPr>
              <a:t>30 sirds masāžas</a:t>
            </a:r>
            <a:endParaRPr lang="lv-LV" sz="1400">
              <a:effectLst/>
              <a:ea typeface="Times New Roman" panose="02020603050405020304" pitchFamily="18" charset="0"/>
            </a:endParaRPr>
          </a:p>
        </p:txBody>
      </p:sp>
      <p:sp>
        <p:nvSpPr>
          <p:cNvPr id="25" name="Rounded Rectangle 25">
            <a:extLst>
              <a:ext uri="{FF2B5EF4-FFF2-40B4-BE49-F238E27FC236}">
                <a16:creationId xmlns:a16="http://schemas.microsoft.com/office/drawing/2014/main" id="{73F30B4C-A440-674A-9472-8F1EB39DA9F2}"/>
              </a:ext>
            </a:extLst>
          </p:cNvPr>
          <p:cNvSpPr/>
          <p:nvPr/>
        </p:nvSpPr>
        <p:spPr>
          <a:xfrm>
            <a:off x="4327524" y="4865714"/>
            <a:ext cx="3533775"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lv-LV" sz="1400" kern="1200">
                <a:solidFill>
                  <a:srgbClr val="000000"/>
                </a:solidFill>
                <a:effectLst/>
                <a:ea typeface="Times New Roman" panose="02020603050405020304" pitchFamily="18" charset="0"/>
              </a:rPr>
              <a:t>2 elpināšanas</a:t>
            </a:r>
            <a:endParaRPr lang="lv-LV" sz="1400">
              <a:effectLst/>
              <a:ea typeface="Times New Roman" panose="02020603050405020304" pitchFamily="18" charset="0"/>
            </a:endParaRPr>
          </a:p>
        </p:txBody>
      </p:sp>
      <p:sp>
        <p:nvSpPr>
          <p:cNvPr id="26" name="Rounded Rectangle 26">
            <a:extLst>
              <a:ext uri="{FF2B5EF4-FFF2-40B4-BE49-F238E27FC236}">
                <a16:creationId xmlns:a16="http://schemas.microsoft.com/office/drawing/2014/main" id="{8B070493-BB90-AA4F-AE2F-427F4E058BD7}"/>
              </a:ext>
            </a:extLst>
          </p:cNvPr>
          <p:cNvSpPr/>
          <p:nvPr/>
        </p:nvSpPr>
        <p:spPr>
          <a:xfrm>
            <a:off x="4327524" y="5373454"/>
            <a:ext cx="3533775"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a:r>
              <a:rPr lang="lv-LV" sz="1400" kern="1200">
                <a:solidFill>
                  <a:srgbClr val="000000"/>
                </a:solidFill>
                <a:effectLst/>
                <a:ea typeface="Times New Roman" panose="02020603050405020304" pitchFamily="18" charset="0"/>
              </a:rPr>
              <a:t>Turpiniet masēt un elpināt attiecībā 30 : 2 </a:t>
            </a:r>
            <a:endParaRPr lang="lv-LV" sz="1400">
              <a:effectLst/>
              <a:ea typeface="Times New Roman" panose="02020603050405020304" pitchFamily="18" charset="0"/>
            </a:endParaRPr>
          </a:p>
        </p:txBody>
      </p:sp>
      <p:sp>
        <p:nvSpPr>
          <p:cNvPr id="9" name="Rounded Rectangle 3">
            <a:extLst>
              <a:ext uri="{FF2B5EF4-FFF2-40B4-BE49-F238E27FC236}">
                <a16:creationId xmlns:a16="http://schemas.microsoft.com/office/drawing/2014/main" id="{A2B233A5-ED06-3246-BD46-B7B39150B709}"/>
              </a:ext>
            </a:extLst>
          </p:cNvPr>
          <p:cNvSpPr/>
          <p:nvPr/>
        </p:nvSpPr>
        <p:spPr>
          <a:xfrm>
            <a:off x="4327524" y="5881191"/>
            <a:ext cx="3533775"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lv-LV" sz="1400" kern="1200">
                <a:solidFill>
                  <a:srgbClr val="000000"/>
                </a:solidFill>
                <a:effectLst/>
                <a:ea typeface="Times New Roman" panose="02020603050405020304" pitchFamily="18" charset="0"/>
              </a:rPr>
              <a:t>Ieslēdziet AĀD, izpildiet tā komandas </a:t>
            </a:r>
            <a:endParaRPr lang="lv-LV" sz="1400">
              <a:effectLst/>
              <a:ea typeface="Times New Roman" panose="02020603050405020304" pitchFamily="18" charset="0"/>
            </a:endParaRPr>
          </a:p>
        </p:txBody>
      </p:sp>
      <p:cxnSp>
        <p:nvCxnSpPr>
          <p:cNvPr id="37" name="Straight Arrow Connector 36">
            <a:extLst>
              <a:ext uri="{FF2B5EF4-FFF2-40B4-BE49-F238E27FC236}">
                <a16:creationId xmlns:a16="http://schemas.microsoft.com/office/drawing/2014/main" id="{7C7236BE-4ADF-8153-6B39-AEF796CC913C}"/>
              </a:ext>
            </a:extLst>
          </p:cNvPr>
          <p:cNvCxnSpPr>
            <a:cxnSpLocks/>
            <a:stCxn id="10" idx="3"/>
            <a:endCxn id="11" idx="1"/>
          </p:cNvCxnSpPr>
          <p:nvPr/>
        </p:nvCxnSpPr>
        <p:spPr>
          <a:xfrm>
            <a:off x="3971925" y="1963274"/>
            <a:ext cx="355599" cy="2"/>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43" name="Straight Arrow Connector 42">
            <a:extLst>
              <a:ext uri="{FF2B5EF4-FFF2-40B4-BE49-F238E27FC236}">
                <a16:creationId xmlns:a16="http://schemas.microsoft.com/office/drawing/2014/main" id="{72A0F912-B6F6-C429-1D73-5F944261C21E}"/>
              </a:ext>
            </a:extLst>
          </p:cNvPr>
          <p:cNvCxnSpPr>
            <a:stCxn id="23" idx="2"/>
            <a:endCxn id="24" idx="0"/>
          </p:cNvCxnSpPr>
          <p:nvPr/>
        </p:nvCxnSpPr>
        <p:spPr>
          <a:xfrm>
            <a:off x="6094412" y="4138234"/>
            <a:ext cx="0" cy="21974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45" name="Straight Arrow Connector 44">
            <a:extLst>
              <a:ext uri="{FF2B5EF4-FFF2-40B4-BE49-F238E27FC236}">
                <a16:creationId xmlns:a16="http://schemas.microsoft.com/office/drawing/2014/main" id="{98FC76CB-92CA-79EB-0FCC-0279B07E4868}"/>
              </a:ext>
            </a:extLst>
          </p:cNvPr>
          <p:cNvCxnSpPr>
            <a:stCxn id="24" idx="2"/>
            <a:endCxn id="25" idx="0"/>
          </p:cNvCxnSpPr>
          <p:nvPr/>
        </p:nvCxnSpPr>
        <p:spPr>
          <a:xfrm>
            <a:off x="6094412" y="4645974"/>
            <a:ext cx="0" cy="21974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47" name="Straight Arrow Connector 46">
            <a:extLst>
              <a:ext uri="{FF2B5EF4-FFF2-40B4-BE49-F238E27FC236}">
                <a16:creationId xmlns:a16="http://schemas.microsoft.com/office/drawing/2014/main" id="{8B8F284E-EAB2-AD04-A11A-3A260CFADB81}"/>
              </a:ext>
            </a:extLst>
          </p:cNvPr>
          <p:cNvCxnSpPr>
            <a:stCxn id="25" idx="2"/>
            <a:endCxn id="26" idx="0"/>
          </p:cNvCxnSpPr>
          <p:nvPr/>
        </p:nvCxnSpPr>
        <p:spPr>
          <a:xfrm>
            <a:off x="6094412" y="5153714"/>
            <a:ext cx="0" cy="21974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49" name="Straight Arrow Connector 48">
            <a:extLst>
              <a:ext uri="{FF2B5EF4-FFF2-40B4-BE49-F238E27FC236}">
                <a16:creationId xmlns:a16="http://schemas.microsoft.com/office/drawing/2014/main" id="{21BD98F9-4C54-5F05-8131-645F83133AD1}"/>
              </a:ext>
            </a:extLst>
          </p:cNvPr>
          <p:cNvCxnSpPr>
            <a:stCxn id="26" idx="2"/>
            <a:endCxn id="9" idx="0"/>
          </p:cNvCxnSpPr>
          <p:nvPr/>
        </p:nvCxnSpPr>
        <p:spPr>
          <a:xfrm>
            <a:off x="6094412" y="5661454"/>
            <a:ext cx="0" cy="219737"/>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51" name="Straight Arrow Connector 50">
            <a:extLst>
              <a:ext uri="{FF2B5EF4-FFF2-40B4-BE49-F238E27FC236}">
                <a16:creationId xmlns:a16="http://schemas.microsoft.com/office/drawing/2014/main" id="{A247581D-B16A-3BCD-B844-5699CF8A122C}"/>
              </a:ext>
            </a:extLst>
          </p:cNvPr>
          <p:cNvCxnSpPr>
            <a:cxnSpLocks/>
            <a:stCxn id="16" idx="2"/>
            <a:endCxn id="17" idx="0"/>
          </p:cNvCxnSpPr>
          <p:nvPr/>
        </p:nvCxnSpPr>
        <p:spPr>
          <a:xfrm>
            <a:off x="2207419" y="4138234"/>
            <a:ext cx="0" cy="72748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53" name="Straight Arrow Connector 52">
            <a:extLst>
              <a:ext uri="{FF2B5EF4-FFF2-40B4-BE49-F238E27FC236}">
                <a16:creationId xmlns:a16="http://schemas.microsoft.com/office/drawing/2014/main" id="{AC15A7FB-62D3-912B-C6CE-5B0703B74AC4}"/>
              </a:ext>
            </a:extLst>
          </p:cNvPr>
          <p:cNvCxnSpPr>
            <a:cxnSpLocks/>
            <a:stCxn id="17" idx="2"/>
            <a:endCxn id="18" idx="0"/>
          </p:cNvCxnSpPr>
          <p:nvPr/>
        </p:nvCxnSpPr>
        <p:spPr>
          <a:xfrm>
            <a:off x="2207419" y="5153714"/>
            <a:ext cx="0" cy="21974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55" name="Straight Arrow Connector 54">
            <a:extLst>
              <a:ext uri="{FF2B5EF4-FFF2-40B4-BE49-F238E27FC236}">
                <a16:creationId xmlns:a16="http://schemas.microsoft.com/office/drawing/2014/main" id="{3F9B2E66-F81E-035C-3417-93CBB049A98A}"/>
              </a:ext>
            </a:extLst>
          </p:cNvPr>
          <p:cNvCxnSpPr>
            <a:cxnSpLocks/>
            <a:stCxn id="10" idx="2"/>
            <a:endCxn id="12" idx="0"/>
          </p:cNvCxnSpPr>
          <p:nvPr/>
        </p:nvCxnSpPr>
        <p:spPr>
          <a:xfrm>
            <a:off x="2207419" y="2107274"/>
            <a:ext cx="0" cy="21974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57" name="Straight Arrow Connector 56">
            <a:extLst>
              <a:ext uri="{FF2B5EF4-FFF2-40B4-BE49-F238E27FC236}">
                <a16:creationId xmlns:a16="http://schemas.microsoft.com/office/drawing/2014/main" id="{F235514F-D8B3-0248-2D25-0B8582D92491}"/>
              </a:ext>
            </a:extLst>
          </p:cNvPr>
          <p:cNvCxnSpPr>
            <a:cxnSpLocks/>
            <a:stCxn id="12" idx="2"/>
            <a:endCxn id="13" idx="0"/>
          </p:cNvCxnSpPr>
          <p:nvPr/>
        </p:nvCxnSpPr>
        <p:spPr>
          <a:xfrm>
            <a:off x="2207419" y="2615014"/>
            <a:ext cx="0" cy="21974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59" name="Straight Arrow Connector 58">
            <a:extLst>
              <a:ext uri="{FF2B5EF4-FFF2-40B4-BE49-F238E27FC236}">
                <a16:creationId xmlns:a16="http://schemas.microsoft.com/office/drawing/2014/main" id="{20A81309-2578-4335-8652-0E400C879DBE}"/>
              </a:ext>
            </a:extLst>
          </p:cNvPr>
          <p:cNvCxnSpPr>
            <a:cxnSpLocks/>
            <a:stCxn id="13" idx="2"/>
            <a:endCxn id="15" idx="0"/>
          </p:cNvCxnSpPr>
          <p:nvPr/>
        </p:nvCxnSpPr>
        <p:spPr>
          <a:xfrm>
            <a:off x="2207419" y="3122754"/>
            <a:ext cx="0" cy="21974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61" name="Straight Arrow Connector 60">
            <a:extLst>
              <a:ext uri="{FF2B5EF4-FFF2-40B4-BE49-F238E27FC236}">
                <a16:creationId xmlns:a16="http://schemas.microsoft.com/office/drawing/2014/main" id="{FCB0AFCF-B4F3-24DA-9277-A13964EAFAC5}"/>
              </a:ext>
            </a:extLst>
          </p:cNvPr>
          <p:cNvCxnSpPr>
            <a:cxnSpLocks/>
            <a:stCxn id="15" idx="2"/>
            <a:endCxn id="16" idx="0"/>
          </p:cNvCxnSpPr>
          <p:nvPr/>
        </p:nvCxnSpPr>
        <p:spPr>
          <a:xfrm>
            <a:off x="2207419" y="3630494"/>
            <a:ext cx="0" cy="21974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62" name="Straight Arrow Connector 61">
            <a:extLst>
              <a:ext uri="{FF2B5EF4-FFF2-40B4-BE49-F238E27FC236}">
                <a16:creationId xmlns:a16="http://schemas.microsoft.com/office/drawing/2014/main" id="{B56D4A98-332F-9244-0753-E78F9E7502E4}"/>
              </a:ext>
            </a:extLst>
          </p:cNvPr>
          <p:cNvCxnSpPr>
            <a:cxnSpLocks/>
            <a:stCxn id="16" idx="3"/>
            <a:endCxn id="23" idx="1"/>
          </p:cNvCxnSpPr>
          <p:nvPr/>
        </p:nvCxnSpPr>
        <p:spPr>
          <a:xfrm flipV="1">
            <a:off x="3971925" y="3993772"/>
            <a:ext cx="355599" cy="462"/>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sp>
        <p:nvSpPr>
          <p:cNvPr id="80" name="TextBox 79">
            <a:extLst>
              <a:ext uri="{FF2B5EF4-FFF2-40B4-BE49-F238E27FC236}">
                <a16:creationId xmlns:a16="http://schemas.microsoft.com/office/drawing/2014/main" id="{33F3258F-AFEA-7716-88A9-DEF866DBB873}"/>
              </a:ext>
            </a:extLst>
          </p:cNvPr>
          <p:cNvSpPr txBox="1"/>
          <p:nvPr/>
        </p:nvSpPr>
        <p:spPr>
          <a:xfrm>
            <a:off x="2258466" y="2073475"/>
            <a:ext cx="360000" cy="287338"/>
          </a:xfrm>
          <a:prstGeom prst="rect">
            <a:avLst/>
          </a:prstGeom>
          <a:noFill/>
        </p:spPr>
        <p:txBody>
          <a:bodyPr wrap="square" lIns="0" tIns="0" rIns="0" bIns="0" anchor="ctr">
            <a:noAutofit/>
          </a:bodyPr>
          <a:lstStyle/>
          <a:p>
            <a:pPr algn="ctr"/>
            <a:r>
              <a:rPr lang="lv-LV" sz="1400">
                <a:solidFill>
                  <a:schemeClr val="accent2"/>
                </a:solidFill>
              </a:rPr>
              <a:t>Jā</a:t>
            </a:r>
          </a:p>
        </p:txBody>
      </p:sp>
      <p:sp>
        <p:nvSpPr>
          <p:cNvPr id="81" name="TextBox 80">
            <a:extLst>
              <a:ext uri="{FF2B5EF4-FFF2-40B4-BE49-F238E27FC236}">
                <a16:creationId xmlns:a16="http://schemas.microsoft.com/office/drawing/2014/main" id="{03A635FF-A78F-8735-A808-281BDB5E3F81}"/>
              </a:ext>
            </a:extLst>
          </p:cNvPr>
          <p:cNvSpPr txBox="1"/>
          <p:nvPr/>
        </p:nvSpPr>
        <p:spPr>
          <a:xfrm>
            <a:off x="2258466" y="4358305"/>
            <a:ext cx="360000" cy="287338"/>
          </a:xfrm>
          <a:prstGeom prst="rect">
            <a:avLst/>
          </a:prstGeom>
          <a:noFill/>
        </p:spPr>
        <p:txBody>
          <a:bodyPr wrap="square" lIns="0" tIns="0" rIns="0" bIns="0" anchor="ctr">
            <a:noAutofit/>
          </a:bodyPr>
          <a:lstStyle/>
          <a:p>
            <a:pPr algn="ctr"/>
            <a:r>
              <a:rPr lang="lv-LV" sz="1400">
                <a:solidFill>
                  <a:schemeClr val="accent2"/>
                </a:solidFill>
              </a:rPr>
              <a:t>Jā</a:t>
            </a:r>
          </a:p>
        </p:txBody>
      </p:sp>
      <p:sp>
        <p:nvSpPr>
          <p:cNvPr id="82" name="TextBox 81">
            <a:extLst>
              <a:ext uri="{FF2B5EF4-FFF2-40B4-BE49-F238E27FC236}">
                <a16:creationId xmlns:a16="http://schemas.microsoft.com/office/drawing/2014/main" id="{65B4A675-6657-816B-877E-77046FB90EDE}"/>
              </a:ext>
            </a:extLst>
          </p:cNvPr>
          <p:cNvSpPr txBox="1"/>
          <p:nvPr/>
        </p:nvSpPr>
        <p:spPr>
          <a:xfrm>
            <a:off x="3926068" y="1727254"/>
            <a:ext cx="360000" cy="287338"/>
          </a:xfrm>
          <a:prstGeom prst="rect">
            <a:avLst/>
          </a:prstGeom>
          <a:noFill/>
        </p:spPr>
        <p:txBody>
          <a:bodyPr wrap="square" lIns="0" tIns="0" rIns="0" bIns="0" anchor="ctr">
            <a:noAutofit/>
          </a:bodyPr>
          <a:lstStyle/>
          <a:p>
            <a:pPr algn="ctr"/>
            <a:r>
              <a:rPr lang="lv-LV" sz="1400">
                <a:solidFill>
                  <a:schemeClr val="accent2"/>
                </a:solidFill>
              </a:rPr>
              <a:t>Nē</a:t>
            </a:r>
          </a:p>
        </p:txBody>
      </p:sp>
      <p:sp>
        <p:nvSpPr>
          <p:cNvPr id="83" name="TextBox 82">
            <a:extLst>
              <a:ext uri="{FF2B5EF4-FFF2-40B4-BE49-F238E27FC236}">
                <a16:creationId xmlns:a16="http://schemas.microsoft.com/office/drawing/2014/main" id="{54F0AA69-8303-66A6-6FF1-F4A9B799A601}"/>
              </a:ext>
            </a:extLst>
          </p:cNvPr>
          <p:cNvSpPr txBox="1"/>
          <p:nvPr/>
        </p:nvSpPr>
        <p:spPr>
          <a:xfrm>
            <a:off x="3926068" y="3724750"/>
            <a:ext cx="360000" cy="287338"/>
          </a:xfrm>
          <a:prstGeom prst="rect">
            <a:avLst/>
          </a:prstGeom>
          <a:noFill/>
        </p:spPr>
        <p:txBody>
          <a:bodyPr wrap="square" lIns="0" tIns="0" rIns="0" bIns="0" anchor="ctr">
            <a:noAutofit/>
          </a:bodyPr>
          <a:lstStyle/>
          <a:p>
            <a:pPr algn="ctr"/>
            <a:r>
              <a:rPr lang="lv-LV" sz="1400">
                <a:solidFill>
                  <a:schemeClr val="accent2"/>
                </a:solidFill>
              </a:rPr>
              <a:t>Nē</a:t>
            </a:r>
          </a:p>
        </p:txBody>
      </p:sp>
      <p:sp>
        <p:nvSpPr>
          <p:cNvPr id="86" name="Rectangle 85">
            <a:extLst>
              <a:ext uri="{FF2B5EF4-FFF2-40B4-BE49-F238E27FC236}">
                <a16:creationId xmlns:a16="http://schemas.microsoft.com/office/drawing/2014/main" id="{FAE45AAF-2F8E-201A-3A04-5A013ADD89B9}"/>
              </a:ext>
            </a:extLst>
          </p:cNvPr>
          <p:cNvSpPr/>
          <p:nvPr/>
        </p:nvSpPr>
        <p:spPr>
          <a:xfrm>
            <a:off x="8218487" y="0"/>
            <a:ext cx="3973513" cy="61722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 name="Rectangle 1">
            <a:extLst>
              <a:ext uri="{FF2B5EF4-FFF2-40B4-BE49-F238E27FC236}">
                <a16:creationId xmlns:a16="http://schemas.microsoft.com/office/drawing/2014/main" id="{B3B9B40C-89D0-00A8-E1FD-6C775139BEFB}"/>
              </a:ext>
            </a:extLst>
          </p:cNvPr>
          <p:cNvSpPr/>
          <p:nvPr/>
        </p:nvSpPr>
        <p:spPr>
          <a:xfrm>
            <a:off x="8218487" y="4445876"/>
            <a:ext cx="3530601" cy="1726324"/>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432000" tIns="468000" rIns="432000" rtlCol="0" anchor="ctr"/>
          <a:lstStyle/>
          <a:p>
            <a:pPr marL="171450" indent="-171450">
              <a:buFont typeface="Arial" panose="020B0604020202020204" pitchFamily="34" charset="0"/>
              <a:buChar char="•"/>
            </a:pPr>
            <a:r>
              <a:rPr lang="lv-LV" sz="1100" b="1">
                <a:solidFill>
                  <a:schemeClr val="bg1"/>
                </a:solidFill>
                <a:hlinkClick r:id="rId7">
                  <a:extLst>
                    <a:ext uri="{A12FA001-AC4F-418D-AE19-62706E023703}">
                      <ahyp:hlinkClr xmlns:ahyp="http://schemas.microsoft.com/office/drawing/2018/hyperlinkcolor" val="tx"/>
                    </a:ext>
                  </a:extLst>
                </a:hlinkClick>
              </a:rPr>
              <a:t>NMPD instrukcija "Pirmā palīdzība: stabilā sānu poza"</a:t>
            </a:r>
            <a:endParaRPr lang="lv-LV" sz="1100" b="1">
              <a:solidFill>
                <a:schemeClr val="bg1"/>
              </a:solidFill>
            </a:endParaRPr>
          </a:p>
          <a:p>
            <a:pPr marL="171450" indent="-171450">
              <a:buFont typeface="Arial" panose="020B0604020202020204" pitchFamily="34" charset="0"/>
              <a:buChar char="•"/>
            </a:pPr>
            <a:r>
              <a:rPr lang="lv-LV" sz="1100" b="1">
                <a:solidFill>
                  <a:schemeClr val="bg1"/>
                </a:solidFill>
                <a:hlinkClick r:id="rId8">
                  <a:extLst>
                    <a:ext uri="{A12FA001-AC4F-418D-AE19-62706E023703}">
                      <ahyp:hlinkClr xmlns:ahyp="http://schemas.microsoft.com/office/drawing/2018/hyperlinkcolor" val="tx"/>
                    </a:ext>
                  </a:extLst>
                </a:hlinkClick>
              </a:rPr>
              <a:t>NMPD instrukcija "Pirmās palīdzības ABC. Atdzīvināšana – pieaugušie"</a:t>
            </a:r>
            <a:endParaRPr lang="lv-LV" sz="1100" b="1">
              <a:solidFill>
                <a:schemeClr val="bg1"/>
              </a:solidFill>
            </a:endParaRPr>
          </a:p>
        </p:txBody>
      </p:sp>
      <p:sp>
        <p:nvSpPr>
          <p:cNvPr id="5" name="Google Shape;2001;p98">
            <a:extLst>
              <a:ext uri="{FF2B5EF4-FFF2-40B4-BE49-F238E27FC236}">
                <a16:creationId xmlns:a16="http://schemas.microsoft.com/office/drawing/2014/main" id="{9B9A4561-429C-6EAE-F170-E90F8BD220FB}"/>
              </a:ext>
            </a:extLst>
          </p:cNvPr>
          <p:cNvSpPr/>
          <p:nvPr/>
        </p:nvSpPr>
        <p:spPr>
          <a:xfrm>
            <a:off x="8654113" y="4649714"/>
            <a:ext cx="360000" cy="360000"/>
          </a:xfrm>
          <a:custGeom>
            <a:avLst/>
            <a:gdLst/>
            <a:ahLst/>
            <a:cxnLst/>
            <a:rect l="l" t="t" r="r" b="b"/>
            <a:pathLst>
              <a:path w="347" h="347" extrusionOk="0">
                <a:moveTo>
                  <a:pt x="0" y="0"/>
                </a:moveTo>
                <a:cubicBezTo>
                  <a:pt x="0" y="347"/>
                  <a:pt x="0" y="347"/>
                  <a:pt x="0" y="347"/>
                </a:cubicBezTo>
                <a:cubicBezTo>
                  <a:pt x="347" y="347"/>
                  <a:pt x="347" y="347"/>
                  <a:pt x="347" y="347"/>
                </a:cubicBezTo>
                <a:cubicBezTo>
                  <a:pt x="347" y="0"/>
                  <a:pt x="347" y="0"/>
                  <a:pt x="347" y="0"/>
                </a:cubicBezTo>
                <a:lnTo>
                  <a:pt x="0" y="0"/>
                </a:lnTo>
                <a:close/>
                <a:moveTo>
                  <a:pt x="332" y="332"/>
                </a:moveTo>
                <a:cubicBezTo>
                  <a:pt x="15" y="332"/>
                  <a:pt x="15" y="332"/>
                  <a:pt x="15" y="332"/>
                </a:cubicBezTo>
                <a:cubicBezTo>
                  <a:pt x="15" y="15"/>
                  <a:pt x="15" y="15"/>
                  <a:pt x="15" y="15"/>
                </a:cubicBezTo>
                <a:cubicBezTo>
                  <a:pt x="332" y="15"/>
                  <a:pt x="332" y="15"/>
                  <a:pt x="332" y="15"/>
                </a:cubicBezTo>
                <a:lnTo>
                  <a:pt x="332" y="332"/>
                </a:lnTo>
                <a:close/>
                <a:moveTo>
                  <a:pt x="173" y="300"/>
                </a:moveTo>
                <a:cubicBezTo>
                  <a:pt x="243" y="300"/>
                  <a:pt x="300" y="243"/>
                  <a:pt x="300" y="173"/>
                </a:cubicBezTo>
                <a:cubicBezTo>
                  <a:pt x="300" y="104"/>
                  <a:pt x="243" y="47"/>
                  <a:pt x="173" y="47"/>
                </a:cubicBezTo>
                <a:cubicBezTo>
                  <a:pt x="104" y="47"/>
                  <a:pt x="47" y="104"/>
                  <a:pt x="47" y="173"/>
                </a:cubicBezTo>
                <a:cubicBezTo>
                  <a:pt x="47" y="243"/>
                  <a:pt x="104" y="300"/>
                  <a:pt x="173" y="300"/>
                </a:cubicBezTo>
                <a:close/>
                <a:moveTo>
                  <a:pt x="84" y="240"/>
                </a:moveTo>
                <a:cubicBezTo>
                  <a:pt x="109" y="240"/>
                  <a:pt x="109" y="240"/>
                  <a:pt x="109" y="240"/>
                </a:cubicBezTo>
                <a:cubicBezTo>
                  <a:pt x="114" y="254"/>
                  <a:pt x="121" y="266"/>
                  <a:pt x="129" y="276"/>
                </a:cubicBezTo>
                <a:cubicBezTo>
                  <a:pt x="111" y="268"/>
                  <a:pt x="96" y="256"/>
                  <a:pt x="84" y="240"/>
                </a:cubicBezTo>
                <a:close/>
                <a:moveTo>
                  <a:pt x="91" y="121"/>
                </a:moveTo>
                <a:cubicBezTo>
                  <a:pt x="92" y="128"/>
                  <a:pt x="96" y="134"/>
                  <a:pt x="101" y="137"/>
                </a:cubicBezTo>
                <a:cubicBezTo>
                  <a:pt x="100" y="147"/>
                  <a:pt x="99" y="156"/>
                  <a:pt x="99" y="166"/>
                </a:cubicBezTo>
                <a:cubicBezTo>
                  <a:pt x="62" y="166"/>
                  <a:pt x="62" y="166"/>
                  <a:pt x="62" y="166"/>
                </a:cubicBezTo>
                <a:cubicBezTo>
                  <a:pt x="63" y="150"/>
                  <a:pt x="67" y="135"/>
                  <a:pt x="75" y="121"/>
                </a:cubicBezTo>
                <a:lnTo>
                  <a:pt x="91" y="121"/>
                </a:lnTo>
                <a:close/>
                <a:moveTo>
                  <a:pt x="285" y="166"/>
                </a:moveTo>
                <a:cubicBezTo>
                  <a:pt x="267" y="166"/>
                  <a:pt x="267" y="166"/>
                  <a:pt x="267" y="166"/>
                </a:cubicBezTo>
                <a:cubicBezTo>
                  <a:pt x="264" y="157"/>
                  <a:pt x="257" y="151"/>
                  <a:pt x="247" y="149"/>
                </a:cubicBezTo>
                <a:cubicBezTo>
                  <a:pt x="246" y="139"/>
                  <a:pt x="244" y="130"/>
                  <a:pt x="242" y="121"/>
                </a:cubicBezTo>
                <a:cubicBezTo>
                  <a:pt x="272" y="121"/>
                  <a:pt x="272" y="121"/>
                  <a:pt x="272" y="121"/>
                </a:cubicBezTo>
                <a:cubicBezTo>
                  <a:pt x="279" y="135"/>
                  <a:pt x="284" y="150"/>
                  <a:pt x="285" y="166"/>
                </a:cubicBezTo>
                <a:close/>
                <a:moveTo>
                  <a:pt x="145" y="121"/>
                </a:moveTo>
                <a:cubicBezTo>
                  <a:pt x="166" y="121"/>
                  <a:pt x="166" y="121"/>
                  <a:pt x="166" y="121"/>
                </a:cubicBezTo>
                <a:cubicBezTo>
                  <a:pt x="166" y="166"/>
                  <a:pt x="166" y="166"/>
                  <a:pt x="166" y="166"/>
                </a:cubicBezTo>
                <a:cubicBezTo>
                  <a:pt x="113" y="166"/>
                  <a:pt x="113" y="166"/>
                  <a:pt x="113" y="166"/>
                </a:cubicBezTo>
                <a:cubicBezTo>
                  <a:pt x="114" y="158"/>
                  <a:pt x="114" y="150"/>
                  <a:pt x="115" y="143"/>
                </a:cubicBezTo>
                <a:cubicBezTo>
                  <a:pt x="116" y="143"/>
                  <a:pt x="117" y="143"/>
                  <a:pt x="118" y="143"/>
                </a:cubicBezTo>
                <a:cubicBezTo>
                  <a:pt x="131" y="143"/>
                  <a:pt x="142" y="134"/>
                  <a:pt x="145" y="121"/>
                </a:cubicBezTo>
                <a:close/>
                <a:moveTo>
                  <a:pt x="166" y="181"/>
                </a:moveTo>
                <a:cubicBezTo>
                  <a:pt x="166" y="205"/>
                  <a:pt x="166" y="205"/>
                  <a:pt x="166" y="205"/>
                </a:cubicBezTo>
                <a:cubicBezTo>
                  <a:pt x="157" y="208"/>
                  <a:pt x="149" y="216"/>
                  <a:pt x="147" y="226"/>
                </a:cubicBezTo>
                <a:cubicBezTo>
                  <a:pt x="120" y="226"/>
                  <a:pt x="120" y="226"/>
                  <a:pt x="120" y="226"/>
                </a:cubicBezTo>
                <a:cubicBezTo>
                  <a:pt x="116" y="212"/>
                  <a:pt x="114" y="197"/>
                  <a:pt x="113" y="181"/>
                </a:cubicBezTo>
                <a:lnTo>
                  <a:pt x="166" y="181"/>
                </a:lnTo>
                <a:close/>
                <a:moveTo>
                  <a:pt x="174" y="244"/>
                </a:moveTo>
                <a:cubicBezTo>
                  <a:pt x="167" y="244"/>
                  <a:pt x="161" y="238"/>
                  <a:pt x="161" y="232"/>
                </a:cubicBezTo>
                <a:cubicBezTo>
                  <a:pt x="161" y="225"/>
                  <a:pt x="167" y="219"/>
                  <a:pt x="174" y="219"/>
                </a:cubicBezTo>
                <a:cubicBezTo>
                  <a:pt x="181" y="219"/>
                  <a:pt x="186" y="225"/>
                  <a:pt x="186" y="232"/>
                </a:cubicBezTo>
                <a:cubicBezTo>
                  <a:pt x="186" y="238"/>
                  <a:pt x="181" y="244"/>
                  <a:pt x="174" y="244"/>
                </a:cubicBezTo>
                <a:close/>
                <a:moveTo>
                  <a:pt x="148" y="240"/>
                </a:moveTo>
                <a:cubicBezTo>
                  <a:pt x="151" y="249"/>
                  <a:pt x="158" y="255"/>
                  <a:pt x="166" y="258"/>
                </a:cubicBezTo>
                <a:cubicBezTo>
                  <a:pt x="166" y="284"/>
                  <a:pt x="166" y="284"/>
                  <a:pt x="166" y="284"/>
                </a:cubicBezTo>
                <a:cubicBezTo>
                  <a:pt x="150" y="280"/>
                  <a:pt x="135" y="264"/>
                  <a:pt x="126" y="240"/>
                </a:cubicBezTo>
                <a:lnTo>
                  <a:pt x="148" y="240"/>
                </a:lnTo>
                <a:close/>
                <a:moveTo>
                  <a:pt x="181" y="284"/>
                </a:moveTo>
                <a:cubicBezTo>
                  <a:pt x="181" y="258"/>
                  <a:pt x="181" y="258"/>
                  <a:pt x="181" y="258"/>
                </a:cubicBezTo>
                <a:cubicBezTo>
                  <a:pt x="190" y="256"/>
                  <a:pt x="197" y="249"/>
                  <a:pt x="200" y="240"/>
                </a:cubicBezTo>
                <a:cubicBezTo>
                  <a:pt x="221" y="240"/>
                  <a:pt x="221" y="240"/>
                  <a:pt x="221" y="240"/>
                </a:cubicBezTo>
                <a:cubicBezTo>
                  <a:pt x="212" y="264"/>
                  <a:pt x="197" y="280"/>
                  <a:pt x="181" y="284"/>
                </a:cubicBezTo>
                <a:close/>
                <a:moveTo>
                  <a:pt x="201" y="226"/>
                </a:moveTo>
                <a:cubicBezTo>
                  <a:pt x="198" y="216"/>
                  <a:pt x="191" y="208"/>
                  <a:pt x="181" y="205"/>
                </a:cubicBezTo>
                <a:cubicBezTo>
                  <a:pt x="181" y="181"/>
                  <a:pt x="181" y="181"/>
                  <a:pt x="181" y="181"/>
                </a:cubicBezTo>
                <a:cubicBezTo>
                  <a:pt x="215" y="181"/>
                  <a:pt x="215" y="181"/>
                  <a:pt x="215" y="181"/>
                </a:cubicBezTo>
                <a:cubicBezTo>
                  <a:pt x="217" y="190"/>
                  <a:pt x="223" y="198"/>
                  <a:pt x="232" y="201"/>
                </a:cubicBezTo>
                <a:cubicBezTo>
                  <a:pt x="231" y="210"/>
                  <a:pt x="229" y="218"/>
                  <a:pt x="227" y="226"/>
                </a:cubicBezTo>
                <a:lnTo>
                  <a:pt x="201" y="226"/>
                </a:lnTo>
                <a:close/>
                <a:moveTo>
                  <a:pt x="242" y="163"/>
                </a:moveTo>
                <a:cubicBezTo>
                  <a:pt x="249" y="163"/>
                  <a:pt x="254" y="169"/>
                  <a:pt x="254" y="176"/>
                </a:cubicBezTo>
                <a:cubicBezTo>
                  <a:pt x="254" y="182"/>
                  <a:pt x="249" y="188"/>
                  <a:pt x="242" y="188"/>
                </a:cubicBezTo>
                <a:cubicBezTo>
                  <a:pt x="235" y="188"/>
                  <a:pt x="229" y="182"/>
                  <a:pt x="229" y="176"/>
                </a:cubicBezTo>
                <a:cubicBezTo>
                  <a:pt x="229" y="169"/>
                  <a:pt x="235" y="163"/>
                  <a:pt x="242" y="163"/>
                </a:cubicBezTo>
                <a:close/>
                <a:moveTo>
                  <a:pt x="247" y="202"/>
                </a:moveTo>
                <a:cubicBezTo>
                  <a:pt x="258" y="201"/>
                  <a:pt x="266" y="192"/>
                  <a:pt x="269" y="181"/>
                </a:cubicBezTo>
                <a:cubicBezTo>
                  <a:pt x="285" y="181"/>
                  <a:pt x="285" y="181"/>
                  <a:pt x="285" y="181"/>
                </a:cubicBezTo>
                <a:cubicBezTo>
                  <a:pt x="284" y="197"/>
                  <a:pt x="279" y="212"/>
                  <a:pt x="272" y="226"/>
                </a:cubicBezTo>
                <a:cubicBezTo>
                  <a:pt x="242" y="226"/>
                  <a:pt x="242" y="226"/>
                  <a:pt x="242" y="226"/>
                </a:cubicBezTo>
                <a:cubicBezTo>
                  <a:pt x="244" y="218"/>
                  <a:pt x="245" y="211"/>
                  <a:pt x="247" y="202"/>
                </a:cubicBezTo>
                <a:close/>
                <a:moveTo>
                  <a:pt x="232" y="150"/>
                </a:moveTo>
                <a:cubicBezTo>
                  <a:pt x="225" y="153"/>
                  <a:pt x="219" y="159"/>
                  <a:pt x="216" y="166"/>
                </a:cubicBezTo>
                <a:cubicBezTo>
                  <a:pt x="181" y="166"/>
                  <a:pt x="181" y="166"/>
                  <a:pt x="181" y="166"/>
                </a:cubicBezTo>
                <a:cubicBezTo>
                  <a:pt x="181" y="121"/>
                  <a:pt x="181" y="121"/>
                  <a:pt x="181" y="121"/>
                </a:cubicBezTo>
                <a:cubicBezTo>
                  <a:pt x="227" y="121"/>
                  <a:pt x="227" y="121"/>
                  <a:pt x="227" y="121"/>
                </a:cubicBezTo>
                <a:cubicBezTo>
                  <a:pt x="229" y="130"/>
                  <a:pt x="231" y="140"/>
                  <a:pt x="232" y="150"/>
                </a:cubicBezTo>
                <a:close/>
                <a:moveTo>
                  <a:pt x="181" y="106"/>
                </a:moveTo>
                <a:cubicBezTo>
                  <a:pt x="181" y="63"/>
                  <a:pt x="181" y="63"/>
                  <a:pt x="181" y="63"/>
                </a:cubicBezTo>
                <a:cubicBezTo>
                  <a:pt x="197" y="66"/>
                  <a:pt x="212" y="83"/>
                  <a:pt x="222" y="106"/>
                </a:cubicBezTo>
                <a:lnTo>
                  <a:pt x="181" y="106"/>
                </a:lnTo>
                <a:close/>
                <a:moveTo>
                  <a:pt x="166" y="63"/>
                </a:moveTo>
                <a:cubicBezTo>
                  <a:pt x="166" y="106"/>
                  <a:pt x="166" y="106"/>
                  <a:pt x="166" y="106"/>
                </a:cubicBezTo>
                <a:cubicBezTo>
                  <a:pt x="144" y="106"/>
                  <a:pt x="144" y="106"/>
                  <a:pt x="144" y="106"/>
                </a:cubicBezTo>
                <a:cubicBezTo>
                  <a:pt x="142" y="101"/>
                  <a:pt x="138" y="96"/>
                  <a:pt x="132" y="92"/>
                </a:cubicBezTo>
                <a:cubicBezTo>
                  <a:pt x="142" y="76"/>
                  <a:pt x="154" y="66"/>
                  <a:pt x="166" y="63"/>
                </a:cubicBezTo>
                <a:close/>
                <a:moveTo>
                  <a:pt x="118" y="103"/>
                </a:moveTo>
                <a:cubicBezTo>
                  <a:pt x="125" y="103"/>
                  <a:pt x="130" y="109"/>
                  <a:pt x="130" y="116"/>
                </a:cubicBezTo>
                <a:cubicBezTo>
                  <a:pt x="130" y="122"/>
                  <a:pt x="125" y="128"/>
                  <a:pt x="118" y="128"/>
                </a:cubicBezTo>
                <a:cubicBezTo>
                  <a:pt x="111" y="128"/>
                  <a:pt x="105" y="122"/>
                  <a:pt x="105" y="116"/>
                </a:cubicBezTo>
                <a:cubicBezTo>
                  <a:pt x="105" y="109"/>
                  <a:pt x="111" y="103"/>
                  <a:pt x="118" y="103"/>
                </a:cubicBezTo>
                <a:close/>
                <a:moveTo>
                  <a:pt x="98" y="181"/>
                </a:moveTo>
                <a:cubicBezTo>
                  <a:pt x="99" y="197"/>
                  <a:pt x="101" y="212"/>
                  <a:pt x="105" y="226"/>
                </a:cubicBezTo>
                <a:cubicBezTo>
                  <a:pt x="75" y="226"/>
                  <a:pt x="75" y="226"/>
                  <a:pt x="75" y="226"/>
                </a:cubicBezTo>
                <a:cubicBezTo>
                  <a:pt x="67" y="212"/>
                  <a:pt x="63" y="197"/>
                  <a:pt x="62" y="181"/>
                </a:cubicBezTo>
                <a:lnTo>
                  <a:pt x="98" y="181"/>
                </a:lnTo>
                <a:close/>
                <a:moveTo>
                  <a:pt x="217" y="276"/>
                </a:moveTo>
                <a:cubicBezTo>
                  <a:pt x="225" y="267"/>
                  <a:pt x="232" y="255"/>
                  <a:pt x="237" y="240"/>
                </a:cubicBezTo>
                <a:cubicBezTo>
                  <a:pt x="263" y="240"/>
                  <a:pt x="263" y="240"/>
                  <a:pt x="263" y="240"/>
                </a:cubicBezTo>
                <a:cubicBezTo>
                  <a:pt x="251" y="256"/>
                  <a:pt x="235" y="268"/>
                  <a:pt x="217" y="276"/>
                </a:cubicBezTo>
                <a:close/>
                <a:moveTo>
                  <a:pt x="263" y="106"/>
                </a:moveTo>
                <a:cubicBezTo>
                  <a:pt x="237" y="106"/>
                  <a:pt x="237" y="106"/>
                  <a:pt x="237" y="106"/>
                </a:cubicBezTo>
                <a:cubicBezTo>
                  <a:pt x="232" y="92"/>
                  <a:pt x="226" y="80"/>
                  <a:pt x="218" y="71"/>
                </a:cubicBezTo>
                <a:cubicBezTo>
                  <a:pt x="236" y="79"/>
                  <a:pt x="251" y="91"/>
                  <a:pt x="263" y="106"/>
                </a:cubicBezTo>
                <a:close/>
                <a:moveTo>
                  <a:pt x="129" y="71"/>
                </a:moveTo>
                <a:cubicBezTo>
                  <a:pt x="125" y="76"/>
                  <a:pt x="121" y="82"/>
                  <a:pt x="118" y="88"/>
                </a:cubicBezTo>
                <a:cubicBezTo>
                  <a:pt x="106" y="88"/>
                  <a:pt x="96" y="96"/>
                  <a:pt x="92" y="106"/>
                </a:cubicBezTo>
                <a:cubicBezTo>
                  <a:pt x="84" y="106"/>
                  <a:pt x="84" y="106"/>
                  <a:pt x="84" y="106"/>
                </a:cubicBezTo>
                <a:cubicBezTo>
                  <a:pt x="96" y="91"/>
                  <a:pt x="111" y="79"/>
                  <a:pt x="129" y="71"/>
                </a:cubicBez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 name="Rectangle 7">
            <a:extLst>
              <a:ext uri="{FF2B5EF4-FFF2-40B4-BE49-F238E27FC236}">
                <a16:creationId xmlns:a16="http://schemas.microsoft.com/office/drawing/2014/main" id="{2CA7E931-5A39-E16F-287D-26D8CB80F058}"/>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33" name="Group 32">
            <a:extLst>
              <a:ext uri="{FF2B5EF4-FFF2-40B4-BE49-F238E27FC236}">
                <a16:creationId xmlns:a16="http://schemas.microsoft.com/office/drawing/2014/main" id="{ABFF8037-8EB5-4B17-670B-F756F01C5E53}"/>
              </a:ext>
            </a:extLst>
          </p:cNvPr>
          <p:cNvGrpSpPr/>
          <p:nvPr/>
        </p:nvGrpSpPr>
        <p:grpSpPr>
          <a:xfrm>
            <a:off x="9214984" y="126781"/>
            <a:ext cx="2534104" cy="217488"/>
            <a:chOff x="9214984" y="126781"/>
            <a:chExt cx="2534104" cy="217488"/>
          </a:xfrm>
        </p:grpSpPr>
        <p:sp>
          <p:nvSpPr>
            <p:cNvPr id="20" name="Rectangle 19">
              <a:extLst>
                <a:ext uri="{FF2B5EF4-FFF2-40B4-BE49-F238E27FC236}">
                  <a16:creationId xmlns:a16="http://schemas.microsoft.com/office/drawing/2014/main" id="{36C24187-730C-71DC-948E-6236097A3FCE}"/>
                </a:ext>
              </a:extLst>
            </p:cNvPr>
            <p:cNvSpPr/>
            <p:nvPr/>
          </p:nvSpPr>
          <p:spPr>
            <a:xfrm>
              <a:off x="9939020" y="126781"/>
              <a:ext cx="1329297"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rgbClr val="000000"/>
                  </a:solidFill>
                  <a:effectLst/>
                  <a:uLnTx/>
                  <a:uFillTx/>
                  <a:ea typeface="Georgia"/>
                  <a:cs typeface="Georgia"/>
                  <a:sym typeface="Georgia"/>
                </a:rPr>
                <a:t>Atdzīvināšanas pasākumi</a:t>
              </a:r>
            </a:p>
          </p:txBody>
        </p:sp>
        <p:sp>
          <p:nvSpPr>
            <p:cNvPr id="19" name="Rectangle 18">
              <a:extLst>
                <a:ext uri="{FF2B5EF4-FFF2-40B4-BE49-F238E27FC236}">
                  <a16:creationId xmlns:a16="http://schemas.microsoft.com/office/drawing/2014/main" id="{DE96E661-5736-8C3F-255F-9D2374B7F0FB}"/>
                </a:ext>
              </a:extLst>
            </p:cNvPr>
            <p:cNvSpPr/>
            <p:nvPr/>
          </p:nvSpPr>
          <p:spPr>
            <a:xfrm>
              <a:off x="921498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lv-LV" sz="800" b="1" i="0" u="none" strike="noStrike" kern="0" cap="none" spc="0" normalizeH="0" baseline="0">
                  <a:ln>
                    <a:noFill/>
                  </a:ln>
                  <a:solidFill>
                    <a:schemeClr val="accent1"/>
                  </a:solidFill>
                  <a:effectLst/>
                  <a:uLnTx/>
                  <a:uFillTx/>
                  <a:ea typeface="Georgia"/>
                  <a:cs typeface="Georgia"/>
                  <a:sym typeface="Georgia"/>
                </a:rPr>
                <a:t>.1</a:t>
              </a:r>
            </a:p>
          </p:txBody>
        </p:sp>
        <p:sp>
          <p:nvSpPr>
            <p:cNvPr id="21" name="Rectangle 20">
              <a:extLst>
                <a:ext uri="{FF2B5EF4-FFF2-40B4-BE49-F238E27FC236}">
                  <a16:creationId xmlns:a16="http://schemas.microsoft.com/office/drawing/2014/main" id="{9DDA2F8A-B421-783A-8697-99B26276333A}"/>
                </a:ext>
              </a:extLst>
            </p:cNvPr>
            <p:cNvSpPr/>
            <p:nvPr/>
          </p:nvSpPr>
          <p:spPr>
            <a:xfrm>
              <a:off x="945825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lv-LV" sz="800" b="1" i="0" u="none" strike="noStrike" kern="0" cap="none" spc="0" normalizeH="0" baseline="0">
                  <a:ln>
                    <a:noFill/>
                  </a:ln>
                  <a:solidFill>
                    <a:schemeClr val="accent1"/>
                  </a:solidFill>
                  <a:effectLst/>
                  <a:uLnTx/>
                  <a:uFillTx/>
                  <a:ea typeface="Georgia"/>
                  <a:cs typeface="Georgia"/>
                  <a:sym typeface="Georgia"/>
                </a:rPr>
                <a:t>.2</a:t>
              </a:r>
            </a:p>
          </p:txBody>
        </p:sp>
        <p:sp>
          <p:nvSpPr>
            <p:cNvPr id="22" name="Rectangle 21">
              <a:extLst>
                <a:ext uri="{FF2B5EF4-FFF2-40B4-BE49-F238E27FC236}">
                  <a16:creationId xmlns:a16="http://schemas.microsoft.com/office/drawing/2014/main" id="{8E63E40A-7AB1-B534-4B2C-02E4311BEF4F}"/>
                </a:ext>
              </a:extLst>
            </p:cNvPr>
            <p:cNvSpPr/>
            <p:nvPr/>
          </p:nvSpPr>
          <p:spPr>
            <a:xfrm>
              <a:off x="9698634"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lv-LV" sz="800" b="1" i="0" u="none" strike="noStrike" kern="0" cap="none" spc="0" normalizeH="0" baseline="0">
                  <a:ln>
                    <a:noFill/>
                  </a:ln>
                  <a:effectLst/>
                  <a:uLnTx/>
                  <a:uFillTx/>
                  <a:ea typeface="Georgia"/>
                  <a:cs typeface="Georgia"/>
                  <a:sym typeface="Georgia"/>
                </a:rPr>
                <a:t>.3</a:t>
              </a:r>
            </a:p>
          </p:txBody>
        </p:sp>
        <p:sp>
          <p:nvSpPr>
            <p:cNvPr id="28" name="Rectangle 27">
              <a:extLst>
                <a:ext uri="{FF2B5EF4-FFF2-40B4-BE49-F238E27FC236}">
                  <a16:creationId xmlns:a16="http://schemas.microsoft.com/office/drawing/2014/main" id="{D47F3DC6-4280-EA23-4A05-CF43D4483198}"/>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lv-LV" sz="800" b="1" i="0" u="none" strike="noStrike" kern="0" cap="none" spc="0" normalizeH="0" baseline="0">
                  <a:ln>
                    <a:noFill/>
                  </a:ln>
                  <a:solidFill>
                    <a:schemeClr val="accent1"/>
                  </a:solidFill>
                  <a:effectLst/>
                  <a:uLnTx/>
                  <a:uFillTx/>
                  <a:ea typeface="Georgia"/>
                  <a:cs typeface="Georgia"/>
                  <a:sym typeface="Georgia"/>
                </a:rPr>
                <a:t>.4</a:t>
              </a:r>
            </a:p>
          </p:txBody>
        </p:sp>
        <p:sp>
          <p:nvSpPr>
            <p:cNvPr id="29" name="Rectangle 28">
              <a:extLst>
                <a:ext uri="{FF2B5EF4-FFF2-40B4-BE49-F238E27FC236}">
                  <a16:creationId xmlns:a16="http://schemas.microsoft.com/office/drawing/2014/main" id="{43CABCC0-76A5-0C3F-920C-D7B1C1522A25}"/>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lv-LV" sz="800" b="1" i="0" u="none" strike="noStrike" kern="0" cap="none" spc="0" normalizeH="0" baseline="0">
                  <a:ln>
                    <a:noFill/>
                  </a:ln>
                  <a:solidFill>
                    <a:schemeClr val="accent1"/>
                  </a:solidFill>
                  <a:effectLst/>
                  <a:uLnTx/>
                  <a:uFillTx/>
                  <a:ea typeface="Georgia"/>
                  <a:cs typeface="Georgia"/>
                  <a:sym typeface="Georgia"/>
                </a:rPr>
                <a:t>.5</a:t>
              </a:r>
            </a:p>
          </p:txBody>
        </p:sp>
      </p:grpSp>
    </p:spTree>
    <p:extLst>
      <p:ext uri="{BB962C8B-B14F-4D97-AF65-F5344CB8AC3E}">
        <p14:creationId xmlns:p14="http://schemas.microsoft.com/office/powerpoint/2010/main" val="23006261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D9B4EB0-FA92-4CA3-9E1E-68FD78E7072D}"/>
              </a:ext>
            </a:extLst>
          </p:cNvPr>
          <p:cNvGraphicFramePr>
            <a:graphicFrameLocks noChangeAspect="1"/>
          </p:cNvGraphicFramePr>
          <p:nvPr>
            <p:custDataLst>
              <p:tags r:id="rId1"/>
            </p:custDataLst>
            <p:extLst>
              <p:ext uri="{D42A27DB-BD31-4B8C-83A1-F6EECF244321}">
                <p14:modId xmlns:p14="http://schemas.microsoft.com/office/powerpoint/2010/main" val="2420813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think-cell data - do not delete" hidden="1">
                        <a:extLst>
                          <a:ext uri="{FF2B5EF4-FFF2-40B4-BE49-F238E27FC236}">
                            <a16:creationId xmlns:a16="http://schemas.microsoft.com/office/drawing/2014/main" id="{BD9B4EB0-FA92-4CA3-9E1E-68FD78E707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9" name="Picture 68">
            <a:extLst>
              <a:ext uri="{FF2B5EF4-FFF2-40B4-BE49-F238E27FC236}">
                <a16:creationId xmlns:a16="http://schemas.microsoft.com/office/drawing/2014/main" id="{64F7D8A2-66DC-ADBA-BEC3-1BCF56394367}"/>
              </a:ext>
            </a:extLst>
          </p:cNvPr>
          <p:cNvPicPr>
            <a:picLocks noChangeAspect="1"/>
          </p:cNvPicPr>
          <p:nvPr/>
        </p:nvPicPr>
        <p:blipFill rotWithShape="1">
          <a:blip r:embed="rId6"/>
          <a:srcRect l="16874" r="11384"/>
          <a:stretch/>
        </p:blipFill>
        <p:spPr>
          <a:xfrm>
            <a:off x="9780608" y="1816188"/>
            <a:ext cx="2411391" cy="5041811"/>
          </a:xfrm>
          <a:prstGeom prst="rect">
            <a:avLst/>
          </a:prstGeom>
        </p:spPr>
      </p:pic>
      <p:sp>
        <p:nvSpPr>
          <p:cNvPr id="70" name="Rectangle 69">
            <a:extLst>
              <a:ext uri="{FF2B5EF4-FFF2-40B4-BE49-F238E27FC236}">
                <a16:creationId xmlns:a16="http://schemas.microsoft.com/office/drawing/2014/main" id="{3CC43F94-C99A-EECA-2911-653D73FDABA5}"/>
              </a:ext>
            </a:extLst>
          </p:cNvPr>
          <p:cNvSpPr/>
          <p:nvPr/>
        </p:nvSpPr>
        <p:spPr>
          <a:xfrm>
            <a:off x="9780586" y="1816099"/>
            <a:ext cx="2411413" cy="50419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9" name="TextBox 18">
            <a:extLst>
              <a:ext uri="{FF2B5EF4-FFF2-40B4-BE49-F238E27FC236}">
                <a16:creationId xmlns:a16="http://schemas.microsoft.com/office/drawing/2014/main" id="{EF4D8BEF-8566-D43D-9B28-E036D42EE6BC}"/>
              </a:ext>
            </a:extLst>
          </p:cNvPr>
          <p:cNvSpPr txBox="1"/>
          <p:nvPr/>
        </p:nvSpPr>
        <p:spPr>
          <a:xfrm>
            <a:off x="1297953" y="1816189"/>
            <a:ext cx="8123839" cy="576000"/>
          </a:xfrm>
          <a:prstGeom prst="rect">
            <a:avLst/>
          </a:prstGeom>
          <a:noFill/>
        </p:spPr>
        <p:txBody>
          <a:bodyPr wrap="square" anchor="ctr">
            <a:noAutofit/>
          </a:bodyPr>
          <a:lstStyle/>
          <a:p>
            <a:pPr>
              <a:spcAft>
                <a:spcPts val="0"/>
              </a:spcAft>
            </a:pPr>
            <a:r>
              <a:rPr lang="lv-LV" sz="1400">
                <a:solidFill>
                  <a:schemeClr val="tx1"/>
                </a:solidFill>
              </a:rPr>
              <a:t>Jebkurā nelaimes gadījumā, kad cietušais ir zaudējis samaņu, jārīkojas pēc atdzīvināšanas pasākumu principiem</a:t>
            </a:r>
          </a:p>
        </p:txBody>
      </p:sp>
      <p:sp>
        <p:nvSpPr>
          <p:cNvPr id="24" name="TextBox 23">
            <a:extLst>
              <a:ext uri="{FF2B5EF4-FFF2-40B4-BE49-F238E27FC236}">
                <a16:creationId xmlns:a16="http://schemas.microsoft.com/office/drawing/2014/main" id="{239B8622-318D-D173-F478-CF1A7EC16B5E}"/>
              </a:ext>
            </a:extLst>
          </p:cNvPr>
          <p:cNvSpPr txBox="1"/>
          <p:nvPr/>
        </p:nvSpPr>
        <p:spPr>
          <a:xfrm>
            <a:off x="1297953" y="2572191"/>
            <a:ext cx="8123839" cy="576000"/>
          </a:xfrm>
          <a:prstGeom prst="rect">
            <a:avLst/>
          </a:prstGeom>
          <a:noFill/>
        </p:spPr>
        <p:txBody>
          <a:bodyPr wrap="square" anchor="ctr">
            <a:noAutofit/>
          </a:bodyPr>
          <a:lstStyle/>
          <a:p>
            <a:pPr>
              <a:spcAft>
                <a:spcPts val="0"/>
              </a:spcAft>
            </a:pPr>
            <a:r>
              <a:rPr lang="lv-LV" sz="1400">
                <a:solidFill>
                  <a:schemeClr val="tx1"/>
                </a:solidFill>
              </a:rPr>
              <a:t>Sirds masāžu, kad vien iespējams, veic cietušajam atrodoties uz cieta pamata</a:t>
            </a:r>
          </a:p>
        </p:txBody>
      </p:sp>
      <p:sp>
        <p:nvSpPr>
          <p:cNvPr id="28" name="TextBox 27">
            <a:extLst>
              <a:ext uri="{FF2B5EF4-FFF2-40B4-BE49-F238E27FC236}">
                <a16:creationId xmlns:a16="http://schemas.microsoft.com/office/drawing/2014/main" id="{A914D302-8B7D-1F34-FE6F-2FA8E18E28AD}"/>
              </a:ext>
            </a:extLst>
          </p:cNvPr>
          <p:cNvSpPr txBox="1"/>
          <p:nvPr/>
        </p:nvSpPr>
        <p:spPr>
          <a:xfrm>
            <a:off x="1297953" y="3328193"/>
            <a:ext cx="8123839" cy="576000"/>
          </a:xfrm>
          <a:prstGeom prst="rect">
            <a:avLst/>
          </a:prstGeom>
          <a:noFill/>
        </p:spPr>
        <p:txBody>
          <a:bodyPr wrap="square" anchor="ctr">
            <a:noAutofit/>
          </a:bodyPr>
          <a:lstStyle/>
          <a:p>
            <a:pPr>
              <a:spcAft>
                <a:spcPts val="0"/>
              </a:spcAft>
            </a:pPr>
            <a:r>
              <a:rPr lang="lv-LV" sz="1400">
                <a:solidFill>
                  <a:schemeClr val="tx1"/>
                </a:solidFill>
              </a:rPr>
              <a:t>Ieteicamais sirds masāžas temps ir 100 – 120 reizes minūtē, dziļums 5 – 6 centimetri</a:t>
            </a:r>
          </a:p>
        </p:txBody>
      </p:sp>
      <p:sp>
        <p:nvSpPr>
          <p:cNvPr id="34" name="TextBox 33">
            <a:extLst>
              <a:ext uri="{FF2B5EF4-FFF2-40B4-BE49-F238E27FC236}">
                <a16:creationId xmlns:a16="http://schemas.microsoft.com/office/drawing/2014/main" id="{2E292E14-80B0-C799-DCA3-1B141B1D2C6D}"/>
              </a:ext>
            </a:extLst>
          </p:cNvPr>
          <p:cNvSpPr txBox="1"/>
          <p:nvPr/>
        </p:nvSpPr>
        <p:spPr>
          <a:xfrm>
            <a:off x="1297953" y="4084195"/>
            <a:ext cx="8123839" cy="576000"/>
          </a:xfrm>
          <a:prstGeom prst="rect">
            <a:avLst/>
          </a:prstGeom>
          <a:noFill/>
        </p:spPr>
        <p:txBody>
          <a:bodyPr wrap="square" anchor="ctr">
            <a:noAutofit/>
          </a:bodyPr>
          <a:lstStyle/>
          <a:p>
            <a:pPr>
              <a:spcAft>
                <a:spcPts val="0"/>
              </a:spcAft>
            </a:pPr>
            <a:r>
              <a:rPr lang="lv-LV" sz="1400">
                <a:solidFill>
                  <a:schemeClr val="tx1"/>
                </a:solidFill>
              </a:rPr>
              <a:t>Elpinot ieteicams lietot elpināšanas masku ar vienvirziena vārstuli</a:t>
            </a:r>
          </a:p>
        </p:txBody>
      </p:sp>
      <p:sp>
        <p:nvSpPr>
          <p:cNvPr id="37" name="TextBox 36">
            <a:extLst>
              <a:ext uri="{FF2B5EF4-FFF2-40B4-BE49-F238E27FC236}">
                <a16:creationId xmlns:a16="http://schemas.microsoft.com/office/drawing/2014/main" id="{94812D46-A915-8FCC-CF16-5E3844875EA5}"/>
              </a:ext>
            </a:extLst>
          </p:cNvPr>
          <p:cNvSpPr txBox="1"/>
          <p:nvPr/>
        </p:nvSpPr>
        <p:spPr>
          <a:xfrm>
            <a:off x="1297953" y="4840197"/>
            <a:ext cx="8123839" cy="576000"/>
          </a:xfrm>
          <a:prstGeom prst="rect">
            <a:avLst/>
          </a:prstGeom>
          <a:noFill/>
        </p:spPr>
        <p:txBody>
          <a:bodyPr wrap="square" anchor="ctr">
            <a:noAutofit/>
          </a:bodyPr>
          <a:lstStyle/>
          <a:p>
            <a:pPr>
              <a:spcAft>
                <a:spcPts val="0"/>
              </a:spcAft>
            </a:pPr>
            <a:r>
              <a:rPr lang="lv-LV" sz="1400">
                <a:solidFill>
                  <a:schemeClr val="tx1"/>
                </a:solidFill>
              </a:rPr>
              <a:t>Nepārtrauciet masāžu ilgāk kā uz 10 sekundēm pat, ja šķiet, ka elpināšana neizdodas. Lietojot defibrilatoru, centieties, lai pauzes starp sirds masāžu un darbībām ar defibrilatoru ir iespējami īsas </a:t>
            </a:r>
          </a:p>
        </p:txBody>
      </p:sp>
      <p:sp>
        <p:nvSpPr>
          <p:cNvPr id="40" name="TextBox 39">
            <a:extLst>
              <a:ext uri="{FF2B5EF4-FFF2-40B4-BE49-F238E27FC236}">
                <a16:creationId xmlns:a16="http://schemas.microsoft.com/office/drawing/2014/main" id="{D1B7C728-9ECB-FC52-795D-8049E21F1FC0}"/>
              </a:ext>
            </a:extLst>
          </p:cNvPr>
          <p:cNvSpPr txBox="1"/>
          <p:nvPr/>
        </p:nvSpPr>
        <p:spPr>
          <a:xfrm>
            <a:off x="1297953" y="5596200"/>
            <a:ext cx="8123839" cy="576000"/>
          </a:xfrm>
          <a:prstGeom prst="rect">
            <a:avLst/>
          </a:prstGeom>
          <a:noFill/>
        </p:spPr>
        <p:txBody>
          <a:bodyPr wrap="square" anchor="ctr">
            <a:noAutofit/>
          </a:bodyPr>
          <a:lstStyle/>
          <a:p>
            <a:pPr>
              <a:spcAft>
                <a:spcPts val="0"/>
              </a:spcAft>
            </a:pPr>
            <a:r>
              <a:rPr lang="lv-LV" sz="1400">
                <a:solidFill>
                  <a:schemeClr val="tx1"/>
                </a:solidFill>
              </a:rPr>
              <a:t>Ja ir vairāki glābēji, veicot atdzīvināšanas pasākumus, tie var mainīties, patērējot maiņai pēc iespējas mazāku laiku, un katrs veic atdzīvināšanas pasākumus 2 minūtes</a:t>
            </a:r>
          </a:p>
        </p:txBody>
      </p:sp>
      <p:sp>
        <p:nvSpPr>
          <p:cNvPr id="3" name="Title 2">
            <a:extLst>
              <a:ext uri="{FF2B5EF4-FFF2-40B4-BE49-F238E27FC236}">
                <a16:creationId xmlns:a16="http://schemas.microsoft.com/office/drawing/2014/main" id="{18D846C5-0FE1-0722-5504-7D4D452EA64C}"/>
              </a:ext>
            </a:extLst>
          </p:cNvPr>
          <p:cNvSpPr>
            <a:spLocks noGrp="1"/>
          </p:cNvSpPr>
          <p:nvPr>
            <p:ph type="title"/>
          </p:nvPr>
        </p:nvSpPr>
        <p:spPr/>
        <p:txBody>
          <a:bodyPr vert="horz"/>
          <a:lstStyle/>
          <a:p>
            <a:r>
              <a:rPr lang="lv-LV"/>
              <a:t>Pieaugušā atdzīvināšanas algoritms – svarīgi atcerēties</a:t>
            </a:r>
            <a:endParaRPr lang="en-GB"/>
          </a:p>
        </p:txBody>
      </p:sp>
      <p:sp>
        <p:nvSpPr>
          <p:cNvPr id="4" name="Slide Number Placeholder 3">
            <a:extLst>
              <a:ext uri="{FF2B5EF4-FFF2-40B4-BE49-F238E27FC236}">
                <a16:creationId xmlns:a16="http://schemas.microsoft.com/office/drawing/2014/main" id="{1D0816AF-800B-D4B3-9F92-EA9CA8F47531}"/>
              </a:ext>
            </a:extLst>
          </p:cNvPr>
          <p:cNvSpPr>
            <a:spLocks noGrp="1"/>
          </p:cNvSpPr>
          <p:nvPr>
            <p:ph type="sldNum" sz="quarter" idx="11"/>
          </p:nvPr>
        </p:nvSpPr>
        <p:spPr/>
        <p:txBody>
          <a:bodyPr/>
          <a:lstStyle/>
          <a:p>
            <a:fld id="{7870704B-CE94-48CC-AF30-84932A1262A7}" type="slidenum">
              <a:rPr lang="en-GB" smtClean="0">
                <a:solidFill>
                  <a:schemeClr val="bg1"/>
                </a:solidFill>
              </a:rPr>
              <a:pPr/>
              <a:t>16</a:t>
            </a:fld>
            <a:endParaRPr lang="en-GB">
              <a:solidFill>
                <a:schemeClr val="bg1"/>
              </a:solidFill>
            </a:endParaRPr>
          </a:p>
        </p:txBody>
      </p:sp>
      <p:grpSp>
        <p:nvGrpSpPr>
          <p:cNvPr id="52" name="Group 51">
            <a:extLst>
              <a:ext uri="{FF2B5EF4-FFF2-40B4-BE49-F238E27FC236}">
                <a16:creationId xmlns:a16="http://schemas.microsoft.com/office/drawing/2014/main" id="{361826EC-5A31-6F60-E34A-C417419DBE52}"/>
              </a:ext>
            </a:extLst>
          </p:cNvPr>
          <p:cNvGrpSpPr/>
          <p:nvPr/>
        </p:nvGrpSpPr>
        <p:grpSpPr>
          <a:xfrm>
            <a:off x="441325" y="1816189"/>
            <a:ext cx="630238" cy="576000"/>
            <a:chOff x="441325" y="1816189"/>
            <a:chExt cx="630238" cy="576000"/>
          </a:xfrm>
        </p:grpSpPr>
        <p:sp>
          <p:nvSpPr>
            <p:cNvPr id="13" name="Content Placeholder 1">
              <a:extLst>
                <a:ext uri="{FF2B5EF4-FFF2-40B4-BE49-F238E27FC236}">
                  <a16:creationId xmlns:a16="http://schemas.microsoft.com/office/drawing/2014/main" id="{1588DCB6-1F9C-1843-FD40-E691CF6FB0A3}"/>
                </a:ext>
              </a:extLst>
            </p:cNvPr>
            <p:cNvSpPr txBox="1">
              <a:spLocks/>
            </p:cNvSpPr>
            <p:nvPr/>
          </p:nvSpPr>
          <p:spPr>
            <a:xfrm>
              <a:off x="441325" y="1816189"/>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600">
                <a:solidFill>
                  <a:schemeClr val="bg1"/>
                </a:solidFill>
              </a:endParaRPr>
            </a:p>
          </p:txBody>
        </p:sp>
        <p:sp>
          <p:nvSpPr>
            <p:cNvPr id="14" name="L-Shape 13">
              <a:extLst>
                <a:ext uri="{FF2B5EF4-FFF2-40B4-BE49-F238E27FC236}">
                  <a16:creationId xmlns:a16="http://schemas.microsoft.com/office/drawing/2014/main" id="{1F342EFB-A975-1F78-C00D-526000C5D015}"/>
                </a:ext>
              </a:extLst>
            </p:cNvPr>
            <p:cNvSpPr/>
            <p:nvPr/>
          </p:nvSpPr>
          <p:spPr>
            <a:xfrm rot="13500000">
              <a:off x="628371" y="1976116"/>
              <a:ext cx="256146" cy="256146"/>
            </a:xfrm>
            <a:prstGeom prst="corner">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cxnSp>
        <p:nvCxnSpPr>
          <p:cNvPr id="20" name="Straight Connector 19">
            <a:extLst>
              <a:ext uri="{FF2B5EF4-FFF2-40B4-BE49-F238E27FC236}">
                <a16:creationId xmlns:a16="http://schemas.microsoft.com/office/drawing/2014/main" id="{92C24E3D-6F40-B1E5-DBC1-2BE00414047A}"/>
              </a:ext>
            </a:extLst>
          </p:cNvPr>
          <p:cNvCxnSpPr>
            <a:cxnSpLocks/>
          </p:cNvCxnSpPr>
          <p:nvPr/>
        </p:nvCxnSpPr>
        <p:spPr>
          <a:xfrm>
            <a:off x="1297953" y="2480397"/>
            <a:ext cx="8123840" cy="5379"/>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3" name="Straight Connector 42">
            <a:extLst>
              <a:ext uri="{FF2B5EF4-FFF2-40B4-BE49-F238E27FC236}">
                <a16:creationId xmlns:a16="http://schemas.microsoft.com/office/drawing/2014/main" id="{59E75C4B-5949-DF88-AD9A-8033C3D4774D}"/>
              </a:ext>
            </a:extLst>
          </p:cNvPr>
          <p:cNvCxnSpPr>
            <a:cxnSpLocks/>
          </p:cNvCxnSpPr>
          <p:nvPr/>
        </p:nvCxnSpPr>
        <p:spPr>
          <a:xfrm>
            <a:off x="1297953" y="3236399"/>
            <a:ext cx="8123840" cy="5379"/>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4" name="Straight Connector 43">
            <a:extLst>
              <a:ext uri="{FF2B5EF4-FFF2-40B4-BE49-F238E27FC236}">
                <a16:creationId xmlns:a16="http://schemas.microsoft.com/office/drawing/2014/main" id="{8889C8BE-E758-9763-FA51-DA257DC99FA3}"/>
              </a:ext>
            </a:extLst>
          </p:cNvPr>
          <p:cNvCxnSpPr>
            <a:cxnSpLocks/>
          </p:cNvCxnSpPr>
          <p:nvPr/>
        </p:nvCxnSpPr>
        <p:spPr>
          <a:xfrm>
            <a:off x="1297953" y="3992401"/>
            <a:ext cx="8123840" cy="5379"/>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5" name="Straight Connector 44">
            <a:extLst>
              <a:ext uri="{FF2B5EF4-FFF2-40B4-BE49-F238E27FC236}">
                <a16:creationId xmlns:a16="http://schemas.microsoft.com/office/drawing/2014/main" id="{A300680A-200E-FF28-E0BC-1F1EC5EAE1F2}"/>
              </a:ext>
            </a:extLst>
          </p:cNvPr>
          <p:cNvCxnSpPr>
            <a:cxnSpLocks/>
          </p:cNvCxnSpPr>
          <p:nvPr/>
        </p:nvCxnSpPr>
        <p:spPr>
          <a:xfrm>
            <a:off x="1297953" y="4748403"/>
            <a:ext cx="8123840" cy="5379"/>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6" name="Straight Connector 45">
            <a:extLst>
              <a:ext uri="{FF2B5EF4-FFF2-40B4-BE49-F238E27FC236}">
                <a16:creationId xmlns:a16="http://schemas.microsoft.com/office/drawing/2014/main" id="{6E9EAA9E-3B17-EFD6-CB33-84C28033B236}"/>
              </a:ext>
            </a:extLst>
          </p:cNvPr>
          <p:cNvCxnSpPr>
            <a:cxnSpLocks/>
          </p:cNvCxnSpPr>
          <p:nvPr/>
        </p:nvCxnSpPr>
        <p:spPr>
          <a:xfrm>
            <a:off x="1297953" y="5504405"/>
            <a:ext cx="8123840" cy="5379"/>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54" name="Content Placeholder 1">
            <a:extLst>
              <a:ext uri="{FF2B5EF4-FFF2-40B4-BE49-F238E27FC236}">
                <a16:creationId xmlns:a16="http://schemas.microsoft.com/office/drawing/2014/main" id="{2160E887-D72A-001F-55FA-3C1960A19D7C}"/>
              </a:ext>
            </a:extLst>
          </p:cNvPr>
          <p:cNvSpPr txBox="1">
            <a:spLocks/>
          </p:cNvSpPr>
          <p:nvPr/>
        </p:nvSpPr>
        <p:spPr>
          <a:xfrm>
            <a:off x="441325" y="2572191"/>
            <a:ext cx="630238" cy="576000"/>
          </a:xfrm>
          <a:prstGeom prst="rect">
            <a:avLst/>
          </a:prstGeom>
          <a:solidFill>
            <a:schemeClr val="accent3"/>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600">
              <a:solidFill>
                <a:schemeClr val="bg1"/>
              </a:solidFill>
            </a:endParaRPr>
          </a:p>
        </p:txBody>
      </p:sp>
      <p:sp>
        <p:nvSpPr>
          <p:cNvPr id="55" name="L-Shape 54">
            <a:extLst>
              <a:ext uri="{FF2B5EF4-FFF2-40B4-BE49-F238E27FC236}">
                <a16:creationId xmlns:a16="http://schemas.microsoft.com/office/drawing/2014/main" id="{97D298FE-57D3-750E-007D-3E91DB407BCA}"/>
              </a:ext>
            </a:extLst>
          </p:cNvPr>
          <p:cNvSpPr/>
          <p:nvPr/>
        </p:nvSpPr>
        <p:spPr>
          <a:xfrm rot="13500000">
            <a:off x="628371" y="2732118"/>
            <a:ext cx="256146" cy="256146"/>
          </a:xfrm>
          <a:prstGeom prst="corner">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nvGrpSpPr>
          <p:cNvPr id="56" name="Group 55">
            <a:extLst>
              <a:ext uri="{FF2B5EF4-FFF2-40B4-BE49-F238E27FC236}">
                <a16:creationId xmlns:a16="http://schemas.microsoft.com/office/drawing/2014/main" id="{B283AB5C-9A0D-B1DC-E633-C1CC380D0603}"/>
              </a:ext>
            </a:extLst>
          </p:cNvPr>
          <p:cNvGrpSpPr/>
          <p:nvPr/>
        </p:nvGrpSpPr>
        <p:grpSpPr>
          <a:xfrm>
            <a:off x="441325" y="3328193"/>
            <a:ext cx="630238" cy="576000"/>
            <a:chOff x="441325" y="1816189"/>
            <a:chExt cx="630238" cy="576000"/>
          </a:xfrm>
        </p:grpSpPr>
        <p:sp>
          <p:nvSpPr>
            <p:cNvPr id="57" name="Content Placeholder 1">
              <a:extLst>
                <a:ext uri="{FF2B5EF4-FFF2-40B4-BE49-F238E27FC236}">
                  <a16:creationId xmlns:a16="http://schemas.microsoft.com/office/drawing/2014/main" id="{A4B9D62A-0580-D635-828C-DFE7D404846C}"/>
                </a:ext>
              </a:extLst>
            </p:cNvPr>
            <p:cNvSpPr txBox="1">
              <a:spLocks/>
            </p:cNvSpPr>
            <p:nvPr/>
          </p:nvSpPr>
          <p:spPr>
            <a:xfrm>
              <a:off x="441325" y="1816189"/>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600">
                <a:solidFill>
                  <a:schemeClr val="bg1"/>
                </a:solidFill>
              </a:endParaRPr>
            </a:p>
          </p:txBody>
        </p:sp>
        <p:sp>
          <p:nvSpPr>
            <p:cNvPr id="58" name="L-Shape 57">
              <a:extLst>
                <a:ext uri="{FF2B5EF4-FFF2-40B4-BE49-F238E27FC236}">
                  <a16:creationId xmlns:a16="http://schemas.microsoft.com/office/drawing/2014/main" id="{89C4D8B3-0F3A-1A5E-0D82-091517C65C55}"/>
                </a:ext>
              </a:extLst>
            </p:cNvPr>
            <p:cNvSpPr/>
            <p:nvPr/>
          </p:nvSpPr>
          <p:spPr>
            <a:xfrm rot="13500000">
              <a:off x="628371" y="1976116"/>
              <a:ext cx="256146" cy="256146"/>
            </a:xfrm>
            <a:prstGeom prst="corner">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sp>
        <p:nvSpPr>
          <p:cNvPr id="60" name="Content Placeholder 1">
            <a:extLst>
              <a:ext uri="{FF2B5EF4-FFF2-40B4-BE49-F238E27FC236}">
                <a16:creationId xmlns:a16="http://schemas.microsoft.com/office/drawing/2014/main" id="{313FE6F6-6F21-C667-EDDD-64858C966282}"/>
              </a:ext>
            </a:extLst>
          </p:cNvPr>
          <p:cNvSpPr txBox="1">
            <a:spLocks/>
          </p:cNvSpPr>
          <p:nvPr/>
        </p:nvSpPr>
        <p:spPr>
          <a:xfrm>
            <a:off x="441325" y="4084195"/>
            <a:ext cx="630238" cy="576000"/>
          </a:xfrm>
          <a:prstGeom prst="rect">
            <a:avLst/>
          </a:prstGeom>
          <a:solidFill>
            <a:schemeClr val="accent3"/>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600">
              <a:solidFill>
                <a:schemeClr val="bg1"/>
              </a:solidFill>
            </a:endParaRPr>
          </a:p>
        </p:txBody>
      </p:sp>
      <p:sp>
        <p:nvSpPr>
          <p:cNvPr id="61" name="L-Shape 60">
            <a:extLst>
              <a:ext uri="{FF2B5EF4-FFF2-40B4-BE49-F238E27FC236}">
                <a16:creationId xmlns:a16="http://schemas.microsoft.com/office/drawing/2014/main" id="{02353164-8215-8965-7A2D-8903AA8FD6FD}"/>
              </a:ext>
            </a:extLst>
          </p:cNvPr>
          <p:cNvSpPr/>
          <p:nvPr/>
        </p:nvSpPr>
        <p:spPr>
          <a:xfrm rot="13500000">
            <a:off x="628371" y="4244122"/>
            <a:ext cx="256146" cy="256146"/>
          </a:xfrm>
          <a:prstGeom prst="corner">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nvGrpSpPr>
          <p:cNvPr id="62" name="Group 61">
            <a:extLst>
              <a:ext uri="{FF2B5EF4-FFF2-40B4-BE49-F238E27FC236}">
                <a16:creationId xmlns:a16="http://schemas.microsoft.com/office/drawing/2014/main" id="{C1EA6D93-8DB7-F1C4-5C88-78889B57D726}"/>
              </a:ext>
            </a:extLst>
          </p:cNvPr>
          <p:cNvGrpSpPr/>
          <p:nvPr/>
        </p:nvGrpSpPr>
        <p:grpSpPr>
          <a:xfrm>
            <a:off x="441325" y="4840197"/>
            <a:ext cx="630238" cy="576000"/>
            <a:chOff x="441325" y="1816189"/>
            <a:chExt cx="630238" cy="576000"/>
          </a:xfrm>
        </p:grpSpPr>
        <p:sp>
          <p:nvSpPr>
            <p:cNvPr id="63" name="Content Placeholder 1">
              <a:extLst>
                <a:ext uri="{FF2B5EF4-FFF2-40B4-BE49-F238E27FC236}">
                  <a16:creationId xmlns:a16="http://schemas.microsoft.com/office/drawing/2014/main" id="{6492D47D-1173-7C35-7619-D81D6BC50BC9}"/>
                </a:ext>
              </a:extLst>
            </p:cNvPr>
            <p:cNvSpPr txBox="1">
              <a:spLocks/>
            </p:cNvSpPr>
            <p:nvPr/>
          </p:nvSpPr>
          <p:spPr>
            <a:xfrm>
              <a:off x="441325" y="1816189"/>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600">
                <a:solidFill>
                  <a:schemeClr val="bg1"/>
                </a:solidFill>
              </a:endParaRPr>
            </a:p>
          </p:txBody>
        </p:sp>
        <p:sp>
          <p:nvSpPr>
            <p:cNvPr id="64" name="L-Shape 63">
              <a:extLst>
                <a:ext uri="{FF2B5EF4-FFF2-40B4-BE49-F238E27FC236}">
                  <a16:creationId xmlns:a16="http://schemas.microsoft.com/office/drawing/2014/main" id="{66F14979-CEB3-45D3-8A84-E0FF8E9A8906}"/>
                </a:ext>
              </a:extLst>
            </p:cNvPr>
            <p:cNvSpPr/>
            <p:nvPr/>
          </p:nvSpPr>
          <p:spPr>
            <a:xfrm rot="13500000">
              <a:off x="628371" y="1976116"/>
              <a:ext cx="256146" cy="256146"/>
            </a:xfrm>
            <a:prstGeom prst="corner">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sp>
        <p:nvSpPr>
          <p:cNvPr id="66" name="Content Placeholder 1">
            <a:extLst>
              <a:ext uri="{FF2B5EF4-FFF2-40B4-BE49-F238E27FC236}">
                <a16:creationId xmlns:a16="http://schemas.microsoft.com/office/drawing/2014/main" id="{EAE439AD-F0F2-443E-41B6-0463B5B0AB20}"/>
              </a:ext>
            </a:extLst>
          </p:cNvPr>
          <p:cNvSpPr txBox="1">
            <a:spLocks/>
          </p:cNvSpPr>
          <p:nvPr/>
        </p:nvSpPr>
        <p:spPr>
          <a:xfrm>
            <a:off x="441325" y="5596200"/>
            <a:ext cx="630238" cy="576000"/>
          </a:xfrm>
          <a:prstGeom prst="rect">
            <a:avLst/>
          </a:prstGeom>
          <a:solidFill>
            <a:schemeClr val="accent3"/>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600">
              <a:solidFill>
                <a:schemeClr val="bg1"/>
              </a:solidFill>
            </a:endParaRPr>
          </a:p>
        </p:txBody>
      </p:sp>
      <p:sp>
        <p:nvSpPr>
          <p:cNvPr id="67" name="L-Shape 66">
            <a:extLst>
              <a:ext uri="{FF2B5EF4-FFF2-40B4-BE49-F238E27FC236}">
                <a16:creationId xmlns:a16="http://schemas.microsoft.com/office/drawing/2014/main" id="{DD92AC09-30B3-CCED-D1FD-071AD8EA9D45}"/>
              </a:ext>
            </a:extLst>
          </p:cNvPr>
          <p:cNvSpPr/>
          <p:nvPr/>
        </p:nvSpPr>
        <p:spPr>
          <a:xfrm rot="13500000">
            <a:off x="628371" y="5756127"/>
            <a:ext cx="256146" cy="256146"/>
          </a:xfrm>
          <a:prstGeom prst="corner">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 name="Rectangle 1">
            <a:extLst>
              <a:ext uri="{FF2B5EF4-FFF2-40B4-BE49-F238E27FC236}">
                <a16:creationId xmlns:a16="http://schemas.microsoft.com/office/drawing/2014/main" id="{2B9BA7A9-23FD-2573-72ED-860A236A3F30}"/>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15" name="Group 14">
            <a:extLst>
              <a:ext uri="{FF2B5EF4-FFF2-40B4-BE49-F238E27FC236}">
                <a16:creationId xmlns:a16="http://schemas.microsoft.com/office/drawing/2014/main" id="{C1B3FE4A-2838-5F19-939C-520B2697AFCD}"/>
              </a:ext>
            </a:extLst>
          </p:cNvPr>
          <p:cNvGrpSpPr/>
          <p:nvPr/>
        </p:nvGrpSpPr>
        <p:grpSpPr>
          <a:xfrm>
            <a:off x="9214984" y="126781"/>
            <a:ext cx="2534104" cy="217488"/>
            <a:chOff x="9214984" y="126781"/>
            <a:chExt cx="2534104" cy="217488"/>
          </a:xfrm>
        </p:grpSpPr>
        <p:sp>
          <p:nvSpPr>
            <p:cNvPr id="16" name="Rectangle 15">
              <a:extLst>
                <a:ext uri="{FF2B5EF4-FFF2-40B4-BE49-F238E27FC236}">
                  <a16:creationId xmlns:a16="http://schemas.microsoft.com/office/drawing/2014/main" id="{124C852B-9A5A-2AAD-A717-90130BD385F6}"/>
                </a:ext>
              </a:extLst>
            </p:cNvPr>
            <p:cNvSpPr/>
            <p:nvPr/>
          </p:nvSpPr>
          <p:spPr>
            <a:xfrm>
              <a:off x="9939020" y="126781"/>
              <a:ext cx="1329297"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rgbClr val="000000"/>
                  </a:solidFill>
                  <a:effectLst/>
                  <a:uLnTx/>
                  <a:uFillTx/>
                  <a:ea typeface="Georgia"/>
                  <a:cs typeface="Georgia"/>
                  <a:sym typeface="Georgia"/>
                </a:rPr>
                <a:t>Atdzīvināšanas pasākumi</a:t>
              </a:r>
            </a:p>
          </p:txBody>
        </p:sp>
        <p:sp>
          <p:nvSpPr>
            <p:cNvPr id="17" name="Rectangle 16">
              <a:extLst>
                <a:ext uri="{FF2B5EF4-FFF2-40B4-BE49-F238E27FC236}">
                  <a16:creationId xmlns:a16="http://schemas.microsoft.com/office/drawing/2014/main" id="{D6E9C287-B333-1CA3-606F-1A0E702F1EE6}"/>
                </a:ext>
              </a:extLst>
            </p:cNvPr>
            <p:cNvSpPr/>
            <p:nvPr/>
          </p:nvSpPr>
          <p:spPr>
            <a:xfrm>
              <a:off x="921498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lv-LV" sz="800" b="1" i="0" u="none" strike="noStrike" kern="0" cap="none" spc="0" normalizeH="0" baseline="0">
                  <a:ln>
                    <a:noFill/>
                  </a:ln>
                  <a:solidFill>
                    <a:schemeClr val="accent1"/>
                  </a:solidFill>
                  <a:effectLst/>
                  <a:uLnTx/>
                  <a:uFillTx/>
                  <a:ea typeface="Georgia"/>
                  <a:cs typeface="Georgia"/>
                  <a:sym typeface="Georgia"/>
                </a:rPr>
                <a:t>.1</a:t>
              </a:r>
            </a:p>
          </p:txBody>
        </p:sp>
        <p:sp>
          <p:nvSpPr>
            <p:cNvPr id="18" name="Rectangle 17">
              <a:extLst>
                <a:ext uri="{FF2B5EF4-FFF2-40B4-BE49-F238E27FC236}">
                  <a16:creationId xmlns:a16="http://schemas.microsoft.com/office/drawing/2014/main" id="{B695EBC4-140F-D0D1-87DA-B4D6A4BF844F}"/>
                </a:ext>
              </a:extLst>
            </p:cNvPr>
            <p:cNvSpPr/>
            <p:nvPr/>
          </p:nvSpPr>
          <p:spPr>
            <a:xfrm>
              <a:off x="945825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lv-LV" sz="800" b="1" i="0" u="none" strike="noStrike" kern="0" cap="none" spc="0" normalizeH="0" baseline="0">
                  <a:ln>
                    <a:noFill/>
                  </a:ln>
                  <a:solidFill>
                    <a:schemeClr val="accent1"/>
                  </a:solidFill>
                  <a:effectLst/>
                  <a:uLnTx/>
                  <a:uFillTx/>
                  <a:ea typeface="Georgia"/>
                  <a:cs typeface="Georgia"/>
                  <a:sym typeface="Georgia"/>
                </a:rPr>
                <a:t>.2</a:t>
              </a:r>
            </a:p>
          </p:txBody>
        </p:sp>
        <p:sp>
          <p:nvSpPr>
            <p:cNvPr id="21" name="Rectangle 20">
              <a:extLst>
                <a:ext uri="{FF2B5EF4-FFF2-40B4-BE49-F238E27FC236}">
                  <a16:creationId xmlns:a16="http://schemas.microsoft.com/office/drawing/2014/main" id="{28514178-A26F-6E88-0FC8-4072DD19CCD9}"/>
                </a:ext>
              </a:extLst>
            </p:cNvPr>
            <p:cNvSpPr/>
            <p:nvPr/>
          </p:nvSpPr>
          <p:spPr>
            <a:xfrm>
              <a:off x="9698634"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lv-LV" sz="800" b="1" i="0" u="none" strike="noStrike" kern="0" cap="none" spc="0" normalizeH="0" baseline="0">
                  <a:ln>
                    <a:noFill/>
                  </a:ln>
                  <a:effectLst/>
                  <a:uLnTx/>
                  <a:uFillTx/>
                  <a:ea typeface="Georgia"/>
                  <a:cs typeface="Georgia"/>
                  <a:sym typeface="Georgia"/>
                </a:rPr>
                <a:t>.3</a:t>
              </a:r>
            </a:p>
          </p:txBody>
        </p:sp>
        <p:sp>
          <p:nvSpPr>
            <p:cNvPr id="22" name="Rectangle 21">
              <a:extLst>
                <a:ext uri="{FF2B5EF4-FFF2-40B4-BE49-F238E27FC236}">
                  <a16:creationId xmlns:a16="http://schemas.microsoft.com/office/drawing/2014/main" id="{E750D9E5-8F88-0995-AD42-E42819AE41B7}"/>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lv-LV" sz="800" b="1" i="0" u="none" strike="noStrike" kern="0" cap="none" spc="0" normalizeH="0" baseline="0">
                  <a:ln>
                    <a:noFill/>
                  </a:ln>
                  <a:solidFill>
                    <a:schemeClr val="accent1"/>
                  </a:solidFill>
                  <a:effectLst/>
                  <a:uLnTx/>
                  <a:uFillTx/>
                  <a:ea typeface="Georgia"/>
                  <a:cs typeface="Georgia"/>
                  <a:sym typeface="Georgia"/>
                </a:rPr>
                <a:t>.4</a:t>
              </a:r>
            </a:p>
          </p:txBody>
        </p:sp>
        <p:sp>
          <p:nvSpPr>
            <p:cNvPr id="23" name="Rectangle 22">
              <a:extLst>
                <a:ext uri="{FF2B5EF4-FFF2-40B4-BE49-F238E27FC236}">
                  <a16:creationId xmlns:a16="http://schemas.microsoft.com/office/drawing/2014/main" id="{FEBA72E3-1683-334F-60B2-62510A39E136}"/>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lv-LV" sz="800" b="1" i="0" u="none" strike="noStrike" kern="0" cap="none" spc="0" normalizeH="0" baseline="0">
                  <a:ln>
                    <a:noFill/>
                  </a:ln>
                  <a:solidFill>
                    <a:schemeClr val="accent1"/>
                  </a:solidFill>
                  <a:effectLst/>
                  <a:uLnTx/>
                  <a:uFillTx/>
                  <a:ea typeface="Georgia"/>
                  <a:cs typeface="Georgia"/>
                  <a:sym typeface="Georgia"/>
                </a:rPr>
                <a:t>.5</a:t>
              </a:r>
            </a:p>
          </p:txBody>
        </p:sp>
      </p:grpSp>
    </p:spTree>
    <p:extLst>
      <p:ext uri="{BB962C8B-B14F-4D97-AF65-F5344CB8AC3E}">
        <p14:creationId xmlns:p14="http://schemas.microsoft.com/office/powerpoint/2010/main" val="17640346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B5F8EBF-52CC-2EDB-41E8-3667D4E9C17E}"/>
              </a:ext>
            </a:extLst>
          </p:cNvPr>
          <p:cNvGraphicFramePr>
            <a:graphicFrameLocks noChangeAspect="1"/>
          </p:cNvGraphicFramePr>
          <p:nvPr>
            <p:custDataLst>
              <p:tags r:id="rId1"/>
            </p:custDataLst>
            <p:extLst>
              <p:ext uri="{D42A27DB-BD31-4B8C-83A1-F6EECF244321}">
                <p14:modId xmlns:p14="http://schemas.microsoft.com/office/powerpoint/2010/main" val="756256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6" name="think-cell data - do not delete" hidden="1">
                        <a:extLst>
                          <a:ext uri="{FF2B5EF4-FFF2-40B4-BE49-F238E27FC236}">
                            <a16:creationId xmlns:a16="http://schemas.microsoft.com/office/drawing/2014/main" id="{8B5F8EBF-52CC-2EDB-41E8-3667D4E9C1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Placeholder 12">
            <a:extLst>
              <a:ext uri="{FF2B5EF4-FFF2-40B4-BE49-F238E27FC236}">
                <a16:creationId xmlns:a16="http://schemas.microsoft.com/office/drawing/2014/main" id="{E7EEA787-A341-92D1-60ED-BDC23F0EF401}"/>
              </a:ext>
            </a:extLst>
          </p:cNvPr>
          <p:cNvPicPr>
            <a:picLocks noGrp="1" noChangeAspect="1"/>
          </p:cNvPicPr>
          <p:nvPr>
            <p:ph type="pic" sz="quarter" idx="10"/>
          </p:nvPr>
        </p:nvPicPr>
        <p:blipFill>
          <a:blip r:embed="rId6"/>
          <a:srcRect l="11775" r="11775"/>
          <a:stretch>
            <a:fillRect/>
          </a:stretch>
        </p:blipFill>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064850"/>
            <a:ext cx="7418387" cy="2428875"/>
          </a:xfrm>
        </p:spPr>
        <p:txBody>
          <a:bodyPr vert="horz">
            <a:normAutofit/>
          </a:bodyPr>
          <a:lstStyle/>
          <a:p>
            <a:r>
              <a:rPr lang="lv-LV"/>
              <a:t>7.4. Pirmās palīdzības</a:t>
            </a:r>
            <a:br>
              <a:rPr lang="lv-LV"/>
            </a:br>
            <a:r>
              <a:rPr lang="lv-LV"/>
              <a:t>pasākumi</a:t>
            </a:r>
            <a:endParaRPr lang="en-GB"/>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24638226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BD27262-4779-ADB8-12BD-E78A69C7BF00}"/>
              </a:ext>
            </a:extLst>
          </p:cNvPr>
          <p:cNvPicPr>
            <a:picLocks noChangeAspect="1"/>
          </p:cNvPicPr>
          <p:nvPr/>
        </p:nvPicPr>
        <p:blipFill>
          <a:blip r:embed="rId4"/>
          <a:stretch>
            <a:fillRect/>
          </a:stretch>
        </p:blipFill>
        <p:spPr>
          <a:xfrm>
            <a:off x="7620000" y="0"/>
            <a:ext cx="4572000" cy="6858000"/>
          </a:xfrm>
          <a:prstGeom prst="rect">
            <a:avLst/>
          </a:prstGeom>
        </p:spPr>
      </p:pic>
      <p:graphicFrame>
        <p:nvGraphicFramePr>
          <p:cNvPr id="16" name="think-cell data - do not delete" hidden="1">
            <a:extLst>
              <a:ext uri="{FF2B5EF4-FFF2-40B4-BE49-F238E27FC236}">
                <a16:creationId xmlns:a16="http://schemas.microsoft.com/office/drawing/2014/main" id="{4BB85949-B364-9670-87F3-225C32F154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6" name="think-cell data - do not delete" hidden="1">
                        <a:extLst>
                          <a:ext uri="{FF2B5EF4-FFF2-40B4-BE49-F238E27FC236}">
                            <a16:creationId xmlns:a16="http://schemas.microsoft.com/office/drawing/2014/main" id="{4BB85949-B364-9670-87F3-225C32F154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txBox="1">
            <a:spLocks noGrp="1"/>
          </p:cNvSpPr>
          <p:nvPr>
            <p:ph type="title"/>
          </p:nvPr>
        </p:nvSpPr>
        <p:spPr>
          <a:xfrm>
            <a:off x="442913" y="432001"/>
            <a:ext cx="11306175" cy="1387274"/>
          </a:xfrm>
        </p:spPr>
        <p:txBody>
          <a:bodyPr vert="horz" wrap="square" lIns="0" tIns="0" rIns="0" bIns="0" rtlCol="0">
            <a:noAutofit/>
          </a:bodyPr>
          <a:lstStyle/>
          <a:p>
            <a:r>
              <a:rPr lang="lv-LV"/>
              <a:t>Pirmās palīdzības pasākumi</a:t>
            </a:r>
          </a:p>
        </p:txBody>
      </p:sp>
      <p:sp>
        <p:nvSpPr>
          <p:cNvPr id="23" name="Slide Number Placeholder 3">
            <a:extLst>
              <a:ext uri="{FF2B5EF4-FFF2-40B4-BE49-F238E27FC236}">
                <a16:creationId xmlns:a16="http://schemas.microsoft.com/office/drawing/2014/main" id="{3E50A70C-AE98-4C4C-DD4B-01F345345628}"/>
              </a:ext>
            </a:extLst>
          </p:cNvPr>
          <p:cNvSpPr>
            <a:spLocks noGrp="1"/>
          </p:cNvSpPr>
          <p:nvPr>
            <p:ph type="sldNum" sz="quarter" idx="11"/>
          </p:nvPr>
        </p:nvSpPr>
        <p:spPr>
          <a:xfrm>
            <a:off x="9984296" y="6492240"/>
            <a:ext cx="1764792" cy="137160"/>
          </a:xfrm>
        </p:spPr>
        <p:txBody>
          <a:bodyPr/>
          <a:lstStyle/>
          <a:p>
            <a:fld id="{7870704B-CE94-48CC-AF30-84932A1262A7}" type="slidenum">
              <a:rPr lang="lv-LV" smtClean="0"/>
              <a:pPr/>
              <a:t>18</a:t>
            </a:fld>
            <a:endParaRPr lang="lv-LV"/>
          </a:p>
        </p:txBody>
      </p:sp>
      <p:grpSp>
        <p:nvGrpSpPr>
          <p:cNvPr id="67" name="Group 66">
            <a:extLst>
              <a:ext uri="{FF2B5EF4-FFF2-40B4-BE49-F238E27FC236}">
                <a16:creationId xmlns:a16="http://schemas.microsoft.com/office/drawing/2014/main" id="{2D2798A6-DB77-8DF8-0FBA-D6A5F593466B}"/>
              </a:ext>
            </a:extLst>
          </p:cNvPr>
          <p:cNvGrpSpPr/>
          <p:nvPr/>
        </p:nvGrpSpPr>
        <p:grpSpPr>
          <a:xfrm>
            <a:off x="442912" y="1818184"/>
            <a:ext cx="7177088" cy="4356082"/>
            <a:chOff x="442912" y="1818184"/>
            <a:chExt cx="7177088" cy="4356082"/>
          </a:xfrm>
        </p:grpSpPr>
        <p:sp>
          <p:nvSpPr>
            <p:cNvPr id="13" name="Satura vietturis 2">
              <a:extLst>
                <a:ext uri="{FF2B5EF4-FFF2-40B4-BE49-F238E27FC236}">
                  <a16:creationId xmlns:a16="http://schemas.microsoft.com/office/drawing/2014/main" id="{EBC48018-9352-BCE7-EC18-F64F9523FBE2}"/>
                </a:ext>
              </a:extLst>
            </p:cNvPr>
            <p:cNvSpPr txBox="1">
              <a:spLocks/>
            </p:cNvSpPr>
            <p:nvPr/>
          </p:nvSpPr>
          <p:spPr>
            <a:xfrm>
              <a:off x="1139874" y="5735321"/>
              <a:ext cx="6480126" cy="436563"/>
            </a:xfrm>
            <a:prstGeom prst="rect">
              <a:avLst/>
            </a:prstGeom>
            <a:solidFill>
              <a:schemeClr val="bg1"/>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b="0">
                  <a:solidFill>
                    <a:schemeClr val="tx1">
                      <a:lumMod val="50000"/>
                    </a:schemeClr>
                  </a:solidFill>
                  <a:latin typeface="Arial"/>
                  <a:ea typeface="Arial"/>
                  <a:cs typeface="Arial"/>
                </a:rPr>
                <a:t>Slimības</a:t>
              </a:r>
              <a:endParaRPr lang="lv-LV" sz="1400" b="0">
                <a:solidFill>
                  <a:schemeClr val="tx1">
                    <a:lumMod val="50000"/>
                  </a:schemeClr>
                </a:solidFill>
                <a:cs typeface="Arial"/>
              </a:endParaRPr>
            </a:p>
          </p:txBody>
        </p:sp>
        <p:sp>
          <p:nvSpPr>
            <p:cNvPr id="14" name="Rectangle 13">
              <a:extLst>
                <a:ext uri="{FF2B5EF4-FFF2-40B4-BE49-F238E27FC236}">
                  <a16:creationId xmlns:a16="http://schemas.microsoft.com/office/drawing/2014/main" id="{A6EA8E27-8E20-4FA2-6F3F-47AB069C7A15}"/>
                </a:ext>
              </a:extLst>
            </p:cNvPr>
            <p:cNvSpPr/>
            <p:nvPr/>
          </p:nvSpPr>
          <p:spPr>
            <a:xfrm>
              <a:off x="442912" y="5734866"/>
              <a:ext cx="586800" cy="437018"/>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7" name="Satura vietturis 2">
              <a:extLst>
                <a:ext uri="{FF2B5EF4-FFF2-40B4-BE49-F238E27FC236}">
                  <a16:creationId xmlns:a16="http://schemas.microsoft.com/office/drawing/2014/main" id="{727C3B93-672E-9475-DFE2-94264EF24635}"/>
                </a:ext>
              </a:extLst>
            </p:cNvPr>
            <p:cNvSpPr txBox="1">
              <a:spLocks/>
            </p:cNvSpPr>
            <p:nvPr/>
          </p:nvSpPr>
          <p:spPr>
            <a:xfrm>
              <a:off x="1139874" y="5175730"/>
              <a:ext cx="6480126" cy="436563"/>
            </a:xfrm>
            <a:prstGeom prst="rect">
              <a:avLst/>
            </a:prstGeom>
            <a:solidFill>
              <a:schemeClr val="bg1"/>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b="0">
                  <a:solidFill>
                    <a:schemeClr val="tx1">
                      <a:lumMod val="50000"/>
                    </a:schemeClr>
                  </a:solidFill>
                  <a:latin typeface="Arial"/>
                  <a:ea typeface="Arial"/>
                  <a:cs typeface="Arial"/>
                </a:rPr>
                <a:t>Svešķermeņi</a:t>
              </a:r>
            </a:p>
          </p:txBody>
        </p:sp>
        <p:sp>
          <p:nvSpPr>
            <p:cNvPr id="18" name="Satura vietturis 2">
              <a:extLst>
                <a:ext uri="{FF2B5EF4-FFF2-40B4-BE49-F238E27FC236}">
                  <a16:creationId xmlns:a16="http://schemas.microsoft.com/office/drawing/2014/main" id="{23FEABF4-ACC6-6BA5-26A6-57105BBF3D63}"/>
                </a:ext>
              </a:extLst>
            </p:cNvPr>
            <p:cNvSpPr txBox="1">
              <a:spLocks/>
            </p:cNvSpPr>
            <p:nvPr/>
          </p:nvSpPr>
          <p:spPr>
            <a:xfrm>
              <a:off x="1139874" y="4616139"/>
              <a:ext cx="6480126" cy="436563"/>
            </a:xfrm>
            <a:prstGeom prst="rect">
              <a:avLst/>
            </a:prstGeom>
            <a:solidFill>
              <a:schemeClr val="bg1"/>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b="0">
                  <a:solidFill>
                    <a:schemeClr val="tx1">
                      <a:lumMod val="50000"/>
                    </a:schemeClr>
                  </a:solidFill>
                  <a:latin typeface="Arial"/>
                  <a:ea typeface="Arial"/>
                  <a:cs typeface="Arial"/>
                </a:rPr>
                <a:t>Dzīvnieku izraisīti nelaimes gadījumi</a:t>
              </a:r>
            </a:p>
          </p:txBody>
        </p:sp>
        <p:sp>
          <p:nvSpPr>
            <p:cNvPr id="19" name="Satura vietturis 2">
              <a:extLst>
                <a:ext uri="{FF2B5EF4-FFF2-40B4-BE49-F238E27FC236}">
                  <a16:creationId xmlns:a16="http://schemas.microsoft.com/office/drawing/2014/main" id="{640260A6-5B69-D0BB-2ADE-6121D1B73C97}"/>
                </a:ext>
              </a:extLst>
            </p:cNvPr>
            <p:cNvSpPr txBox="1">
              <a:spLocks/>
            </p:cNvSpPr>
            <p:nvPr/>
          </p:nvSpPr>
          <p:spPr>
            <a:xfrm>
              <a:off x="1139874" y="4056548"/>
              <a:ext cx="6480126" cy="436563"/>
            </a:xfrm>
            <a:prstGeom prst="rect">
              <a:avLst/>
            </a:prstGeom>
            <a:solidFill>
              <a:schemeClr val="bg1"/>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b="0">
                  <a:solidFill>
                    <a:schemeClr val="tx1">
                      <a:lumMod val="50000"/>
                    </a:schemeClr>
                  </a:solidFill>
                  <a:latin typeface="Arial"/>
                  <a:ea typeface="Arial"/>
                  <a:cs typeface="Arial"/>
                </a:rPr>
                <a:t>Ceļu satiksmes negadījums</a:t>
              </a:r>
            </a:p>
          </p:txBody>
        </p:sp>
        <p:sp>
          <p:nvSpPr>
            <p:cNvPr id="20" name="Satura vietturis 2">
              <a:extLst>
                <a:ext uri="{FF2B5EF4-FFF2-40B4-BE49-F238E27FC236}">
                  <a16:creationId xmlns:a16="http://schemas.microsoft.com/office/drawing/2014/main" id="{6748D0C1-5B92-F6E9-0A59-E6156DD31117}"/>
                </a:ext>
              </a:extLst>
            </p:cNvPr>
            <p:cNvSpPr txBox="1">
              <a:spLocks/>
            </p:cNvSpPr>
            <p:nvPr/>
          </p:nvSpPr>
          <p:spPr>
            <a:xfrm>
              <a:off x="1139874" y="3496957"/>
              <a:ext cx="6480126" cy="436563"/>
            </a:xfrm>
            <a:prstGeom prst="rect">
              <a:avLst/>
            </a:prstGeom>
            <a:solidFill>
              <a:schemeClr val="bg1"/>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b="0">
                  <a:solidFill>
                    <a:schemeClr val="tx1">
                      <a:lumMod val="50000"/>
                    </a:schemeClr>
                  </a:solidFill>
                  <a:latin typeface="Arial"/>
                  <a:ea typeface="Arial"/>
                  <a:cs typeface="Arial"/>
                </a:rPr>
                <a:t>Traumas</a:t>
              </a:r>
            </a:p>
          </p:txBody>
        </p:sp>
        <p:sp>
          <p:nvSpPr>
            <p:cNvPr id="21" name="Satura vietturis 2">
              <a:extLst>
                <a:ext uri="{FF2B5EF4-FFF2-40B4-BE49-F238E27FC236}">
                  <a16:creationId xmlns:a16="http://schemas.microsoft.com/office/drawing/2014/main" id="{AD8FAEBD-9C40-1056-EDEE-D682D22C4018}"/>
                </a:ext>
              </a:extLst>
            </p:cNvPr>
            <p:cNvSpPr txBox="1">
              <a:spLocks/>
            </p:cNvSpPr>
            <p:nvPr/>
          </p:nvSpPr>
          <p:spPr>
            <a:xfrm>
              <a:off x="1139874" y="2937366"/>
              <a:ext cx="6480126" cy="436563"/>
            </a:xfrm>
            <a:prstGeom prst="rect">
              <a:avLst/>
            </a:prstGeom>
            <a:solidFill>
              <a:schemeClr val="bg1"/>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b="0">
                  <a:solidFill>
                    <a:schemeClr val="tx1">
                      <a:lumMod val="50000"/>
                    </a:schemeClr>
                  </a:solidFill>
                  <a:latin typeface="Arial"/>
                  <a:ea typeface="Arial"/>
                  <a:cs typeface="Arial"/>
                </a:rPr>
                <a:t>Ķīmiskas vielas</a:t>
              </a:r>
            </a:p>
          </p:txBody>
        </p:sp>
        <p:sp>
          <p:nvSpPr>
            <p:cNvPr id="25" name="Satura vietturis 2">
              <a:extLst>
                <a:ext uri="{FF2B5EF4-FFF2-40B4-BE49-F238E27FC236}">
                  <a16:creationId xmlns:a16="http://schemas.microsoft.com/office/drawing/2014/main" id="{FA38E11F-EB0A-CDA0-8C36-9EFAAEF89052}"/>
                </a:ext>
              </a:extLst>
            </p:cNvPr>
            <p:cNvSpPr txBox="1">
              <a:spLocks/>
            </p:cNvSpPr>
            <p:nvPr/>
          </p:nvSpPr>
          <p:spPr>
            <a:xfrm>
              <a:off x="1139874" y="2377775"/>
              <a:ext cx="6480126" cy="436563"/>
            </a:xfrm>
            <a:prstGeom prst="rect">
              <a:avLst/>
            </a:prstGeom>
            <a:solidFill>
              <a:schemeClr val="bg1"/>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b="0">
                  <a:solidFill>
                    <a:schemeClr val="tx1">
                      <a:lumMod val="50000"/>
                    </a:schemeClr>
                  </a:solidFill>
                  <a:latin typeface="Arial"/>
                  <a:ea typeface="Arial"/>
                  <a:cs typeface="Arial"/>
                </a:rPr>
                <a:t>Termiskie bojājumi</a:t>
              </a:r>
            </a:p>
          </p:txBody>
        </p:sp>
        <p:sp>
          <p:nvSpPr>
            <p:cNvPr id="27" name="Satura vietturis 2">
              <a:extLst>
                <a:ext uri="{FF2B5EF4-FFF2-40B4-BE49-F238E27FC236}">
                  <a16:creationId xmlns:a16="http://schemas.microsoft.com/office/drawing/2014/main" id="{9BD1E965-D91B-3C2F-FE9D-C8C3604F3517}"/>
                </a:ext>
              </a:extLst>
            </p:cNvPr>
            <p:cNvSpPr txBox="1">
              <a:spLocks/>
            </p:cNvSpPr>
            <p:nvPr/>
          </p:nvSpPr>
          <p:spPr>
            <a:xfrm>
              <a:off x="1139874" y="1818184"/>
              <a:ext cx="6480126" cy="436563"/>
            </a:xfrm>
            <a:prstGeom prst="rect">
              <a:avLst/>
            </a:prstGeom>
            <a:solidFill>
              <a:schemeClr val="bg1"/>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b="0">
                  <a:solidFill>
                    <a:schemeClr val="tx1">
                      <a:lumMod val="50000"/>
                    </a:schemeClr>
                  </a:solidFill>
                  <a:latin typeface="Arial"/>
                  <a:cs typeface="Arial"/>
                </a:rPr>
                <a:t>Stipra asiņošana</a:t>
              </a:r>
            </a:p>
          </p:txBody>
        </p:sp>
        <p:sp>
          <p:nvSpPr>
            <p:cNvPr id="28" name="Rectangle 27">
              <a:extLst>
                <a:ext uri="{FF2B5EF4-FFF2-40B4-BE49-F238E27FC236}">
                  <a16:creationId xmlns:a16="http://schemas.microsoft.com/office/drawing/2014/main" id="{085CC3C1-7BCE-2CFF-6FE9-8B051CE5BAE1}"/>
                </a:ext>
              </a:extLst>
            </p:cNvPr>
            <p:cNvSpPr/>
            <p:nvPr/>
          </p:nvSpPr>
          <p:spPr>
            <a:xfrm>
              <a:off x="442912" y="5175730"/>
              <a:ext cx="586800" cy="43701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9" name="Rectangle 28">
              <a:extLst>
                <a:ext uri="{FF2B5EF4-FFF2-40B4-BE49-F238E27FC236}">
                  <a16:creationId xmlns:a16="http://schemas.microsoft.com/office/drawing/2014/main" id="{22B7628C-AF1F-ECC4-7997-9A5DA3213126}"/>
                </a:ext>
              </a:extLst>
            </p:cNvPr>
            <p:cNvSpPr/>
            <p:nvPr/>
          </p:nvSpPr>
          <p:spPr>
            <a:xfrm>
              <a:off x="442912" y="4616139"/>
              <a:ext cx="586800" cy="437018"/>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0" name="Rectangle 29">
              <a:extLst>
                <a:ext uri="{FF2B5EF4-FFF2-40B4-BE49-F238E27FC236}">
                  <a16:creationId xmlns:a16="http://schemas.microsoft.com/office/drawing/2014/main" id="{CBECDA33-3DF1-41DE-1ABB-16C633BAC804}"/>
                </a:ext>
              </a:extLst>
            </p:cNvPr>
            <p:cNvSpPr/>
            <p:nvPr/>
          </p:nvSpPr>
          <p:spPr>
            <a:xfrm>
              <a:off x="442912" y="4056548"/>
              <a:ext cx="586800" cy="43701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1" name="Rectangle 30">
              <a:extLst>
                <a:ext uri="{FF2B5EF4-FFF2-40B4-BE49-F238E27FC236}">
                  <a16:creationId xmlns:a16="http://schemas.microsoft.com/office/drawing/2014/main" id="{32D800BF-7D51-BDDC-0E3A-1EC21D1841D8}"/>
                </a:ext>
              </a:extLst>
            </p:cNvPr>
            <p:cNvSpPr/>
            <p:nvPr/>
          </p:nvSpPr>
          <p:spPr>
            <a:xfrm>
              <a:off x="442912" y="3496957"/>
              <a:ext cx="586800" cy="437018"/>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2" name="Rectangle 31">
              <a:extLst>
                <a:ext uri="{FF2B5EF4-FFF2-40B4-BE49-F238E27FC236}">
                  <a16:creationId xmlns:a16="http://schemas.microsoft.com/office/drawing/2014/main" id="{3904F4A1-8632-ECDA-CFE9-8DE85E254BF1}"/>
                </a:ext>
              </a:extLst>
            </p:cNvPr>
            <p:cNvSpPr/>
            <p:nvPr/>
          </p:nvSpPr>
          <p:spPr>
            <a:xfrm>
              <a:off x="442912" y="2937366"/>
              <a:ext cx="586800" cy="43701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3" name="Rectangle 32">
              <a:extLst>
                <a:ext uri="{FF2B5EF4-FFF2-40B4-BE49-F238E27FC236}">
                  <a16:creationId xmlns:a16="http://schemas.microsoft.com/office/drawing/2014/main" id="{EF2B0D7D-72D6-DA32-14A0-AAEB0DC31610}"/>
                </a:ext>
              </a:extLst>
            </p:cNvPr>
            <p:cNvSpPr/>
            <p:nvPr/>
          </p:nvSpPr>
          <p:spPr>
            <a:xfrm>
              <a:off x="442912" y="2377775"/>
              <a:ext cx="586800" cy="437018"/>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4" name="Rectangle 33">
              <a:extLst>
                <a:ext uri="{FF2B5EF4-FFF2-40B4-BE49-F238E27FC236}">
                  <a16:creationId xmlns:a16="http://schemas.microsoft.com/office/drawing/2014/main" id="{726C93E4-4142-75A2-547C-0711EA5DF011}"/>
                </a:ext>
              </a:extLst>
            </p:cNvPr>
            <p:cNvSpPr/>
            <p:nvPr/>
          </p:nvSpPr>
          <p:spPr>
            <a:xfrm>
              <a:off x="442912" y="1818184"/>
              <a:ext cx="586800" cy="43701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pic>
          <p:nvPicPr>
            <p:cNvPr id="15" name="Graphic 14" descr="Water with solid fill">
              <a:extLst>
                <a:ext uri="{FF2B5EF4-FFF2-40B4-BE49-F238E27FC236}">
                  <a16:creationId xmlns:a16="http://schemas.microsoft.com/office/drawing/2014/main" id="{56D5031E-9BB8-DB92-8641-EE3099AEAFC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4545" y="1855244"/>
              <a:ext cx="363534" cy="363534"/>
            </a:xfrm>
            <a:prstGeom prst="rect">
              <a:avLst/>
            </a:prstGeom>
          </p:spPr>
        </p:pic>
        <p:pic>
          <p:nvPicPr>
            <p:cNvPr id="43" name="Graphic 42" descr="Car with solid fill">
              <a:extLst>
                <a:ext uri="{FF2B5EF4-FFF2-40B4-BE49-F238E27FC236}">
                  <a16:creationId xmlns:a16="http://schemas.microsoft.com/office/drawing/2014/main" id="{B1930482-85CF-0828-289A-911A88D162F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4288" y="4076829"/>
              <a:ext cx="396000" cy="396000"/>
            </a:xfrm>
            <a:prstGeom prst="rect">
              <a:avLst/>
            </a:prstGeom>
          </p:spPr>
        </p:pic>
        <p:pic>
          <p:nvPicPr>
            <p:cNvPr id="45" name="Graphic 44" descr="Beaker with solid fill">
              <a:extLst>
                <a:ext uri="{FF2B5EF4-FFF2-40B4-BE49-F238E27FC236}">
                  <a16:creationId xmlns:a16="http://schemas.microsoft.com/office/drawing/2014/main" id="{CB7F7362-D009-3746-71A4-C82A3EAECE5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55965" y="2957647"/>
              <a:ext cx="396000" cy="396000"/>
            </a:xfrm>
            <a:prstGeom prst="rect">
              <a:avLst/>
            </a:prstGeom>
          </p:spPr>
        </p:pic>
        <p:pic>
          <p:nvPicPr>
            <p:cNvPr id="47" name="Graphic 46" descr="Veterinarian male with solid fill">
              <a:extLst>
                <a:ext uri="{FF2B5EF4-FFF2-40B4-BE49-F238E27FC236}">
                  <a16:creationId xmlns:a16="http://schemas.microsoft.com/office/drawing/2014/main" id="{1843502D-878E-5D1D-EC6D-637822DA957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54288" y="4636420"/>
              <a:ext cx="396000" cy="396000"/>
            </a:xfrm>
            <a:prstGeom prst="rect">
              <a:avLst/>
            </a:prstGeom>
          </p:spPr>
        </p:pic>
        <p:pic>
          <p:nvPicPr>
            <p:cNvPr id="49" name="Graphic 48" descr="Medicine with solid fill">
              <a:extLst>
                <a:ext uri="{FF2B5EF4-FFF2-40B4-BE49-F238E27FC236}">
                  <a16:creationId xmlns:a16="http://schemas.microsoft.com/office/drawing/2014/main" id="{CE2EC60D-BCC6-E24D-CC9D-94DDDB0D6EF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55209" y="5755375"/>
              <a:ext cx="396000" cy="396000"/>
            </a:xfrm>
            <a:prstGeom prst="rect">
              <a:avLst/>
            </a:prstGeom>
          </p:spPr>
        </p:pic>
        <p:pic>
          <p:nvPicPr>
            <p:cNvPr id="51" name="Graphic 50" descr="Nails with solid fill">
              <a:extLst>
                <a:ext uri="{FF2B5EF4-FFF2-40B4-BE49-F238E27FC236}">
                  <a16:creationId xmlns:a16="http://schemas.microsoft.com/office/drawing/2014/main" id="{B7BCAF95-4E75-7D80-5968-6AB8067240F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38311" y="5182123"/>
              <a:ext cx="396000" cy="396000"/>
            </a:xfrm>
            <a:prstGeom prst="rect">
              <a:avLst/>
            </a:prstGeom>
          </p:spPr>
        </p:pic>
        <p:pic>
          <p:nvPicPr>
            <p:cNvPr id="53" name="Graphic 52" descr="Thermometer with solid fill">
              <a:extLst>
                <a:ext uri="{FF2B5EF4-FFF2-40B4-BE49-F238E27FC236}">
                  <a16:creationId xmlns:a16="http://schemas.microsoft.com/office/drawing/2014/main" id="{F1451C2A-ADFE-AF0D-DFB9-1EB6C4E5700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43869" y="2398056"/>
              <a:ext cx="396000" cy="396000"/>
            </a:xfrm>
            <a:prstGeom prst="rect">
              <a:avLst/>
            </a:prstGeom>
          </p:spPr>
        </p:pic>
        <p:pic>
          <p:nvPicPr>
            <p:cNvPr id="55" name="Graphic 54" descr="Adhesive Bandage with solid fill">
              <a:extLst>
                <a:ext uri="{FF2B5EF4-FFF2-40B4-BE49-F238E27FC236}">
                  <a16:creationId xmlns:a16="http://schemas.microsoft.com/office/drawing/2014/main" id="{81FB2B37-3861-158D-B102-4866A1069E5C}"/>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54288" y="3523011"/>
              <a:ext cx="396000" cy="396000"/>
            </a:xfrm>
            <a:prstGeom prst="rect">
              <a:avLst/>
            </a:prstGeom>
          </p:spPr>
        </p:pic>
        <p:cxnSp>
          <p:nvCxnSpPr>
            <p:cNvPr id="58" name="Straight Connector 57">
              <a:extLst>
                <a:ext uri="{FF2B5EF4-FFF2-40B4-BE49-F238E27FC236}">
                  <a16:creationId xmlns:a16="http://schemas.microsoft.com/office/drawing/2014/main" id="{60097C3E-95FF-1A87-5F2F-91053212AE11}"/>
                </a:ext>
              </a:extLst>
            </p:cNvPr>
            <p:cNvCxnSpPr>
              <a:cxnSpLocks/>
            </p:cNvCxnSpPr>
            <p:nvPr/>
          </p:nvCxnSpPr>
          <p:spPr>
            <a:xfrm>
              <a:off x="1139874" y="2253046"/>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9" name="Straight Connector 58">
              <a:extLst>
                <a:ext uri="{FF2B5EF4-FFF2-40B4-BE49-F238E27FC236}">
                  <a16:creationId xmlns:a16="http://schemas.microsoft.com/office/drawing/2014/main" id="{9C90833B-60CC-5E5E-3CD3-754141C666B0}"/>
                </a:ext>
              </a:extLst>
            </p:cNvPr>
            <p:cNvCxnSpPr>
              <a:cxnSpLocks/>
            </p:cNvCxnSpPr>
            <p:nvPr/>
          </p:nvCxnSpPr>
          <p:spPr>
            <a:xfrm>
              <a:off x="1139874" y="2810841"/>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0" name="Straight Connector 59">
              <a:extLst>
                <a:ext uri="{FF2B5EF4-FFF2-40B4-BE49-F238E27FC236}">
                  <a16:creationId xmlns:a16="http://schemas.microsoft.com/office/drawing/2014/main" id="{FACF80ED-B110-F707-029A-D22DA28450C2}"/>
                </a:ext>
              </a:extLst>
            </p:cNvPr>
            <p:cNvCxnSpPr>
              <a:cxnSpLocks/>
            </p:cNvCxnSpPr>
            <p:nvPr/>
          </p:nvCxnSpPr>
          <p:spPr>
            <a:xfrm>
              <a:off x="1139874" y="3370432"/>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1" name="Straight Connector 60">
              <a:extLst>
                <a:ext uri="{FF2B5EF4-FFF2-40B4-BE49-F238E27FC236}">
                  <a16:creationId xmlns:a16="http://schemas.microsoft.com/office/drawing/2014/main" id="{5E817EE8-C0F5-AD0B-6B82-B17A6679F1EF}"/>
                </a:ext>
              </a:extLst>
            </p:cNvPr>
            <p:cNvCxnSpPr>
              <a:cxnSpLocks/>
            </p:cNvCxnSpPr>
            <p:nvPr/>
          </p:nvCxnSpPr>
          <p:spPr>
            <a:xfrm>
              <a:off x="1139874" y="3916629"/>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2" name="Straight Connector 61">
              <a:extLst>
                <a:ext uri="{FF2B5EF4-FFF2-40B4-BE49-F238E27FC236}">
                  <a16:creationId xmlns:a16="http://schemas.microsoft.com/office/drawing/2014/main" id="{9019D7AB-38B5-8ADF-40A9-C960F67FB740}"/>
                </a:ext>
              </a:extLst>
            </p:cNvPr>
            <p:cNvCxnSpPr>
              <a:cxnSpLocks/>
            </p:cNvCxnSpPr>
            <p:nvPr/>
          </p:nvCxnSpPr>
          <p:spPr>
            <a:xfrm>
              <a:off x="1139874" y="4477233"/>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3" name="Straight Connector 62">
              <a:extLst>
                <a:ext uri="{FF2B5EF4-FFF2-40B4-BE49-F238E27FC236}">
                  <a16:creationId xmlns:a16="http://schemas.microsoft.com/office/drawing/2014/main" id="{6E1A9B63-C020-BEB6-B577-2797FC7F197A}"/>
                </a:ext>
              </a:extLst>
            </p:cNvPr>
            <p:cNvCxnSpPr>
              <a:cxnSpLocks/>
            </p:cNvCxnSpPr>
            <p:nvPr/>
          </p:nvCxnSpPr>
          <p:spPr>
            <a:xfrm>
              <a:off x="1139874" y="5041530"/>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4" name="Straight Connector 63">
              <a:extLst>
                <a:ext uri="{FF2B5EF4-FFF2-40B4-BE49-F238E27FC236}">
                  <a16:creationId xmlns:a16="http://schemas.microsoft.com/office/drawing/2014/main" id="{0A72AA48-9739-1CC1-781A-D70A103C1399}"/>
                </a:ext>
              </a:extLst>
            </p:cNvPr>
            <p:cNvCxnSpPr>
              <a:cxnSpLocks/>
            </p:cNvCxnSpPr>
            <p:nvPr/>
          </p:nvCxnSpPr>
          <p:spPr>
            <a:xfrm>
              <a:off x="1139874" y="5609911"/>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5" name="Straight Connector 64">
              <a:extLst>
                <a:ext uri="{FF2B5EF4-FFF2-40B4-BE49-F238E27FC236}">
                  <a16:creationId xmlns:a16="http://schemas.microsoft.com/office/drawing/2014/main" id="{FEBC0E08-34CD-CBCA-5F9B-F84B1C59B5EA}"/>
                </a:ext>
              </a:extLst>
            </p:cNvPr>
            <p:cNvCxnSpPr>
              <a:cxnSpLocks/>
            </p:cNvCxnSpPr>
            <p:nvPr/>
          </p:nvCxnSpPr>
          <p:spPr>
            <a:xfrm>
              <a:off x="1139874" y="6171884"/>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grpSp>
      <p:sp>
        <p:nvSpPr>
          <p:cNvPr id="68" name="Rectangle 67">
            <a:extLst>
              <a:ext uri="{FF2B5EF4-FFF2-40B4-BE49-F238E27FC236}">
                <a16:creationId xmlns:a16="http://schemas.microsoft.com/office/drawing/2014/main" id="{512F80CF-595E-3A80-F495-3198099BF352}"/>
              </a:ext>
            </a:extLst>
          </p:cNvPr>
          <p:cNvSpPr/>
          <p:nvPr/>
        </p:nvSpPr>
        <p:spPr>
          <a:xfrm>
            <a:off x="442913" y="963958"/>
            <a:ext cx="6734172" cy="628650"/>
          </a:xfrm>
          <a:prstGeom prst="rect">
            <a:avLst/>
          </a:prstGeom>
          <a:solidFill>
            <a:schemeClr val="bg1"/>
          </a:solidFill>
          <a:ln>
            <a:solidFill>
              <a:schemeClr val="accent2"/>
            </a:solidFill>
          </a:ln>
        </p:spPr>
        <p:style>
          <a:lnRef idx="0">
            <a:schemeClr val="accent1"/>
          </a:lnRef>
          <a:fillRef idx="1">
            <a:schemeClr val="accent1"/>
          </a:fillRef>
          <a:effectRef idx="0">
            <a:schemeClr val="dk1"/>
          </a:effectRef>
          <a:fontRef idx="minor">
            <a:schemeClr val="lt1"/>
          </a:fontRef>
        </p:style>
        <p:txBody>
          <a:bodyPr lIns="900000" rtlCol="0" anchor="ctr"/>
          <a:lstStyle/>
          <a:p>
            <a:pPr>
              <a:lnSpc>
                <a:spcPct val="100000"/>
              </a:lnSpc>
            </a:pPr>
            <a:r>
              <a:rPr lang="lv-LV" sz="1600" b="1">
                <a:solidFill>
                  <a:schemeClr val="tx1"/>
                </a:solidFill>
              </a:rPr>
              <a:t>Biežākie negadījumi un rīcība</a:t>
            </a:r>
          </a:p>
        </p:txBody>
      </p:sp>
      <p:pic>
        <p:nvPicPr>
          <p:cNvPr id="70" name="Graphic 69" descr="Medical outline">
            <a:extLst>
              <a:ext uri="{FF2B5EF4-FFF2-40B4-BE49-F238E27FC236}">
                <a16:creationId xmlns:a16="http://schemas.microsoft.com/office/drawing/2014/main" id="{71E5741B-6DE9-9932-652B-773C9A802D0D}"/>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38311" y="1062283"/>
            <a:ext cx="432000" cy="432000"/>
          </a:xfrm>
          <a:prstGeom prst="rect">
            <a:avLst/>
          </a:prstGeom>
        </p:spPr>
      </p:pic>
      <p:cxnSp>
        <p:nvCxnSpPr>
          <p:cNvPr id="71" name="Straight Connector 70">
            <a:extLst>
              <a:ext uri="{FF2B5EF4-FFF2-40B4-BE49-F238E27FC236}">
                <a16:creationId xmlns:a16="http://schemas.microsoft.com/office/drawing/2014/main" id="{BB5578A7-C7B3-121A-1EC0-BBB5C91477DD}"/>
              </a:ext>
            </a:extLst>
          </p:cNvPr>
          <p:cNvCxnSpPr>
            <a:cxnSpLocks/>
          </p:cNvCxnSpPr>
          <p:nvPr/>
        </p:nvCxnSpPr>
        <p:spPr>
          <a:xfrm>
            <a:off x="1233531" y="1053947"/>
            <a:ext cx="0" cy="448673"/>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72" name="Rectangle 71">
            <a:extLst>
              <a:ext uri="{FF2B5EF4-FFF2-40B4-BE49-F238E27FC236}">
                <a16:creationId xmlns:a16="http://schemas.microsoft.com/office/drawing/2014/main" id="{389AB09B-1895-53B3-B2BF-1941E31431C3}"/>
              </a:ext>
            </a:extLst>
          </p:cNvPr>
          <p:cNvSpPr/>
          <p:nvPr/>
        </p:nvSpPr>
        <p:spPr>
          <a:xfrm>
            <a:off x="1454989" y="1062283"/>
            <a:ext cx="3405187"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endParaRPr lang="en-GB" sz="1600" b="1">
              <a:solidFill>
                <a:schemeClr val="tx1"/>
              </a:solidFill>
            </a:endParaRPr>
          </a:p>
        </p:txBody>
      </p:sp>
      <p:sp>
        <p:nvSpPr>
          <p:cNvPr id="79" name="Rectangle 78">
            <a:extLst>
              <a:ext uri="{FF2B5EF4-FFF2-40B4-BE49-F238E27FC236}">
                <a16:creationId xmlns:a16="http://schemas.microsoft.com/office/drawing/2014/main" id="{72A92D02-BCC4-F084-7D68-CD45A6DC8E1C}"/>
              </a:ext>
            </a:extLst>
          </p:cNvPr>
          <p:cNvSpPr/>
          <p:nvPr/>
        </p:nvSpPr>
        <p:spPr>
          <a:xfrm>
            <a:off x="7619999" y="0"/>
            <a:ext cx="4572002"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nvGrpSpPr>
          <p:cNvPr id="78" name="Group 77">
            <a:extLst>
              <a:ext uri="{FF2B5EF4-FFF2-40B4-BE49-F238E27FC236}">
                <a16:creationId xmlns:a16="http://schemas.microsoft.com/office/drawing/2014/main" id="{32B6BDBB-7194-CDE7-F6B7-C8AFABCE0031}"/>
              </a:ext>
            </a:extLst>
          </p:cNvPr>
          <p:cNvGrpSpPr/>
          <p:nvPr/>
        </p:nvGrpSpPr>
        <p:grpSpPr>
          <a:xfrm>
            <a:off x="7619998" y="963958"/>
            <a:ext cx="4129089" cy="1846883"/>
            <a:chOff x="7619998" y="1822554"/>
            <a:chExt cx="4129089" cy="1846883"/>
          </a:xfrm>
        </p:grpSpPr>
        <p:sp>
          <p:nvSpPr>
            <p:cNvPr id="73" name="Rectangle 72">
              <a:extLst>
                <a:ext uri="{FF2B5EF4-FFF2-40B4-BE49-F238E27FC236}">
                  <a16:creationId xmlns:a16="http://schemas.microsoft.com/office/drawing/2014/main" id="{31125C22-727E-9F1A-6243-9118C9184F00}"/>
                </a:ext>
              </a:extLst>
            </p:cNvPr>
            <p:cNvSpPr/>
            <p:nvPr/>
          </p:nvSpPr>
          <p:spPr>
            <a:xfrm>
              <a:off x="7619998" y="2398554"/>
              <a:ext cx="4129089" cy="127088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4400" indent="-284400">
                <a:spcAft>
                  <a:spcPts val="600"/>
                </a:spcAft>
                <a:buBlip>
                  <a:blip r:embed="rId25"/>
                </a:buBlip>
              </a:pPr>
              <a:r>
                <a:rPr lang="lv-LV" sz="1400" b="1">
                  <a:solidFill>
                    <a:schemeClr val="tx1"/>
                  </a:solidFill>
                </a:rPr>
                <a:t>Ja norādītā rīcības secība negadījuma aprakstā ir numurēta, tā jāievēro. Ja numerācija netiek lietota, rīcības secība var tikt mainīta, ņemot vērā konkrētos apstākļus.</a:t>
              </a:r>
            </a:p>
          </p:txBody>
        </p:sp>
        <p:sp>
          <p:nvSpPr>
            <p:cNvPr id="74" name="Rectangle 73">
              <a:extLst>
                <a:ext uri="{FF2B5EF4-FFF2-40B4-BE49-F238E27FC236}">
                  <a16:creationId xmlns:a16="http://schemas.microsoft.com/office/drawing/2014/main" id="{30BC4D96-7AB6-5410-F8A7-11D4C2862746}"/>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75" name="Content Placeholder 1">
              <a:extLst>
                <a:ext uri="{FF2B5EF4-FFF2-40B4-BE49-F238E27FC236}">
                  <a16:creationId xmlns:a16="http://schemas.microsoft.com/office/drawing/2014/main" id="{290E10FB-1E9E-BA02-17CE-37048E36D77D}"/>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76" name="Content Placeholder 1">
              <a:extLst>
                <a:ext uri="{FF2B5EF4-FFF2-40B4-BE49-F238E27FC236}">
                  <a16:creationId xmlns:a16="http://schemas.microsoft.com/office/drawing/2014/main" id="{38DBB93D-57B0-B54F-E839-6C98B0A631BA}"/>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77" name="Google Shape;794;p79">
              <a:extLst>
                <a:ext uri="{FF2B5EF4-FFF2-40B4-BE49-F238E27FC236}">
                  <a16:creationId xmlns:a16="http://schemas.microsoft.com/office/drawing/2014/main" id="{DDB6C16B-57BB-AF2A-E53B-4AB987146955}"/>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3" name="Rectangle 2">
            <a:extLst>
              <a:ext uri="{FF2B5EF4-FFF2-40B4-BE49-F238E27FC236}">
                <a16:creationId xmlns:a16="http://schemas.microsoft.com/office/drawing/2014/main" id="{D62443EF-1EFB-C495-F9E8-EE05C6033CA3}"/>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22" name="Group 21">
            <a:extLst>
              <a:ext uri="{FF2B5EF4-FFF2-40B4-BE49-F238E27FC236}">
                <a16:creationId xmlns:a16="http://schemas.microsoft.com/office/drawing/2014/main" id="{029284BD-D69B-333C-611F-3BAFCA29827D}"/>
              </a:ext>
            </a:extLst>
          </p:cNvPr>
          <p:cNvGrpSpPr/>
          <p:nvPr/>
        </p:nvGrpSpPr>
        <p:grpSpPr>
          <a:xfrm>
            <a:off x="9122935" y="126781"/>
            <a:ext cx="2626153" cy="217488"/>
            <a:chOff x="9122935" y="126781"/>
            <a:chExt cx="2626153" cy="217488"/>
          </a:xfrm>
        </p:grpSpPr>
        <p:sp>
          <p:nvSpPr>
            <p:cNvPr id="5" name="Rectangle 4">
              <a:extLst>
                <a:ext uri="{FF2B5EF4-FFF2-40B4-BE49-F238E27FC236}">
                  <a16:creationId xmlns:a16="http://schemas.microsoft.com/office/drawing/2014/main" id="{8A63010A-ECC5-CF16-9026-675C22212CDD}"/>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6" name="Rectangle 5">
              <a:extLst>
                <a:ext uri="{FF2B5EF4-FFF2-40B4-BE49-F238E27FC236}">
                  <a16:creationId xmlns:a16="http://schemas.microsoft.com/office/drawing/2014/main" id="{8BA343BD-9605-1DC6-DA98-2F9D3AC08DE4}"/>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3D8E8461-D203-C9FB-A585-EB1E1E7F2337}"/>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4C91119E-C842-62DC-C140-5B1BA09FD901}"/>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C567299E-DFD6-0AB6-D527-CB736DD459CE}"/>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8058A796-545C-68C0-9520-000E351FC181}"/>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32929958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6E6AF23-7B86-113A-F559-513B41FEC1FE}"/>
              </a:ext>
            </a:extLst>
          </p:cNvPr>
          <p:cNvGraphicFramePr>
            <a:graphicFrameLocks noChangeAspect="1"/>
          </p:cNvGraphicFramePr>
          <p:nvPr>
            <p:custDataLst>
              <p:tags r:id="rId1"/>
            </p:custDataLst>
            <p:extLst>
              <p:ext uri="{D42A27DB-BD31-4B8C-83A1-F6EECF244321}">
                <p14:modId xmlns:p14="http://schemas.microsoft.com/office/powerpoint/2010/main" val="42598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F6E6AF23-7B86-113A-F559-513B41FEC1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1" name="Picture 40">
            <a:extLst>
              <a:ext uri="{FF2B5EF4-FFF2-40B4-BE49-F238E27FC236}">
                <a16:creationId xmlns:a16="http://schemas.microsoft.com/office/drawing/2014/main" id="{7CAE88F2-0719-E8A4-5A3E-39E39CF155A6}"/>
              </a:ext>
            </a:extLst>
          </p:cNvPr>
          <p:cNvPicPr>
            <a:picLocks noChangeAspect="1"/>
          </p:cNvPicPr>
          <p:nvPr/>
        </p:nvPicPr>
        <p:blipFill>
          <a:blip r:embed="rId6"/>
          <a:stretch>
            <a:fillRect/>
          </a:stretch>
        </p:blipFill>
        <p:spPr>
          <a:xfrm>
            <a:off x="7620000" y="0"/>
            <a:ext cx="4572000" cy="6858000"/>
          </a:xfrm>
          <a:prstGeom prst="rect">
            <a:avLst/>
          </a:prstGeom>
        </p:spPr>
      </p:pic>
      <p:sp>
        <p:nvSpPr>
          <p:cNvPr id="42" name="Rectangle 41">
            <a:extLst>
              <a:ext uri="{FF2B5EF4-FFF2-40B4-BE49-F238E27FC236}">
                <a16:creationId xmlns:a16="http://schemas.microsoft.com/office/drawing/2014/main" id="{50830596-224D-A11D-D251-21B0CA3EB02E}"/>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2B261BF4-92C6-462D-AA95-793AE54DD688}"/>
              </a:ext>
            </a:extLst>
          </p:cNvPr>
          <p:cNvSpPr/>
          <p:nvPr/>
        </p:nvSpPr>
        <p:spPr>
          <a:xfrm>
            <a:off x="7619998" y="2398554"/>
            <a:ext cx="4129089"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4400" indent="-284400">
              <a:spcAft>
                <a:spcPts val="600"/>
              </a:spcAft>
              <a:buBlip>
                <a:blip r:embed="rId7"/>
              </a:buBlip>
            </a:pPr>
            <a:r>
              <a:rPr lang="lv-LV" sz="1400">
                <a:solidFill>
                  <a:schemeClr val="tx1"/>
                </a:solidFill>
              </a:rPr>
              <a:t>Stipra asiņošana ir dzīvībai bīstama.</a:t>
            </a:r>
          </a:p>
          <a:p>
            <a:pPr marL="284400" indent="-284400">
              <a:spcAft>
                <a:spcPts val="600"/>
              </a:spcAft>
              <a:buBlip>
                <a:blip r:embed="rId7"/>
              </a:buBlip>
            </a:pPr>
            <a:r>
              <a:rPr lang="lv-LV" sz="1400">
                <a:solidFill>
                  <a:schemeClr val="tx1"/>
                </a:solidFill>
              </a:rPr>
              <a:t>Kā cimdu aizvietotājus var izmantot ūdens necaurlaidīga materiāla izstrādājumus (piem., plastikāta maisiņu).</a:t>
            </a:r>
          </a:p>
          <a:p>
            <a:pPr marL="284400" indent="-284400">
              <a:spcAft>
                <a:spcPts val="600"/>
              </a:spcAft>
              <a:buBlip>
                <a:blip r:embed="rId7"/>
              </a:buBlip>
            </a:pPr>
            <a:r>
              <a:rPr lang="lv-LV" sz="1400">
                <a:solidFill>
                  <a:schemeClr val="tx1"/>
                </a:solidFill>
              </a:rPr>
              <a:t>Brūci var aizspiest ar pirkstiem, plaukstu vai dūri. Ja iespējams, izmantojiet marles salveti vai tīru drēbes gabalu.</a:t>
            </a:r>
          </a:p>
          <a:p>
            <a:pPr marL="284400" indent="-284400">
              <a:spcAft>
                <a:spcPts val="600"/>
              </a:spcAft>
              <a:buBlip>
                <a:blip r:embed="rId7"/>
              </a:buBlip>
            </a:pPr>
            <a:r>
              <a:rPr lang="lv-LV" sz="1400">
                <a:solidFill>
                  <a:schemeClr val="tx1"/>
                </a:solidFill>
              </a:rPr>
              <a:t>Ja liekas, ka asiņošana turpinās, piespiediet brūci stiprāk, uzliekot vēl marles salveti vai drēbes gabalu virs esošā materiāla.</a:t>
            </a:r>
            <a:endParaRPr lang="en-GB" sz="1400"/>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a:lstStyle/>
          <a:p>
            <a:r>
              <a:rPr lang="lv-LV" spc="-20"/>
              <a:t>Kā rīkoties stipras asiņošanas gadījumā?</a:t>
            </a:r>
            <a:endParaRPr lang="en-GB" spc="-20"/>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19</a:t>
            </a:fld>
            <a:endParaRPr lang="en-GB"/>
          </a:p>
        </p:txBody>
      </p:sp>
      <p:sp>
        <p:nvSpPr>
          <p:cNvPr id="21" name="TextBox 20">
            <a:extLst>
              <a:ext uri="{FF2B5EF4-FFF2-40B4-BE49-F238E27FC236}">
                <a16:creationId xmlns:a16="http://schemas.microsoft.com/office/drawing/2014/main" id="{78DC1799-6B68-492D-BBE0-D7BECB3D58E6}"/>
              </a:ext>
            </a:extLst>
          </p:cNvPr>
          <p:cNvSpPr txBox="1"/>
          <p:nvPr/>
        </p:nvSpPr>
        <p:spPr>
          <a:xfrm>
            <a:off x="1297953" y="2531791"/>
            <a:ext cx="5879131" cy="432000"/>
          </a:xfrm>
          <a:prstGeom prst="rect">
            <a:avLst/>
          </a:prstGeom>
          <a:noFill/>
        </p:spPr>
        <p:txBody>
          <a:bodyPr wrap="square" anchor="ctr">
            <a:noAutofit/>
          </a:bodyPr>
          <a:lstStyle/>
          <a:p>
            <a:pPr>
              <a:spcAft>
                <a:spcPts val="0"/>
              </a:spcAft>
            </a:pPr>
            <a:r>
              <a:rPr lang="lv-LV" sz="1400">
                <a:solidFill>
                  <a:schemeClr val="tx1"/>
                </a:solidFill>
              </a:rPr>
              <a:t>Uzvelciet rokās ūdens necaurlaidīgus cimdus.</a:t>
            </a:r>
          </a:p>
        </p:txBody>
      </p:sp>
      <p:sp>
        <p:nvSpPr>
          <p:cNvPr id="26" name="Rectangle 25">
            <a:extLst>
              <a:ext uri="{FF2B5EF4-FFF2-40B4-BE49-F238E27FC236}">
                <a16:creationId xmlns:a16="http://schemas.microsoft.com/office/drawing/2014/main" id="{5EC1F9AE-82A4-85FE-592B-EF659F76F7EC}"/>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27" name="Rectangle 26">
            <a:extLst>
              <a:ext uri="{FF2B5EF4-FFF2-40B4-BE49-F238E27FC236}">
                <a16:creationId xmlns:a16="http://schemas.microsoft.com/office/drawing/2014/main" id="{72D802D4-B169-1594-D931-40179675E33A}"/>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29" name="Content Placeholder 1">
            <a:extLst>
              <a:ext uri="{FF2B5EF4-FFF2-40B4-BE49-F238E27FC236}">
                <a16:creationId xmlns:a16="http://schemas.microsoft.com/office/drawing/2014/main" id="{3915AD89-6428-4A75-0915-328643F1703C}"/>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0" name="Content Placeholder 1">
            <a:extLst>
              <a:ext uri="{FF2B5EF4-FFF2-40B4-BE49-F238E27FC236}">
                <a16:creationId xmlns:a16="http://schemas.microsoft.com/office/drawing/2014/main" id="{373AB206-F1F0-CC72-8C15-85605D9AF2AC}"/>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4" name="Content Placeholder 1">
            <a:extLst>
              <a:ext uri="{FF2B5EF4-FFF2-40B4-BE49-F238E27FC236}">
                <a16:creationId xmlns:a16="http://schemas.microsoft.com/office/drawing/2014/main" id="{37325A5C-F07F-2313-782A-18E3E98D15F0}"/>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5" name="Content Placeholder 1">
            <a:extLst>
              <a:ext uri="{FF2B5EF4-FFF2-40B4-BE49-F238E27FC236}">
                <a16:creationId xmlns:a16="http://schemas.microsoft.com/office/drawing/2014/main" id="{5A4A472A-422C-56F4-A0F5-AE422E82D144}"/>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61" name="Content Placeholder 1">
            <a:extLst>
              <a:ext uri="{FF2B5EF4-FFF2-40B4-BE49-F238E27FC236}">
                <a16:creationId xmlns:a16="http://schemas.microsoft.com/office/drawing/2014/main" id="{2A14CA01-2350-21C6-16E6-E9CEAF43B441}"/>
              </a:ext>
            </a:extLst>
          </p:cNvPr>
          <p:cNvSpPr txBox="1">
            <a:spLocks/>
          </p:cNvSpPr>
          <p:nvPr/>
        </p:nvSpPr>
        <p:spPr>
          <a:xfrm>
            <a:off x="441325" y="2990135"/>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2</a:t>
            </a:r>
          </a:p>
        </p:txBody>
      </p:sp>
      <p:sp>
        <p:nvSpPr>
          <p:cNvPr id="64" name="Content Placeholder 1">
            <a:extLst>
              <a:ext uri="{FF2B5EF4-FFF2-40B4-BE49-F238E27FC236}">
                <a16:creationId xmlns:a16="http://schemas.microsoft.com/office/drawing/2014/main" id="{19794A8F-A922-1A21-17E6-1B4B21C8F596}"/>
              </a:ext>
            </a:extLst>
          </p:cNvPr>
          <p:cNvSpPr txBox="1">
            <a:spLocks/>
          </p:cNvSpPr>
          <p:nvPr/>
        </p:nvSpPr>
        <p:spPr>
          <a:xfrm>
            <a:off x="441325" y="3448479"/>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3</a:t>
            </a:r>
          </a:p>
        </p:txBody>
      </p:sp>
      <p:sp>
        <p:nvSpPr>
          <p:cNvPr id="67" name="Content Placeholder 1">
            <a:extLst>
              <a:ext uri="{FF2B5EF4-FFF2-40B4-BE49-F238E27FC236}">
                <a16:creationId xmlns:a16="http://schemas.microsoft.com/office/drawing/2014/main" id="{173D6274-53F8-0DD4-4E9A-1018104D2DCB}"/>
              </a:ext>
            </a:extLst>
          </p:cNvPr>
          <p:cNvSpPr txBox="1">
            <a:spLocks/>
          </p:cNvSpPr>
          <p:nvPr/>
        </p:nvSpPr>
        <p:spPr>
          <a:xfrm>
            <a:off x="441325" y="3906823"/>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4</a:t>
            </a:r>
          </a:p>
        </p:txBody>
      </p:sp>
      <p:sp>
        <p:nvSpPr>
          <p:cNvPr id="70" name="Content Placeholder 1">
            <a:extLst>
              <a:ext uri="{FF2B5EF4-FFF2-40B4-BE49-F238E27FC236}">
                <a16:creationId xmlns:a16="http://schemas.microsoft.com/office/drawing/2014/main" id="{8E071A3F-2B5A-7CD2-907D-0A46168AC360}"/>
              </a:ext>
            </a:extLst>
          </p:cNvPr>
          <p:cNvSpPr txBox="1">
            <a:spLocks/>
          </p:cNvSpPr>
          <p:nvPr/>
        </p:nvSpPr>
        <p:spPr>
          <a:xfrm>
            <a:off x="441325" y="4365167"/>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5</a:t>
            </a:r>
          </a:p>
        </p:txBody>
      </p:sp>
      <p:sp>
        <p:nvSpPr>
          <p:cNvPr id="73" name="Content Placeholder 1">
            <a:extLst>
              <a:ext uri="{FF2B5EF4-FFF2-40B4-BE49-F238E27FC236}">
                <a16:creationId xmlns:a16="http://schemas.microsoft.com/office/drawing/2014/main" id="{F861E25B-F987-831A-A602-44A1BC3C9C06}"/>
              </a:ext>
            </a:extLst>
          </p:cNvPr>
          <p:cNvSpPr txBox="1">
            <a:spLocks/>
          </p:cNvSpPr>
          <p:nvPr/>
        </p:nvSpPr>
        <p:spPr>
          <a:xfrm>
            <a:off x="441325" y="4823511"/>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6</a:t>
            </a:r>
          </a:p>
        </p:txBody>
      </p:sp>
      <p:sp>
        <p:nvSpPr>
          <p:cNvPr id="76" name="Content Placeholder 1">
            <a:extLst>
              <a:ext uri="{FF2B5EF4-FFF2-40B4-BE49-F238E27FC236}">
                <a16:creationId xmlns:a16="http://schemas.microsoft.com/office/drawing/2014/main" id="{48C1CD32-80B1-493D-9426-7B73B4755484}"/>
              </a:ext>
            </a:extLst>
          </p:cNvPr>
          <p:cNvSpPr txBox="1">
            <a:spLocks/>
          </p:cNvSpPr>
          <p:nvPr/>
        </p:nvSpPr>
        <p:spPr>
          <a:xfrm>
            <a:off x="441325" y="5281855"/>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7</a:t>
            </a:r>
          </a:p>
        </p:txBody>
      </p:sp>
      <p:sp>
        <p:nvSpPr>
          <p:cNvPr id="79" name="Content Placeholder 1">
            <a:extLst>
              <a:ext uri="{FF2B5EF4-FFF2-40B4-BE49-F238E27FC236}">
                <a16:creationId xmlns:a16="http://schemas.microsoft.com/office/drawing/2014/main" id="{84ACD26B-9585-F3C8-8179-0329BA741C8A}"/>
              </a:ext>
            </a:extLst>
          </p:cNvPr>
          <p:cNvSpPr txBox="1">
            <a:spLocks/>
          </p:cNvSpPr>
          <p:nvPr/>
        </p:nvSpPr>
        <p:spPr>
          <a:xfrm>
            <a:off x="441325" y="5740201"/>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8</a:t>
            </a:r>
          </a:p>
        </p:txBody>
      </p:sp>
      <p:sp>
        <p:nvSpPr>
          <p:cNvPr id="100" name="TextBox 99">
            <a:extLst>
              <a:ext uri="{FF2B5EF4-FFF2-40B4-BE49-F238E27FC236}">
                <a16:creationId xmlns:a16="http://schemas.microsoft.com/office/drawing/2014/main" id="{6196419E-02BA-D21D-1546-F1EC7C2A2D38}"/>
              </a:ext>
            </a:extLst>
          </p:cNvPr>
          <p:cNvSpPr txBox="1"/>
          <p:nvPr/>
        </p:nvSpPr>
        <p:spPr>
          <a:xfrm>
            <a:off x="1297953" y="2990135"/>
            <a:ext cx="5879131" cy="432000"/>
          </a:xfrm>
          <a:prstGeom prst="rect">
            <a:avLst/>
          </a:prstGeom>
          <a:noFill/>
        </p:spPr>
        <p:txBody>
          <a:bodyPr wrap="square" anchor="ctr">
            <a:noAutofit/>
          </a:bodyPr>
          <a:lstStyle/>
          <a:p>
            <a:pPr>
              <a:spcAft>
                <a:spcPts val="0"/>
              </a:spcAft>
            </a:pPr>
            <a:r>
              <a:rPr lang="lv-LV" sz="1400">
                <a:solidFill>
                  <a:schemeClr val="tx1"/>
                </a:solidFill>
              </a:rPr>
              <a:t>Atbrīvojiet asiņojošo vietu no apģērba.</a:t>
            </a:r>
          </a:p>
        </p:txBody>
      </p:sp>
      <p:sp>
        <p:nvSpPr>
          <p:cNvPr id="101" name="TextBox 100">
            <a:extLst>
              <a:ext uri="{FF2B5EF4-FFF2-40B4-BE49-F238E27FC236}">
                <a16:creationId xmlns:a16="http://schemas.microsoft.com/office/drawing/2014/main" id="{9ECA4B5E-E4A7-485E-4742-A7A24FB938CD}"/>
              </a:ext>
            </a:extLst>
          </p:cNvPr>
          <p:cNvSpPr txBox="1"/>
          <p:nvPr/>
        </p:nvSpPr>
        <p:spPr>
          <a:xfrm>
            <a:off x="1297953" y="3906823"/>
            <a:ext cx="5879131" cy="432000"/>
          </a:xfrm>
          <a:prstGeom prst="rect">
            <a:avLst/>
          </a:prstGeom>
          <a:noFill/>
        </p:spPr>
        <p:txBody>
          <a:bodyPr wrap="square" anchor="ctr">
            <a:noAutofit/>
          </a:bodyPr>
          <a:lstStyle/>
          <a:p>
            <a:pPr>
              <a:spcAft>
                <a:spcPts val="0"/>
              </a:spcAft>
            </a:pPr>
            <a:r>
              <a:rPr lang="lv-LV" sz="1400">
                <a:solidFill>
                  <a:schemeClr val="tx1"/>
                </a:solidFill>
              </a:rPr>
              <a:t>Noguldiet cietušo guļus ar asiņojošo vietu uz augšu.</a:t>
            </a:r>
          </a:p>
        </p:txBody>
      </p:sp>
      <p:sp>
        <p:nvSpPr>
          <p:cNvPr id="102" name="TextBox 101">
            <a:extLst>
              <a:ext uri="{FF2B5EF4-FFF2-40B4-BE49-F238E27FC236}">
                <a16:creationId xmlns:a16="http://schemas.microsoft.com/office/drawing/2014/main" id="{6C2839D0-72C0-7347-1A1F-A4C976165D3B}"/>
              </a:ext>
            </a:extLst>
          </p:cNvPr>
          <p:cNvSpPr txBox="1"/>
          <p:nvPr/>
        </p:nvSpPr>
        <p:spPr>
          <a:xfrm>
            <a:off x="1297953" y="4365167"/>
            <a:ext cx="5879131" cy="432000"/>
          </a:xfrm>
          <a:prstGeom prst="rect">
            <a:avLst/>
          </a:prstGeom>
          <a:noFill/>
        </p:spPr>
        <p:txBody>
          <a:bodyPr wrap="square" anchor="ctr">
            <a:noAutofit/>
          </a:bodyPr>
          <a:lstStyle/>
          <a:p>
            <a:pPr>
              <a:spcAft>
                <a:spcPts val="0"/>
              </a:spcAft>
            </a:pPr>
            <a:r>
              <a:rPr lang="lv-LV" sz="1400">
                <a:solidFill>
                  <a:schemeClr val="tx1"/>
                </a:solidFill>
              </a:rPr>
              <a:t>Izsauciet Neatliekamo palīdzību.</a:t>
            </a:r>
          </a:p>
        </p:txBody>
      </p:sp>
      <p:sp>
        <p:nvSpPr>
          <p:cNvPr id="103" name="TextBox 102">
            <a:extLst>
              <a:ext uri="{FF2B5EF4-FFF2-40B4-BE49-F238E27FC236}">
                <a16:creationId xmlns:a16="http://schemas.microsoft.com/office/drawing/2014/main" id="{20162A1E-1272-A65F-9743-08A1C56CDD8F}"/>
              </a:ext>
            </a:extLst>
          </p:cNvPr>
          <p:cNvSpPr txBox="1"/>
          <p:nvPr/>
        </p:nvSpPr>
        <p:spPr>
          <a:xfrm>
            <a:off x="1297953" y="5281855"/>
            <a:ext cx="5879131" cy="432000"/>
          </a:xfrm>
          <a:prstGeom prst="rect">
            <a:avLst/>
          </a:prstGeom>
          <a:noFill/>
        </p:spPr>
        <p:txBody>
          <a:bodyPr wrap="square" anchor="ctr">
            <a:noAutofit/>
          </a:bodyPr>
          <a:lstStyle/>
          <a:p>
            <a:pPr>
              <a:spcAft>
                <a:spcPts val="0"/>
              </a:spcAft>
            </a:pPr>
            <a:r>
              <a:rPr lang="lv-LV" sz="1400">
                <a:solidFill>
                  <a:schemeClr val="tx1"/>
                </a:solidFill>
              </a:rPr>
              <a:t>Aprūpējiet, nomieriniet cietušo.</a:t>
            </a:r>
          </a:p>
        </p:txBody>
      </p:sp>
      <p:sp>
        <p:nvSpPr>
          <p:cNvPr id="104" name="TextBox 103">
            <a:extLst>
              <a:ext uri="{FF2B5EF4-FFF2-40B4-BE49-F238E27FC236}">
                <a16:creationId xmlns:a16="http://schemas.microsoft.com/office/drawing/2014/main" id="{C489AEBB-7FB2-EC1A-2DC3-18B08D331418}"/>
              </a:ext>
            </a:extLst>
          </p:cNvPr>
          <p:cNvSpPr txBox="1"/>
          <p:nvPr/>
        </p:nvSpPr>
        <p:spPr>
          <a:xfrm>
            <a:off x="1297953" y="5740201"/>
            <a:ext cx="5879131" cy="432000"/>
          </a:xfrm>
          <a:prstGeom prst="rect">
            <a:avLst/>
          </a:prstGeom>
          <a:noFill/>
        </p:spPr>
        <p:txBody>
          <a:bodyPr wrap="square" anchor="ctr">
            <a:noAutofit/>
          </a:bodyPr>
          <a:lstStyle/>
          <a:p>
            <a:pPr>
              <a:spcAft>
                <a:spcPts val="0"/>
              </a:spcAft>
            </a:pPr>
            <a:r>
              <a:rPr lang="lv-LV" sz="1400">
                <a:solidFill>
                  <a:schemeClr val="tx1"/>
                </a:solidFill>
              </a:rPr>
              <a:t>Veiciet atdzīvināšanas pasākumus, ja nepieciešams.</a:t>
            </a:r>
          </a:p>
        </p:txBody>
      </p:sp>
      <p:sp>
        <p:nvSpPr>
          <p:cNvPr id="107" name="TextBox 106">
            <a:extLst>
              <a:ext uri="{FF2B5EF4-FFF2-40B4-BE49-F238E27FC236}">
                <a16:creationId xmlns:a16="http://schemas.microsoft.com/office/drawing/2014/main" id="{5E4C4BD5-129E-6AAF-672B-2CE5A9EA1809}"/>
              </a:ext>
            </a:extLst>
          </p:cNvPr>
          <p:cNvSpPr txBox="1"/>
          <p:nvPr/>
        </p:nvSpPr>
        <p:spPr>
          <a:xfrm>
            <a:off x="1297953" y="3448479"/>
            <a:ext cx="5879131" cy="432000"/>
          </a:xfrm>
          <a:prstGeom prst="rect">
            <a:avLst/>
          </a:prstGeom>
          <a:noFill/>
        </p:spPr>
        <p:txBody>
          <a:bodyPr wrap="square" anchor="ctr">
            <a:noAutofit/>
          </a:bodyPr>
          <a:lstStyle/>
          <a:p>
            <a:pPr>
              <a:spcAft>
                <a:spcPts val="0"/>
              </a:spcAft>
            </a:pPr>
            <a:r>
              <a:rPr lang="lv-LV" sz="1400">
                <a:solidFill>
                  <a:schemeClr val="tx1"/>
                </a:solidFill>
              </a:rPr>
              <a:t>Aizspiediet brūci.</a:t>
            </a:r>
          </a:p>
        </p:txBody>
      </p:sp>
      <p:sp>
        <p:nvSpPr>
          <p:cNvPr id="108" name="TextBox 107">
            <a:extLst>
              <a:ext uri="{FF2B5EF4-FFF2-40B4-BE49-F238E27FC236}">
                <a16:creationId xmlns:a16="http://schemas.microsoft.com/office/drawing/2014/main" id="{374ED229-16EB-16FE-4EEB-6C75D32758A7}"/>
              </a:ext>
            </a:extLst>
          </p:cNvPr>
          <p:cNvSpPr txBox="1"/>
          <p:nvPr/>
        </p:nvSpPr>
        <p:spPr>
          <a:xfrm>
            <a:off x="1297953" y="4823511"/>
            <a:ext cx="5879131" cy="432000"/>
          </a:xfrm>
          <a:prstGeom prst="rect">
            <a:avLst/>
          </a:prstGeom>
          <a:noFill/>
        </p:spPr>
        <p:txBody>
          <a:bodyPr wrap="square" anchor="ctr">
            <a:noAutofit/>
          </a:bodyPr>
          <a:lstStyle/>
          <a:p>
            <a:pPr>
              <a:spcAft>
                <a:spcPts val="0"/>
              </a:spcAft>
            </a:pPr>
            <a:r>
              <a:rPr lang="lv-LV" sz="1400">
                <a:solidFill>
                  <a:schemeClr val="tx1"/>
                </a:solidFill>
              </a:rPr>
              <a:t>Turiet brūci aizspiestu līdz Neatliekamās palīdzības atbraukšanai.</a:t>
            </a:r>
          </a:p>
        </p:txBody>
      </p:sp>
      <p:cxnSp>
        <p:nvCxnSpPr>
          <p:cNvPr id="6" name="Straight Connector 5">
            <a:extLst>
              <a:ext uri="{FF2B5EF4-FFF2-40B4-BE49-F238E27FC236}">
                <a16:creationId xmlns:a16="http://schemas.microsoft.com/office/drawing/2014/main" id="{B3733624-6466-BD41-3C49-71F64E87C523}"/>
              </a:ext>
            </a:extLst>
          </p:cNvPr>
          <p:cNvCxnSpPr>
            <a:cxnSpLocks/>
          </p:cNvCxnSpPr>
          <p:nvPr/>
        </p:nvCxnSpPr>
        <p:spPr>
          <a:xfrm>
            <a:off x="1297953" y="2975772"/>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7" name="Straight Connector 6">
            <a:extLst>
              <a:ext uri="{FF2B5EF4-FFF2-40B4-BE49-F238E27FC236}">
                <a16:creationId xmlns:a16="http://schemas.microsoft.com/office/drawing/2014/main" id="{5A2159BA-60F1-B7B5-DA22-2E5D2C4A8574}"/>
              </a:ext>
            </a:extLst>
          </p:cNvPr>
          <p:cNvCxnSpPr>
            <a:cxnSpLocks/>
          </p:cNvCxnSpPr>
          <p:nvPr/>
        </p:nvCxnSpPr>
        <p:spPr>
          <a:xfrm>
            <a:off x="1297953" y="3434116"/>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9" name="Straight Connector 8">
            <a:extLst>
              <a:ext uri="{FF2B5EF4-FFF2-40B4-BE49-F238E27FC236}">
                <a16:creationId xmlns:a16="http://schemas.microsoft.com/office/drawing/2014/main" id="{CBCFB46D-F848-5D86-81ED-08C2DDBD6018}"/>
              </a:ext>
            </a:extLst>
          </p:cNvPr>
          <p:cNvCxnSpPr>
            <a:cxnSpLocks/>
          </p:cNvCxnSpPr>
          <p:nvPr/>
        </p:nvCxnSpPr>
        <p:spPr>
          <a:xfrm>
            <a:off x="1297953" y="3892460"/>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11" name="Straight Connector 10">
            <a:extLst>
              <a:ext uri="{FF2B5EF4-FFF2-40B4-BE49-F238E27FC236}">
                <a16:creationId xmlns:a16="http://schemas.microsoft.com/office/drawing/2014/main" id="{A04A74A1-0026-74F8-2A50-1E9075544CF3}"/>
              </a:ext>
            </a:extLst>
          </p:cNvPr>
          <p:cNvCxnSpPr>
            <a:cxnSpLocks/>
          </p:cNvCxnSpPr>
          <p:nvPr/>
        </p:nvCxnSpPr>
        <p:spPr>
          <a:xfrm>
            <a:off x="1297953" y="4350804"/>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13" name="Straight Connector 12">
            <a:extLst>
              <a:ext uri="{FF2B5EF4-FFF2-40B4-BE49-F238E27FC236}">
                <a16:creationId xmlns:a16="http://schemas.microsoft.com/office/drawing/2014/main" id="{CB152EF5-0E28-D564-BA70-371799026C17}"/>
              </a:ext>
            </a:extLst>
          </p:cNvPr>
          <p:cNvCxnSpPr>
            <a:cxnSpLocks/>
          </p:cNvCxnSpPr>
          <p:nvPr/>
        </p:nvCxnSpPr>
        <p:spPr>
          <a:xfrm>
            <a:off x="1297953" y="4809148"/>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14" name="Straight Connector 13">
            <a:extLst>
              <a:ext uri="{FF2B5EF4-FFF2-40B4-BE49-F238E27FC236}">
                <a16:creationId xmlns:a16="http://schemas.microsoft.com/office/drawing/2014/main" id="{FEF121C9-BA2C-579A-87E4-3935103FF4BC}"/>
              </a:ext>
            </a:extLst>
          </p:cNvPr>
          <p:cNvCxnSpPr>
            <a:cxnSpLocks/>
          </p:cNvCxnSpPr>
          <p:nvPr/>
        </p:nvCxnSpPr>
        <p:spPr>
          <a:xfrm>
            <a:off x="1297953" y="5267492"/>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15" name="Straight Connector 14">
            <a:extLst>
              <a:ext uri="{FF2B5EF4-FFF2-40B4-BE49-F238E27FC236}">
                <a16:creationId xmlns:a16="http://schemas.microsoft.com/office/drawing/2014/main" id="{3DE31210-26C3-2A63-15ED-FE32524A997D}"/>
              </a:ext>
            </a:extLst>
          </p:cNvPr>
          <p:cNvCxnSpPr>
            <a:cxnSpLocks/>
          </p:cNvCxnSpPr>
          <p:nvPr/>
        </p:nvCxnSpPr>
        <p:spPr>
          <a:xfrm>
            <a:off x="1297953" y="5725836"/>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46" name="Google Shape;760;p79">
            <a:extLst>
              <a:ext uri="{FF2B5EF4-FFF2-40B4-BE49-F238E27FC236}">
                <a16:creationId xmlns:a16="http://schemas.microsoft.com/office/drawing/2014/main" id="{09BF84D6-F468-7005-FAB5-AA0B6AE5CFB4}"/>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9" name="Google Shape;794;p79">
            <a:extLst>
              <a:ext uri="{FF2B5EF4-FFF2-40B4-BE49-F238E27FC236}">
                <a16:creationId xmlns:a16="http://schemas.microsoft.com/office/drawing/2014/main" id="{DED3BED4-139F-CB4F-0A7B-7B90211550F4}"/>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7" name="Content Placeholder 1">
            <a:extLst>
              <a:ext uri="{FF2B5EF4-FFF2-40B4-BE49-F238E27FC236}">
                <a16:creationId xmlns:a16="http://schemas.microsoft.com/office/drawing/2014/main" id="{53CB8D3C-9648-B17B-BD59-60EED0CCD133}"/>
              </a:ext>
            </a:extLst>
          </p:cNvPr>
          <p:cNvSpPr txBox="1">
            <a:spLocks/>
          </p:cNvSpPr>
          <p:nvPr/>
        </p:nvSpPr>
        <p:spPr>
          <a:xfrm>
            <a:off x="441325" y="2531791"/>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1</a:t>
            </a:r>
          </a:p>
        </p:txBody>
      </p:sp>
      <p:cxnSp>
        <p:nvCxnSpPr>
          <p:cNvPr id="20" name="Straight Connector 19">
            <a:extLst>
              <a:ext uri="{FF2B5EF4-FFF2-40B4-BE49-F238E27FC236}">
                <a16:creationId xmlns:a16="http://schemas.microsoft.com/office/drawing/2014/main" id="{2864A4FB-5A6B-6282-1ED3-79348932303D}"/>
              </a:ext>
            </a:extLst>
          </p:cNvPr>
          <p:cNvCxnSpPr>
            <a:cxnSpLocks/>
            <a:stCxn id="23" idx="4"/>
            <a:endCxn id="48" idx="3"/>
          </p:cNvCxnSpPr>
          <p:nvPr/>
        </p:nvCxnSpPr>
        <p:spPr>
          <a:xfrm>
            <a:off x="864002" y="2820181"/>
            <a:ext cx="0" cy="3176759"/>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23" name="Oval 22">
            <a:extLst>
              <a:ext uri="{FF2B5EF4-FFF2-40B4-BE49-F238E27FC236}">
                <a16:creationId xmlns:a16="http://schemas.microsoft.com/office/drawing/2014/main" id="{AF01EC8D-5F48-32D6-594A-E45D62E76E38}"/>
              </a:ext>
            </a:extLst>
          </p:cNvPr>
          <p:cNvSpPr/>
          <p:nvPr/>
        </p:nvSpPr>
        <p:spPr>
          <a:xfrm>
            <a:off x="791612" y="2675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36" name="Isosceles Triangle 35">
            <a:extLst>
              <a:ext uri="{FF2B5EF4-FFF2-40B4-BE49-F238E27FC236}">
                <a16:creationId xmlns:a16="http://schemas.microsoft.com/office/drawing/2014/main" id="{B685A229-84EC-B93B-3F43-6BFE2BE1F4CA}"/>
              </a:ext>
            </a:extLst>
          </p:cNvPr>
          <p:cNvSpPr/>
          <p:nvPr/>
        </p:nvSpPr>
        <p:spPr>
          <a:xfrm flipV="1">
            <a:off x="690171" y="3879781"/>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37" name="Isosceles Triangle 36">
            <a:extLst>
              <a:ext uri="{FF2B5EF4-FFF2-40B4-BE49-F238E27FC236}">
                <a16:creationId xmlns:a16="http://schemas.microsoft.com/office/drawing/2014/main" id="{9D96FB8A-4DBF-49F0-A6C2-FDA1251682FE}"/>
              </a:ext>
            </a:extLst>
          </p:cNvPr>
          <p:cNvSpPr/>
          <p:nvPr/>
        </p:nvSpPr>
        <p:spPr>
          <a:xfrm flipV="1">
            <a:off x="690171" y="4338027"/>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39" name="Isosceles Triangle 38">
            <a:extLst>
              <a:ext uri="{FF2B5EF4-FFF2-40B4-BE49-F238E27FC236}">
                <a16:creationId xmlns:a16="http://schemas.microsoft.com/office/drawing/2014/main" id="{E8BDE45B-79CA-CD3A-5214-E24D77B8609C}"/>
              </a:ext>
            </a:extLst>
          </p:cNvPr>
          <p:cNvSpPr/>
          <p:nvPr/>
        </p:nvSpPr>
        <p:spPr>
          <a:xfrm flipV="1">
            <a:off x="690171" y="479627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40" name="Isosceles Triangle 39">
            <a:extLst>
              <a:ext uri="{FF2B5EF4-FFF2-40B4-BE49-F238E27FC236}">
                <a16:creationId xmlns:a16="http://schemas.microsoft.com/office/drawing/2014/main" id="{D996275D-295E-F1D0-D67A-44A0A69B4C01}"/>
              </a:ext>
            </a:extLst>
          </p:cNvPr>
          <p:cNvSpPr/>
          <p:nvPr/>
        </p:nvSpPr>
        <p:spPr>
          <a:xfrm flipV="1">
            <a:off x="690171" y="5254519"/>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43" name="Isosceles Triangle 42">
            <a:extLst>
              <a:ext uri="{FF2B5EF4-FFF2-40B4-BE49-F238E27FC236}">
                <a16:creationId xmlns:a16="http://schemas.microsoft.com/office/drawing/2014/main" id="{45949670-5BCB-C59B-3D24-28AC2A6F87F3}"/>
              </a:ext>
            </a:extLst>
          </p:cNvPr>
          <p:cNvSpPr/>
          <p:nvPr/>
        </p:nvSpPr>
        <p:spPr>
          <a:xfrm flipV="1">
            <a:off x="690171" y="571276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48" name="Isosceles Triangle 47">
            <a:extLst>
              <a:ext uri="{FF2B5EF4-FFF2-40B4-BE49-F238E27FC236}">
                <a16:creationId xmlns:a16="http://schemas.microsoft.com/office/drawing/2014/main" id="{9DA2A02A-BBDF-DCC7-18AC-878856D7A5B2}"/>
              </a:ext>
            </a:extLst>
          </p:cNvPr>
          <p:cNvSpPr/>
          <p:nvPr/>
        </p:nvSpPr>
        <p:spPr>
          <a:xfrm flipV="1">
            <a:off x="809233" y="5996940"/>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2" name="Isosceles Triangle 1">
            <a:extLst>
              <a:ext uri="{FF2B5EF4-FFF2-40B4-BE49-F238E27FC236}">
                <a16:creationId xmlns:a16="http://schemas.microsoft.com/office/drawing/2014/main" id="{6CA1ECBA-9098-2617-476E-BB53C42ACEE3}"/>
              </a:ext>
            </a:extLst>
          </p:cNvPr>
          <p:cNvSpPr/>
          <p:nvPr/>
        </p:nvSpPr>
        <p:spPr>
          <a:xfrm flipV="1">
            <a:off x="690171" y="296328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17" name="Isosceles Triangle 16">
            <a:extLst>
              <a:ext uri="{FF2B5EF4-FFF2-40B4-BE49-F238E27FC236}">
                <a16:creationId xmlns:a16="http://schemas.microsoft.com/office/drawing/2014/main" id="{1B3B2816-7084-FA8B-9573-B5304273EF81}"/>
              </a:ext>
            </a:extLst>
          </p:cNvPr>
          <p:cNvSpPr/>
          <p:nvPr/>
        </p:nvSpPr>
        <p:spPr>
          <a:xfrm flipV="1">
            <a:off x="690171" y="3421535"/>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0" name="Rectangle 49">
            <a:extLst>
              <a:ext uri="{FF2B5EF4-FFF2-40B4-BE49-F238E27FC236}">
                <a16:creationId xmlns:a16="http://schemas.microsoft.com/office/drawing/2014/main" id="{0130363F-7CE7-F3D0-4AB5-F295FAC2DCBC}"/>
              </a:ext>
            </a:extLst>
          </p:cNvPr>
          <p:cNvSpPr/>
          <p:nvPr/>
        </p:nvSpPr>
        <p:spPr>
          <a:xfrm>
            <a:off x="442913" y="963958"/>
            <a:ext cx="4470731" cy="628650"/>
          </a:xfrm>
          <a:prstGeom prst="rect">
            <a:avLst/>
          </a:prstGeom>
          <a:solidFill>
            <a:schemeClr val="bg1"/>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1" name="Rectangle 50">
            <a:extLst>
              <a:ext uri="{FF2B5EF4-FFF2-40B4-BE49-F238E27FC236}">
                <a16:creationId xmlns:a16="http://schemas.microsoft.com/office/drawing/2014/main" id="{AFEB1935-0849-FFDB-14A2-768E555E2F79}"/>
              </a:ext>
            </a:extLst>
          </p:cNvPr>
          <p:cNvSpPr/>
          <p:nvPr/>
        </p:nvSpPr>
        <p:spPr>
          <a:xfrm>
            <a:off x="1454989" y="1062283"/>
            <a:ext cx="3405187"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r>
              <a:rPr lang="lv-LV" sz="1600" b="1">
                <a:solidFill>
                  <a:schemeClr val="tx1"/>
                </a:solidFill>
              </a:rPr>
              <a:t>Kā izskatās stipra asiņošana?</a:t>
            </a:r>
            <a:endParaRPr lang="en-GB" sz="1600" b="1">
              <a:solidFill>
                <a:schemeClr val="tx1"/>
              </a:solidFill>
            </a:endParaRPr>
          </a:p>
        </p:txBody>
      </p:sp>
      <p:cxnSp>
        <p:nvCxnSpPr>
          <p:cNvPr id="53" name="Straight Connector 52">
            <a:extLst>
              <a:ext uri="{FF2B5EF4-FFF2-40B4-BE49-F238E27FC236}">
                <a16:creationId xmlns:a16="http://schemas.microsoft.com/office/drawing/2014/main" id="{F358E754-064A-5B8C-B2FC-4E612BA07893}"/>
              </a:ext>
            </a:extLst>
          </p:cNvPr>
          <p:cNvCxnSpPr>
            <a:cxnSpLocks/>
          </p:cNvCxnSpPr>
          <p:nvPr/>
        </p:nvCxnSpPr>
        <p:spPr>
          <a:xfrm>
            <a:off x="1233531" y="1053947"/>
            <a:ext cx="0" cy="448673"/>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5" name="Google Shape;764;p79">
            <a:extLst>
              <a:ext uri="{FF2B5EF4-FFF2-40B4-BE49-F238E27FC236}">
                <a16:creationId xmlns:a16="http://schemas.microsoft.com/office/drawing/2014/main" id="{24043397-1676-6167-2BCF-94B9BF536C60}"/>
              </a:ext>
            </a:extLst>
          </p:cNvPr>
          <p:cNvSpPr/>
          <p:nvPr/>
        </p:nvSpPr>
        <p:spPr>
          <a:xfrm>
            <a:off x="578685" y="1062283"/>
            <a:ext cx="433388" cy="4318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78" y="228"/>
                </a:moveTo>
                <a:cubicBezTo>
                  <a:pt x="178" y="210"/>
                  <a:pt x="180" y="194"/>
                  <a:pt x="186" y="180"/>
                </a:cubicBezTo>
                <a:cubicBezTo>
                  <a:pt x="191" y="165"/>
                  <a:pt x="199" y="153"/>
                  <a:pt x="209" y="143"/>
                </a:cubicBezTo>
                <a:cubicBezTo>
                  <a:pt x="219" y="132"/>
                  <a:pt x="231" y="124"/>
                  <a:pt x="246" y="119"/>
                </a:cubicBezTo>
                <a:cubicBezTo>
                  <a:pt x="260" y="113"/>
                  <a:pt x="276" y="110"/>
                  <a:pt x="294" y="110"/>
                </a:cubicBezTo>
                <a:cubicBezTo>
                  <a:pt x="309" y="110"/>
                  <a:pt x="322" y="112"/>
                  <a:pt x="335" y="117"/>
                </a:cubicBezTo>
                <a:cubicBezTo>
                  <a:pt x="348" y="121"/>
                  <a:pt x="359" y="127"/>
                  <a:pt x="369" y="136"/>
                </a:cubicBezTo>
                <a:cubicBezTo>
                  <a:pt x="378" y="144"/>
                  <a:pt x="386" y="154"/>
                  <a:pt x="391" y="166"/>
                </a:cubicBezTo>
                <a:cubicBezTo>
                  <a:pt x="397" y="179"/>
                  <a:pt x="399" y="192"/>
                  <a:pt x="399" y="208"/>
                </a:cubicBezTo>
                <a:cubicBezTo>
                  <a:pt x="399" y="219"/>
                  <a:pt x="398" y="229"/>
                  <a:pt x="396" y="237"/>
                </a:cubicBezTo>
                <a:cubicBezTo>
                  <a:pt x="393" y="245"/>
                  <a:pt x="390" y="253"/>
                  <a:pt x="386" y="258"/>
                </a:cubicBezTo>
                <a:cubicBezTo>
                  <a:pt x="382" y="264"/>
                  <a:pt x="377" y="270"/>
                  <a:pt x="372" y="274"/>
                </a:cubicBezTo>
                <a:cubicBezTo>
                  <a:pt x="367" y="279"/>
                  <a:pt x="362" y="284"/>
                  <a:pt x="357" y="288"/>
                </a:cubicBezTo>
                <a:cubicBezTo>
                  <a:pt x="351" y="293"/>
                  <a:pt x="345" y="298"/>
                  <a:pt x="340" y="303"/>
                </a:cubicBezTo>
                <a:cubicBezTo>
                  <a:pt x="335" y="308"/>
                  <a:pt x="330" y="313"/>
                  <a:pt x="326" y="319"/>
                </a:cubicBezTo>
                <a:cubicBezTo>
                  <a:pt x="322" y="325"/>
                  <a:pt x="319" y="332"/>
                  <a:pt x="317" y="341"/>
                </a:cubicBezTo>
                <a:cubicBezTo>
                  <a:pt x="315" y="349"/>
                  <a:pt x="314" y="358"/>
                  <a:pt x="314" y="370"/>
                </a:cubicBezTo>
                <a:cubicBezTo>
                  <a:pt x="262" y="370"/>
                  <a:pt x="262" y="370"/>
                  <a:pt x="262" y="370"/>
                </a:cubicBezTo>
                <a:cubicBezTo>
                  <a:pt x="262" y="356"/>
                  <a:pt x="263" y="344"/>
                  <a:pt x="264" y="334"/>
                </a:cubicBezTo>
                <a:cubicBezTo>
                  <a:pt x="266" y="324"/>
                  <a:pt x="268" y="316"/>
                  <a:pt x="271" y="308"/>
                </a:cubicBezTo>
                <a:cubicBezTo>
                  <a:pt x="274" y="301"/>
                  <a:pt x="278" y="294"/>
                  <a:pt x="283" y="288"/>
                </a:cubicBezTo>
                <a:cubicBezTo>
                  <a:pt x="288" y="283"/>
                  <a:pt x="293" y="277"/>
                  <a:pt x="300" y="272"/>
                </a:cubicBezTo>
                <a:cubicBezTo>
                  <a:pt x="305" y="267"/>
                  <a:pt x="310" y="263"/>
                  <a:pt x="314" y="259"/>
                </a:cubicBezTo>
                <a:cubicBezTo>
                  <a:pt x="319" y="255"/>
                  <a:pt x="323" y="251"/>
                  <a:pt x="327" y="246"/>
                </a:cubicBezTo>
                <a:cubicBezTo>
                  <a:pt x="331" y="242"/>
                  <a:pt x="334" y="236"/>
                  <a:pt x="336" y="231"/>
                </a:cubicBezTo>
                <a:cubicBezTo>
                  <a:pt x="338" y="225"/>
                  <a:pt x="339" y="218"/>
                  <a:pt x="339" y="210"/>
                </a:cubicBezTo>
                <a:cubicBezTo>
                  <a:pt x="339" y="200"/>
                  <a:pt x="337" y="192"/>
                  <a:pt x="334" y="185"/>
                </a:cubicBezTo>
                <a:cubicBezTo>
                  <a:pt x="330" y="178"/>
                  <a:pt x="326" y="172"/>
                  <a:pt x="321" y="168"/>
                </a:cubicBezTo>
                <a:cubicBezTo>
                  <a:pt x="317" y="164"/>
                  <a:pt x="311" y="161"/>
                  <a:pt x="306" y="159"/>
                </a:cubicBezTo>
                <a:cubicBezTo>
                  <a:pt x="300" y="157"/>
                  <a:pt x="296" y="156"/>
                  <a:pt x="291" y="156"/>
                </a:cubicBezTo>
                <a:cubicBezTo>
                  <a:pt x="271" y="156"/>
                  <a:pt x="257" y="163"/>
                  <a:pt x="247" y="176"/>
                </a:cubicBezTo>
                <a:cubicBezTo>
                  <a:pt x="238" y="189"/>
                  <a:pt x="233" y="206"/>
                  <a:pt x="233" y="228"/>
                </a:cubicBezTo>
                <a:lnTo>
                  <a:pt x="178" y="228"/>
                </a:lnTo>
                <a:close/>
                <a:moveTo>
                  <a:pt x="255" y="403"/>
                </a:moveTo>
                <a:cubicBezTo>
                  <a:pt x="319" y="403"/>
                  <a:pt x="319" y="403"/>
                  <a:pt x="319" y="403"/>
                </a:cubicBezTo>
                <a:cubicBezTo>
                  <a:pt x="319" y="464"/>
                  <a:pt x="319" y="464"/>
                  <a:pt x="319" y="464"/>
                </a:cubicBezTo>
                <a:cubicBezTo>
                  <a:pt x="255" y="464"/>
                  <a:pt x="255" y="464"/>
                  <a:pt x="255" y="464"/>
                </a:cubicBezTo>
                <a:lnTo>
                  <a:pt x="255" y="403"/>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8" name="Rectangle 7">
            <a:extLst>
              <a:ext uri="{FF2B5EF4-FFF2-40B4-BE49-F238E27FC236}">
                <a16:creationId xmlns:a16="http://schemas.microsoft.com/office/drawing/2014/main" id="{3E1B33AD-40C6-3992-E0C2-7519E160295A}"/>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52" name="Group 51">
            <a:extLst>
              <a:ext uri="{FF2B5EF4-FFF2-40B4-BE49-F238E27FC236}">
                <a16:creationId xmlns:a16="http://schemas.microsoft.com/office/drawing/2014/main" id="{D7FCDA61-A0A7-F257-94EF-D3466B884D7B}"/>
              </a:ext>
            </a:extLst>
          </p:cNvPr>
          <p:cNvGrpSpPr/>
          <p:nvPr/>
        </p:nvGrpSpPr>
        <p:grpSpPr>
          <a:xfrm>
            <a:off x="9842140" y="372216"/>
            <a:ext cx="1667215" cy="217488"/>
            <a:chOff x="9842140" y="372216"/>
            <a:chExt cx="1667215" cy="217488"/>
          </a:xfrm>
        </p:grpSpPr>
        <p:sp>
          <p:nvSpPr>
            <p:cNvPr id="57" name="TextBox 56">
              <a:extLst>
                <a:ext uri="{FF2B5EF4-FFF2-40B4-BE49-F238E27FC236}">
                  <a16:creationId xmlns:a16="http://schemas.microsoft.com/office/drawing/2014/main" id="{E0007A68-F3EF-5218-37FA-972FF8C8BB56}"/>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Stipra asiņošana</a:t>
              </a:r>
            </a:p>
          </p:txBody>
        </p:sp>
        <p:sp>
          <p:nvSpPr>
            <p:cNvPr id="38" name="Freeform 49">
              <a:extLst>
                <a:ext uri="{FF2B5EF4-FFF2-40B4-BE49-F238E27FC236}">
                  <a16:creationId xmlns:a16="http://schemas.microsoft.com/office/drawing/2014/main" id="{C72A1EE8-17BC-FE3C-D219-11BEE967A4BF}"/>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31" name="Group 30">
            <a:extLst>
              <a:ext uri="{FF2B5EF4-FFF2-40B4-BE49-F238E27FC236}">
                <a16:creationId xmlns:a16="http://schemas.microsoft.com/office/drawing/2014/main" id="{383F900E-4D4A-7C00-FF90-3ABB566ACC11}"/>
              </a:ext>
            </a:extLst>
          </p:cNvPr>
          <p:cNvGrpSpPr/>
          <p:nvPr/>
        </p:nvGrpSpPr>
        <p:grpSpPr>
          <a:xfrm>
            <a:off x="9122935" y="126781"/>
            <a:ext cx="2626153" cy="217488"/>
            <a:chOff x="9122935" y="126781"/>
            <a:chExt cx="2626153" cy="217488"/>
          </a:xfrm>
        </p:grpSpPr>
        <p:sp>
          <p:nvSpPr>
            <p:cNvPr id="32" name="Rectangle 31">
              <a:extLst>
                <a:ext uri="{FF2B5EF4-FFF2-40B4-BE49-F238E27FC236}">
                  <a16:creationId xmlns:a16="http://schemas.microsoft.com/office/drawing/2014/main" id="{9F3A2225-0E7F-BA60-975D-1ABE6FD6B0BC}"/>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33" name="Rectangle 32">
              <a:extLst>
                <a:ext uri="{FF2B5EF4-FFF2-40B4-BE49-F238E27FC236}">
                  <a16:creationId xmlns:a16="http://schemas.microsoft.com/office/drawing/2014/main" id="{DA0CB55B-FBB6-65D8-E66E-4BE74BE1C3B6}"/>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AAC30472-230D-6CB1-DB13-9A04D287058B}"/>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5" name="Rectangle 34">
              <a:extLst>
                <a:ext uri="{FF2B5EF4-FFF2-40B4-BE49-F238E27FC236}">
                  <a16:creationId xmlns:a16="http://schemas.microsoft.com/office/drawing/2014/main" id="{FA6775AC-41E6-90A1-7287-8DC337D54C9C}"/>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54" name="Rectangle 53">
              <a:extLst>
                <a:ext uri="{FF2B5EF4-FFF2-40B4-BE49-F238E27FC236}">
                  <a16:creationId xmlns:a16="http://schemas.microsoft.com/office/drawing/2014/main" id="{231A6CC3-1D35-0AC0-F766-8DCD389AA15C}"/>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55" name="Rectangle 54">
              <a:extLst>
                <a:ext uri="{FF2B5EF4-FFF2-40B4-BE49-F238E27FC236}">
                  <a16:creationId xmlns:a16="http://schemas.microsoft.com/office/drawing/2014/main" id="{9513FB66-655B-B37B-0E48-995781F71245}"/>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34315789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DFB9B2E-C1F9-21A3-00BA-9A57ED0111F8}"/>
              </a:ext>
            </a:extLst>
          </p:cNvPr>
          <p:cNvGraphicFramePr>
            <a:graphicFrameLocks noChangeAspect="1"/>
          </p:cNvGraphicFramePr>
          <p:nvPr>
            <p:custDataLst>
              <p:tags r:id="rId1"/>
            </p:custDataLst>
            <p:extLst>
              <p:ext uri="{D42A27DB-BD31-4B8C-83A1-F6EECF244321}">
                <p14:modId xmlns:p14="http://schemas.microsoft.com/office/powerpoint/2010/main" val="1575810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3" name="think-cell data - do not delete" hidden="1">
                        <a:extLst>
                          <a:ext uri="{FF2B5EF4-FFF2-40B4-BE49-F238E27FC236}">
                            <a16:creationId xmlns:a16="http://schemas.microsoft.com/office/drawing/2014/main" id="{8DFB9B2E-C1F9-21A3-00BA-9A57ED0111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FF8B7B11-6660-0BCC-2F16-419ADE3449D2}"/>
              </a:ext>
            </a:extLst>
          </p:cNvPr>
          <p:cNvPicPr>
            <a:picLocks noChangeAspect="1"/>
          </p:cNvPicPr>
          <p:nvPr/>
        </p:nvPicPr>
        <p:blipFill rotWithShape="1">
          <a:blip r:embed="rId5"/>
          <a:srcRect t="49307" b="27210"/>
          <a:stretch/>
        </p:blipFill>
        <p:spPr>
          <a:xfrm>
            <a:off x="442910" y="4402207"/>
            <a:ext cx="11306175" cy="1769992"/>
          </a:xfrm>
          <a:prstGeom prst="rect">
            <a:avLst/>
          </a:prstGeom>
        </p:spPr>
      </p:pic>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4" y="432001"/>
            <a:ext cx="5473700" cy="1387274"/>
          </a:xfrm>
        </p:spPr>
        <p:txBody>
          <a:bodyPr vert="horz">
            <a:normAutofit/>
          </a:bodyPr>
          <a:lstStyle/>
          <a:p>
            <a:r>
              <a:rPr lang="lv-LV"/>
              <a:t>Satura rādītājs</a:t>
            </a:r>
          </a:p>
        </p:txBody>
      </p:sp>
      <p:sp>
        <p:nvSpPr>
          <p:cNvPr id="6" name="TextBox 5">
            <a:extLst>
              <a:ext uri="{FF2B5EF4-FFF2-40B4-BE49-F238E27FC236}">
                <a16:creationId xmlns:a16="http://schemas.microsoft.com/office/drawing/2014/main" id="{2CB3F9F5-858C-1D21-4D13-EAEDABE2E74A}"/>
              </a:ext>
            </a:extLst>
          </p:cNvPr>
          <p:cNvSpPr txBox="1"/>
          <p:nvPr/>
        </p:nvSpPr>
        <p:spPr>
          <a:xfrm>
            <a:off x="442909" y="1819275"/>
            <a:ext cx="11306175"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600">
                <a:cs typeface="Arial"/>
              </a:rPr>
              <a:t>7.1. Ievads</a:t>
            </a:r>
            <a:endParaRPr lang="lv-LV"/>
          </a:p>
          <a:p>
            <a:pPr>
              <a:spcAft>
                <a:spcPts val="600"/>
              </a:spcAft>
            </a:pPr>
            <a:r>
              <a:rPr lang="lv-LV" sz="1600">
                <a:cs typeface="Arial"/>
              </a:rPr>
              <a:t>7.2. Rīcība negadījuma vietā</a:t>
            </a:r>
          </a:p>
          <a:p>
            <a:pPr>
              <a:spcAft>
                <a:spcPts val="600"/>
              </a:spcAft>
            </a:pPr>
            <a:r>
              <a:rPr lang="lv-LV" sz="1600">
                <a:cs typeface="Arial"/>
              </a:rPr>
              <a:t>7.3. Atdzīvināšanas pasākumi</a:t>
            </a:r>
          </a:p>
          <a:p>
            <a:pPr>
              <a:spcAft>
                <a:spcPts val="600"/>
              </a:spcAft>
            </a:pPr>
            <a:r>
              <a:rPr lang="lv-LV" sz="1600">
                <a:cs typeface="Arial"/>
              </a:rPr>
              <a:t>7.4. Pirmās palīdzības pasākumi</a:t>
            </a:r>
          </a:p>
          <a:p>
            <a:pPr>
              <a:spcAft>
                <a:spcPts val="600"/>
              </a:spcAft>
            </a:pPr>
            <a:r>
              <a:rPr lang="lv-LV" sz="1600">
                <a:cs typeface="Arial"/>
              </a:rPr>
              <a:t>7.5. Aptieciņas saturs</a:t>
            </a:r>
          </a:p>
          <a:p>
            <a:pPr marL="172720" indent="-172720">
              <a:spcAft>
                <a:spcPts val="600"/>
              </a:spcAft>
              <a:buFont typeface="Arial,Sans-Serif"/>
              <a:buChar char="•"/>
            </a:pPr>
            <a:endParaRPr lang="lv-LV" sz="1600">
              <a:cs typeface="Arial"/>
            </a:endParaRP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11306175" cy="608197"/>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5" name="Freeform 106">
            <a:extLst>
              <a:ext uri="{FF2B5EF4-FFF2-40B4-BE49-F238E27FC236}">
                <a16:creationId xmlns:a16="http://schemas.microsoft.com/office/drawing/2014/main" id="{014F40D3-F5E9-404A-8FA7-2C2BFB358B3B}"/>
              </a:ext>
            </a:extLst>
          </p:cNvPr>
          <p:cNvSpPr/>
          <p:nvPr/>
        </p:nvSpPr>
        <p:spPr>
          <a:xfrm>
            <a:off x="514757" y="103167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lv-LV"/>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2</a:t>
            </a:fld>
            <a:endParaRPr lang="lv-LV"/>
          </a:p>
        </p:txBody>
      </p:sp>
      <p:sp>
        <p:nvSpPr>
          <p:cNvPr id="18" name="Rectangle 17">
            <a:extLst>
              <a:ext uri="{FF2B5EF4-FFF2-40B4-BE49-F238E27FC236}">
                <a16:creationId xmlns:a16="http://schemas.microsoft.com/office/drawing/2014/main" id="{31F5B033-E36B-F124-637C-AF0345D3C1E2}"/>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spTree>
    <p:extLst>
      <p:ext uri="{BB962C8B-B14F-4D97-AF65-F5344CB8AC3E}">
        <p14:creationId xmlns:p14="http://schemas.microsoft.com/office/powerpoint/2010/main" val="1920980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17D5129-C98E-0B87-735C-CE927B0DA4C9}"/>
              </a:ext>
            </a:extLst>
          </p:cNvPr>
          <p:cNvGraphicFramePr>
            <a:graphicFrameLocks noChangeAspect="1"/>
          </p:cNvGraphicFramePr>
          <p:nvPr>
            <p:custDataLst>
              <p:tags r:id="rId1"/>
            </p:custDataLst>
            <p:extLst>
              <p:ext uri="{D42A27DB-BD31-4B8C-83A1-F6EECF244321}">
                <p14:modId xmlns:p14="http://schemas.microsoft.com/office/powerpoint/2010/main" val="1137100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317D5129-C98E-0B87-735C-CE927B0DA4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4" name="Picture 63">
            <a:extLst>
              <a:ext uri="{FF2B5EF4-FFF2-40B4-BE49-F238E27FC236}">
                <a16:creationId xmlns:a16="http://schemas.microsoft.com/office/drawing/2014/main" id="{00D7B3D6-4A21-F58A-0C43-20AB30413294}"/>
              </a:ext>
            </a:extLst>
          </p:cNvPr>
          <p:cNvPicPr>
            <a:picLocks noChangeAspect="1"/>
          </p:cNvPicPr>
          <p:nvPr/>
        </p:nvPicPr>
        <p:blipFill>
          <a:blip r:embed="rId6"/>
          <a:stretch>
            <a:fillRect/>
          </a:stretch>
        </p:blipFill>
        <p:spPr>
          <a:xfrm>
            <a:off x="7620000" y="0"/>
            <a:ext cx="4572000" cy="6858000"/>
          </a:xfrm>
          <a:prstGeom prst="rect">
            <a:avLst/>
          </a:prstGeom>
        </p:spPr>
      </p:pic>
      <p:sp>
        <p:nvSpPr>
          <p:cNvPr id="65" name="Rectangle 64">
            <a:extLst>
              <a:ext uri="{FF2B5EF4-FFF2-40B4-BE49-F238E27FC236}">
                <a16:creationId xmlns:a16="http://schemas.microsoft.com/office/drawing/2014/main" id="{5251DA9C-70D5-D5D9-4097-7ABDC1CD630B}"/>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a:lstStyle/>
          <a:p>
            <a:r>
              <a:rPr lang="lv-LV"/>
              <a:t>Kā rīkoties, ja ir stipra asiņošana rokā</a:t>
            </a:r>
            <a:br>
              <a:rPr lang="lv-LV"/>
            </a:br>
            <a:r>
              <a:rPr lang="lv-LV"/>
              <a:t>vai kājā un ir pieejami pārsienamie </a:t>
            </a:r>
            <a:br>
              <a:rPr lang="lv-LV"/>
            </a:br>
            <a:r>
              <a:rPr lang="lv-LV"/>
              <a:t>materiāli?</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20</a:t>
            </a:fld>
            <a:endParaRPr lang="en-GB"/>
          </a:p>
        </p:txBody>
      </p:sp>
      <p:sp>
        <p:nvSpPr>
          <p:cNvPr id="7" name="Content Placeholder 1">
            <a:extLst>
              <a:ext uri="{FF2B5EF4-FFF2-40B4-BE49-F238E27FC236}">
                <a16:creationId xmlns:a16="http://schemas.microsoft.com/office/drawing/2014/main" id="{C808DA25-FA14-FF3C-E908-05869001F803}"/>
              </a:ext>
            </a:extLst>
          </p:cNvPr>
          <p:cNvSpPr txBox="1">
            <a:spLocks/>
          </p:cNvSpPr>
          <p:nvPr/>
        </p:nvSpPr>
        <p:spPr>
          <a:xfrm>
            <a:off x="442914" y="1646238"/>
            <a:ext cx="3529012" cy="40687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a:p>
        </p:txBody>
      </p:sp>
      <p:sp>
        <p:nvSpPr>
          <p:cNvPr id="22" name="Rectangle 21">
            <a:extLst>
              <a:ext uri="{FF2B5EF4-FFF2-40B4-BE49-F238E27FC236}">
                <a16:creationId xmlns:a16="http://schemas.microsoft.com/office/drawing/2014/main" id="{138C1537-B2D2-8CD4-AB9A-7BDF4C5BA5B6}"/>
              </a:ext>
            </a:extLst>
          </p:cNvPr>
          <p:cNvSpPr/>
          <p:nvPr/>
        </p:nvSpPr>
        <p:spPr>
          <a:xfrm>
            <a:off x="7619998" y="2398554"/>
            <a:ext cx="4129089"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a:spcAft>
                <a:spcPts val="600"/>
              </a:spcAft>
              <a:buBlip>
                <a:blip r:embed="rId7"/>
              </a:buBlip>
            </a:pPr>
            <a:r>
              <a:rPr lang="lv-LV" sz="1400">
                <a:solidFill>
                  <a:schemeClr val="tx1"/>
                </a:solidFill>
              </a:rPr>
              <a:t>Ja liekas, ka asiņošana turpinās, papildiniet spiedošo pārsēju ar vēl vienu priekšmetu.</a:t>
            </a:r>
          </a:p>
          <a:p>
            <a:pPr marL="285750" indent="-285750">
              <a:spcAft>
                <a:spcPts val="600"/>
              </a:spcAft>
              <a:buBlip>
                <a:blip r:embed="rId7"/>
              </a:buBlip>
            </a:pPr>
            <a:r>
              <a:rPr lang="lv-LV" sz="1400">
                <a:solidFill>
                  <a:schemeClr val="tx1"/>
                </a:solidFill>
              </a:rPr>
              <a:t>Žņauga uzlikšanai nepieciešams rūpnieciski ražots žņaugs un prasmes tā lietošanā. Žņauga uzlikšana tiek mācīta paplašinātās pirmās palīdzības apmācības programmās vai pirmās palīdzības apmācības programmās ar papildu zināšanu apguvi.</a:t>
            </a:r>
          </a:p>
        </p:txBody>
      </p:sp>
      <p:sp>
        <p:nvSpPr>
          <p:cNvPr id="23" name="TextBox 22">
            <a:extLst>
              <a:ext uri="{FF2B5EF4-FFF2-40B4-BE49-F238E27FC236}">
                <a16:creationId xmlns:a16="http://schemas.microsoft.com/office/drawing/2014/main" id="{2B31A048-71F3-36BF-C023-498023B6C82B}"/>
              </a:ext>
            </a:extLst>
          </p:cNvPr>
          <p:cNvSpPr txBox="1"/>
          <p:nvPr/>
        </p:nvSpPr>
        <p:spPr>
          <a:xfrm>
            <a:off x="1297953" y="2531791"/>
            <a:ext cx="5879131" cy="432000"/>
          </a:xfrm>
          <a:prstGeom prst="rect">
            <a:avLst/>
          </a:prstGeom>
          <a:noFill/>
        </p:spPr>
        <p:txBody>
          <a:bodyPr wrap="square" anchor="ctr">
            <a:noAutofit/>
          </a:bodyPr>
          <a:lstStyle/>
          <a:p>
            <a:pPr>
              <a:spcAft>
                <a:spcPts val="0"/>
              </a:spcAft>
            </a:pPr>
            <a:r>
              <a:rPr lang="lv-LV" sz="1400">
                <a:solidFill>
                  <a:schemeClr val="tx1"/>
                </a:solidFill>
              </a:rPr>
              <a:t>Uzvelciet rokās ūdens necaurlaidīgus cimdus.</a:t>
            </a:r>
          </a:p>
        </p:txBody>
      </p:sp>
      <p:sp>
        <p:nvSpPr>
          <p:cNvPr id="37" name="TextBox 36">
            <a:extLst>
              <a:ext uri="{FF2B5EF4-FFF2-40B4-BE49-F238E27FC236}">
                <a16:creationId xmlns:a16="http://schemas.microsoft.com/office/drawing/2014/main" id="{C2CA78DD-F69A-5D59-15A8-FCB689B70AC2}"/>
              </a:ext>
            </a:extLst>
          </p:cNvPr>
          <p:cNvSpPr txBox="1"/>
          <p:nvPr/>
        </p:nvSpPr>
        <p:spPr>
          <a:xfrm>
            <a:off x="1297953" y="2990135"/>
            <a:ext cx="5879131" cy="432000"/>
          </a:xfrm>
          <a:prstGeom prst="rect">
            <a:avLst/>
          </a:prstGeom>
          <a:noFill/>
        </p:spPr>
        <p:txBody>
          <a:bodyPr wrap="square" anchor="ctr">
            <a:noAutofit/>
          </a:bodyPr>
          <a:lstStyle/>
          <a:p>
            <a:pPr>
              <a:spcAft>
                <a:spcPts val="0"/>
              </a:spcAft>
            </a:pPr>
            <a:r>
              <a:rPr lang="lv-LV" sz="1400">
                <a:solidFill>
                  <a:schemeClr val="tx1"/>
                </a:solidFill>
              </a:rPr>
              <a:t>Atbrīvojiet asiņojošo vietu no apģērba.</a:t>
            </a:r>
          </a:p>
        </p:txBody>
      </p:sp>
      <p:sp>
        <p:nvSpPr>
          <p:cNvPr id="38" name="TextBox 37">
            <a:extLst>
              <a:ext uri="{FF2B5EF4-FFF2-40B4-BE49-F238E27FC236}">
                <a16:creationId xmlns:a16="http://schemas.microsoft.com/office/drawing/2014/main" id="{FED4070B-D467-BCBB-40C2-1A6D5681C2FA}"/>
              </a:ext>
            </a:extLst>
          </p:cNvPr>
          <p:cNvSpPr txBox="1"/>
          <p:nvPr/>
        </p:nvSpPr>
        <p:spPr>
          <a:xfrm>
            <a:off x="1297953" y="3906823"/>
            <a:ext cx="5879131" cy="432000"/>
          </a:xfrm>
          <a:prstGeom prst="rect">
            <a:avLst/>
          </a:prstGeom>
          <a:noFill/>
        </p:spPr>
        <p:txBody>
          <a:bodyPr wrap="square" anchor="ctr">
            <a:noAutofit/>
          </a:bodyPr>
          <a:lstStyle/>
          <a:p>
            <a:pPr>
              <a:spcAft>
                <a:spcPts val="0"/>
              </a:spcAft>
            </a:pPr>
            <a:r>
              <a:rPr lang="lv-LV" sz="1400">
                <a:solidFill>
                  <a:schemeClr val="tx1"/>
                </a:solidFill>
              </a:rPr>
              <a:t>Noguldiet cietušo guļus ar asiņojošo vietu uz augšu.</a:t>
            </a:r>
          </a:p>
        </p:txBody>
      </p:sp>
      <p:sp>
        <p:nvSpPr>
          <p:cNvPr id="39" name="TextBox 38">
            <a:extLst>
              <a:ext uri="{FF2B5EF4-FFF2-40B4-BE49-F238E27FC236}">
                <a16:creationId xmlns:a16="http://schemas.microsoft.com/office/drawing/2014/main" id="{A7A994A1-7F1E-6A81-8CD8-5804507EC70D}"/>
              </a:ext>
            </a:extLst>
          </p:cNvPr>
          <p:cNvSpPr txBox="1"/>
          <p:nvPr/>
        </p:nvSpPr>
        <p:spPr>
          <a:xfrm>
            <a:off x="1297953" y="4365167"/>
            <a:ext cx="5879131" cy="432000"/>
          </a:xfrm>
          <a:prstGeom prst="rect">
            <a:avLst/>
          </a:prstGeom>
          <a:noFill/>
        </p:spPr>
        <p:txBody>
          <a:bodyPr wrap="square" anchor="ctr">
            <a:noAutofit/>
          </a:bodyPr>
          <a:lstStyle/>
          <a:p>
            <a:pPr>
              <a:spcAft>
                <a:spcPts val="0"/>
              </a:spcAft>
            </a:pPr>
            <a:r>
              <a:rPr lang="lv-LV" sz="1400">
                <a:solidFill>
                  <a:schemeClr val="tx1"/>
                </a:solidFill>
              </a:rPr>
              <a:t>Uzlieciet spiedošo pārsēju.</a:t>
            </a:r>
          </a:p>
        </p:txBody>
      </p:sp>
      <p:sp>
        <p:nvSpPr>
          <p:cNvPr id="40" name="TextBox 39">
            <a:extLst>
              <a:ext uri="{FF2B5EF4-FFF2-40B4-BE49-F238E27FC236}">
                <a16:creationId xmlns:a16="http://schemas.microsoft.com/office/drawing/2014/main" id="{EB86B500-D698-3756-B7C3-C05978613A25}"/>
              </a:ext>
            </a:extLst>
          </p:cNvPr>
          <p:cNvSpPr txBox="1"/>
          <p:nvPr/>
        </p:nvSpPr>
        <p:spPr>
          <a:xfrm>
            <a:off x="1297953" y="5281855"/>
            <a:ext cx="5879131" cy="432000"/>
          </a:xfrm>
          <a:prstGeom prst="rect">
            <a:avLst/>
          </a:prstGeom>
          <a:noFill/>
        </p:spPr>
        <p:txBody>
          <a:bodyPr wrap="square" anchor="ctr">
            <a:noAutofit/>
          </a:bodyPr>
          <a:lstStyle/>
          <a:p>
            <a:pPr>
              <a:spcAft>
                <a:spcPts val="0"/>
              </a:spcAft>
            </a:pPr>
            <a:r>
              <a:rPr lang="lv-LV" sz="1400">
                <a:solidFill>
                  <a:schemeClr val="tx1"/>
                </a:solidFill>
              </a:rPr>
              <a:t>Aprūpējiet, nomieriniet cietušo.</a:t>
            </a:r>
          </a:p>
        </p:txBody>
      </p:sp>
      <p:sp>
        <p:nvSpPr>
          <p:cNvPr id="41" name="TextBox 40">
            <a:extLst>
              <a:ext uri="{FF2B5EF4-FFF2-40B4-BE49-F238E27FC236}">
                <a16:creationId xmlns:a16="http://schemas.microsoft.com/office/drawing/2014/main" id="{43FCA442-D4C2-FD75-2AE1-CE8B3AF7F9DF}"/>
              </a:ext>
            </a:extLst>
          </p:cNvPr>
          <p:cNvSpPr txBox="1"/>
          <p:nvPr/>
        </p:nvSpPr>
        <p:spPr>
          <a:xfrm>
            <a:off x="1297953" y="5740201"/>
            <a:ext cx="5879131" cy="432000"/>
          </a:xfrm>
          <a:prstGeom prst="rect">
            <a:avLst/>
          </a:prstGeom>
          <a:noFill/>
        </p:spPr>
        <p:txBody>
          <a:bodyPr wrap="square" anchor="ctr">
            <a:noAutofit/>
          </a:bodyPr>
          <a:lstStyle/>
          <a:p>
            <a:pPr>
              <a:spcAft>
                <a:spcPts val="0"/>
              </a:spcAft>
            </a:pPr>
            <a:r>
              <a:rPr lang="lv-LV" sz="1400">
                <a:solidFill>
                  <a:schemeClr val="tx1"/>
                </a:solidFill>
              </a:rPr>
              <a:t>Veiciet atdzīvināšanas pasākumus, ja nepieciešams.</a:t>
            </a:r>
          </a:p>
        </p:txBody>
      </p:sp>
      <p:sp>
        <p:nvSpPr>
          <p:cNvPr id="42" name="TextBox 41">
            <a:extLst>
              <a:ext uri="{FF2B5EF4-FFF2-40B4-BE49-F238E27FC236}">
                <a16:creationId xmlns:a16="http://schemas.microsoft.com/office/drawing/2014/main" id="{54557E55-3507-1776-B43F-2BF914364CDC}"/>
              </a:ext>
            </a:extLst>
          </p:cNvPr>
          <p:cNvSpPr txBox="1"/>
          <p:nvPr/>
        </p:nvSpPr>
        <p:spPr>
          <a:xfrm>
            <a:off x="1297953" y="3448479"/>
            <a:ext cx="5879131" cy="432000"/>
          </a:xfrm>
          <a:prstGeom prst="rect">
            <a:avLst/>
          </a:prstGeom>
          <a:noFill/>
        </p:spPr>
        <p:txBody>
          <a:bodyPr wrap="square" anchor="ctr">
            <a:noAutofit/>
          </a:bodyPr>
          <a:lstStyle/>
          <a:p>
            <a:pPr>
              <a:spcAft>
                <a:spcPts val="0"/>
              </a:spcAft>
            </a:pPr>
            <a:r>
              <a:rPr lang="lv-LV" sz="1400">
                <a:solidFill>
                  <a:schemeClr val="tx1"/>
                </a:solidFill>
              </a:rPr>
              <a:t>Aizspiediet brūci.</a:t>
            </a:r>
          </a:p>
        </p:txBody>
      </p:sp>
      <p:sp>
        <p:nvSpPr>
          <p:cNvPr id="43" name="TextBox 42">
            <a:extLst>
              <a:ext uri="{FF2B5EF4-FFF2-40B4-BE49-F238E27FC236}">
                <a16:creationId xmlns:a16="http://schemas.microsoft.com/office/drawing/2014/main" id="{88DB8DA6-ED94-CDC8-8ACB-3050ABC429D6}"/>
              </a:ext>
            </a:extLst>
          </p:cNvPr>
          <p:cNvSpPr txBox="1"/>
          <p:nvPr/>
        </p:nvSpPr>
        <p:spPr>
          <a:xfrm>
            <a:off x="1297953" y="4823511"/>
            <a:ext cx="5879131" cy="432000"/>
          </a:xfrm>
          <a:prstGeom prst="rect">
            <a:avLst/>
          </a:prstGeom>
          <a:noFill/>
        </p:spPr>
        <p:txBody>
          <a:bodyPr wrap="square" anchor="ctr">
            <a:noAutofit/>
          </a:bodyPr>
          <a:lstStyle/>
          <a:p>
            <a:pPr>
              <a:spcAft>
                <a:spcPts val="0"/>
              </a:spcAft>
            </a:pPr>
            <a:r>
              <a:rPr lang="lv-LV" sz="1400">
                <a:solidFill>
                  <a:schemeClr val="tx1"/>
                </a:solidFill>
              </a:rPr>
              <a:t>Izsauciet Neatliekamo palīdzību.</a:t>
            </a:r>
          </a:p>
        </p:txBody>
      </p:sp>
      <p:cxnSp>
        <p:nvCxnSpPr>
          <p:cNvPr id="44" name="Straight Connector 43">
            <a:extLst>
              <a:ext uri="{FF2B5EF4-FFF2-40B4-BE49-F238E27FC236}">
                <a16:creationId xmlns:a16="http://schemas.microsoft.com/office/drawing/2014/main" id="{86AA3544-8078-8C8C-0759-E3DC6A24E6ED}"/>
              </a:ext>
            </a:extLst>
          </p:cNvPr>
          <p:cNvCxnSpPr>
            <a:cxnSpLocks/>
          </p:cNvCxnSpPr>
          <p:nvPr/>
        </p:nvCxnSpPr>
        <p:spPr>
          <a:xfrm>
            <a:off x="1297953" y="2975772"/>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5" name="Straight Connector 44">
            <a:extLst>
              <a:ext uri="{FF2B5EF4-FFF2-40B4-BE49-F238E27FC236}">
                <a16:creationId xmlns:a16="http://schemas.microsoft.com/office/drawing/2014/main" id="{9B4AE2A4-0953-2815-D272-B652E04D7D9A}"/>
              </a:ext>
            </a:extLst>
          </p:cNvPr>
          <p:cNvCxnSpPr>
            <a:cxnSpLocks/>
          </p:cNvCxnSpPr>
          <p:nvPr/>
        </p:nvCxnSpPr>
        <p:spPr>
          <a:xfrm>
            <a:off x="1297953" y="3434116"/>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6" name="Straight Connector 45">
            <a:extLst>
              <a:ext uri="{FF2B5EF4-FFF2-40B4-BE49-F238E27FC236}">
                <a16:creationId xmlns:a16="http://schemas.microsoft.com/office/drawing/2014/main" id="{F2BF2269-DD68-E61E-C57D-3092670F8B8E}"/>
              </a:ext>
            </a:extLst>
          </p:cNvPr>
          <p:cNvCxnSpPr>
            <a:cxnSpLocks/>
          </p:cNvCxnSpPr>
          <p:nvPr/>
        </p:nvCxnSpPr>
        <p:spPr>
          <a:xfrm>
            <a:off x="1297953" y="3892460"/>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7" name="Straight Connector 46">
            <a:extLst>
              <a:ext uri="{FF2B5EF4-FFF2-40B4-BE49-F238E27FC236}">
                <a16:creationId xmlns:a16="http://schemas.microsoft.com/office/drawing/2014/main" id="{302B2A6A-9855-2A91-3ECB-C9CDFD2F5290}"/>
              </a:ext>
            </a:extLst>
          </p:cNvPr>
          <p:cNvCxnSpPr>
            <a:cxnSpLocks/>
          </p:cNvCxnSpPr>
          <p:nvPr/>
        </p:nvCxnSpPr>
        <p:spPr>
          <a:xfrm>
            <a:off x="1297953" y="4350804"/>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8" name="Straight Connector 47">
            <a:extLst>
              <a:ext uri="{FF2B5EF4-FFF2-40B4-BE49-F238E27FC236}">
                <a16:creationId xmlns:a16="http://schemas.microsoft.com/office/drawing/2014/main" id="{960CEA53-11AD-7AFC-8199-EEAD6FADEB5A}"/>
              </a:ext>
            </a:extLst>
          </p:cNvPr>
          <p:cNvCxnSpPr>
            <a:cxnSpLocks/>
          </p:cNvCxnSpPr>
          <p:nvPr/>
        </p:nvCxnSpPr>
        <p:spPr>
          <a:xfrm>
            <a:off x="1297953" y="4809148"/>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9" name="Straight Connector 48">
            <a:extLst>
              <a:ext uri="{FF2B5EF4-FFF2-40B4-BE49-F238E27FC236}">
                <a16:creationId xmlns:a16="http://schemas.microsoft.com/office/drawing/2014/main" id="{45CD009F-0997-2BAB-6111-300DC415D36F}"/>
              </a:ext>
            </a:extLst>
          </p:cNvPr>
          <p:cNvCxnSpPr>
            <a:cxnSpLocks/>
          </p:cNvCxnSpPr>
          <p:nvPr/>
        </p:nvCxnSpPr>
        <p:spPr>
          <a:xfrm>
            <a:off x="1297953" y="5267492"/>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0" name="Straight Connector 49">
            <a:extLst>
              <a:ext uri="{FF2B5EF4-FFF2-40B4-BE49-F238E27FC236}">
                <a16:creationId xmlns:a16="http://schemas.microsoft.com/office/drawing/2014/main" id="{B4A0F0CD-ADBC-2253-5BCA-ACB10D9B55DE}"/>
              </a:ext>
            </a:extLst>
          </p:cNvPr>
          <p:cNvCxnSpPr>
            <a:cxnSpLocks/>
          </p:cNvCxnSpPr>
          <p:nvPr/>
        </p:nvCxnSpPr>
        <p:spPr>
          <a:xfrm>
            <a:off x="1297953" y="5725836"/>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69" name="Rectangle 68">
            <a:extLst>
              <a:ext uri="{FF2B5EF4-FFF2-40B4-BE49-F238E27FC236}">
                <a16:creationId xmlns:a16="http://schemas.microsoft.com/office/drawing/2014/main" id="{1754B4E2-BA66-E8F8-14EA-81E58AEBD33C}"/>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70" name="Rectangle 69">
            <a:extLst>
              <a:ext uri="{FF2B5EF4-FFF2-40B4-BE49-F238E27FC236}">
                <a16:creationId xmlns:a16="http://schemas.microsoft.com/office/drawing/2014/main" id="{705A2BE6-2534-568C-D8AC-28B020789766}"/>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71" name="Content Placeholder 1">
            <a:extLst>
              <a:ext uri="{FF2B5EF4-FFF2-40B4-BE49-F238E27FC236}">
                <a16:creationId xmlns:a16="http://schemas.microsoft.com/office/drawing/2014/main" id="{130264A3-BC88-CC76-BE2A-96B8C1ED6604}"/>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72" name="Content Placeholder 1">
            <a:extLst>
              <a:ext uri="{FF2B5EF4-FFF2-40B4-BE49-F238E27FC236}">
                <a16:creationId xmlns:a16="http://schemas.microsoft.com/office/drawing/2014/main" id="{53E7A0B9-B7CF-ECFC-3C26-635AD3B8B524}"/>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73" name="Content Placeholder 1">
            <a:extLst>
              <a:ext uri="{FF2B5EF4-FFF2-40B4-BE49-F238E27FC236}">
                <a16:creationId xmlns:a16="http://schemas.microsoft.com/office/drawing/2014/main" id="{2B26BD32-8601-1467-322C-FF6778E2322E}"/>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74" name="Content Placeholder 1">
            <a:extLst>
              <a:ext uri="{FF2B5EF4-FFF2-40B4-BE49-F238E27FC236}">
                <a16:creationId xmlns:a16="http://schemas.microsoft.com/office/drawing/2014/main" id="{4EA69B3B-AA2B-1109-4D13-69B005A0B356}"/>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75" name="Google Shape;760;p79">
            <a:extLst>
              <a:ext uri="{FF2B5EF4-FFF2-40B4-BE49-F238E27FC236}">
                <a16:creationId xmlns:a16="http://schemas.microsoft.com/office/drawing/2014/main" id="{0730373B-D43A-F431-867E-F1DE33819D4F}"/>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76" name="Google Shape;794;p79">
            <a:extLst>
              <a:ext uri="{FF2B5EF4-FFF2-40B4-BE49-F238E27FC236}">
                <a16:creationId xmlns:a16="http://schemas.microsoft.com/office/drawing/2014/main" id="{DEC8C03A-2424-6BA6-DEF7-DA6DB86A3149}"/>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78" name="Content Placeholder 1">
            <a:extLst>
              <a:ext uri="{FF2B5EF4-FFF2-40B4-BE49-F238E27FC236}">
                <a16:creationId xmlns:a16="http://schemas.microsoft.com/office/drawing/2014/main" id="{9B5A74B6-FB10-2BA0-78A1-B456635624A2}"/>
              </a:ext>
            </a:extLst>
          </p:cNvPr>
          <p:cNvSpPr txBox="1">
            <a:spLocks/>
          </p:cNvSpPr>
          <p:nvPr/>
        </p:nvSpPr>
        <p:spPr>
          <a:xfrm>
            <a:off x="441325" y="2990135"/>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2</a:t>
            </a:r>
          </a:p>
        </p:txBody>
      </p:sp>
      <p:sp>
        <p:nvSpPr>
          <p:cNvPr id="79" name="Content Placeholder 1">
            <a:extLst>
              <a:ext uri="{FF2B5EF4-FFF2-40B4-BE49-F238E27FC236}">
                <a16:creationId xmlns:a16="http://schemas.microsoft.com/office/drawing/2014/main" id="{D961E21E-3D2D-C986-38CE-61F71FBCFF50}"/>
              </a:ext>
            </a:extLst>
          </p:cNvPr>
          <p:cNvSpPr txBox="1">
            <a:spLocks/>
          </p:cNvSpPr>
          <p:nvPr/>
        </p:nvSpPr>
        <p:spPr>
          <a:xfrm>
            <a:off x="441325" y="3448479"/>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3</a:t>
            </a:r>
          </a:p>
        </p:txBody>
      </p:sp>
      <p:sp>
        <p:nvSpPr>
          <p:cNvPr id="80" name="Content Placeholder 1">
            <a:extLst>
              <a:ext uri="{FF2B5EF4-FFF2-40B4-BE49-F238E27FC236}">
                <a16:creationId xmlns:a16="http://schemas.microsoft.com/office/drawing/2014/main" id="{F866AF98-F376-21F3-55F6-697FFC7B0E11}"/>
              </a:ext>
            </a:extLst>
          </p:cNvPr>
          <p:cNvSpPr txBox="1">
            <a:spLocks/>
          </p:cNvSpPr>
          <p:nvPr/>
        </p:nvSpPr>
        <p:spPr>
          <a:xfrm>
            <a:off x="441325" y="3906823"/>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4</a:t>
            </a:r>
          </a:p>
        </p:txBody>
      </p:sp>
      <p:sp>
        <p:nvSpPr>
          <p:cNvPr id="81" name="Content Placeholder 1">
            <a:extLst>
              <a:ext uri="{FF2B5EF4-FFF2-40B4-BE49-F238E27FC236}">
                <a16:creationId xmlns:a16="http://schemas.microsoft.com/office/drawing/2014/main" id="{F09E0947-1C95-ED66-E901-09529C80D293}"/>
              </a:ext>
            </a:extLst>
          </p:cNvPr>
          <p:cNvSpPr txBox="1">
            <a:spLocks/>
          </p:cNvSpPr>
          <p:nvPr/>
        </p:nvSpPr>
        <p:spPr>
          <a:xfrm>
            <a:off x="441325" y="4365167"/>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5</a:t>
            </a:r>
          </a:p>
        </p:txBody>
      </p:sp>
      <p:sp>
        <p:nvSpPr>
          <p:cNvPr id="82" name="Content Placeholder 1">
            <a:extLst>
              <a:ext uri="{FF2B5EF4-FFF2-40B4-BE49-F238E27FC236}">
                <a16:creationId xmlns:a16="http://schemas.microsoft.com/office/drawing/2014/main" id="{75FEAD71-CE5A-45D5-40E3-0E43BE9CCEBC}"/>
              </a:ext>
            </a:extLst>
          </p:cNvPr>
          <p:cNvSpPr txBox="1">
            <a:spLocks/>
          </p:cNvSpPr>
          <p:nvPr/>
        </p:nvSpPr>
        <p:spPr>
          <a:xfrm>
            <a:off x="441325" y="4823511"/>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6</a:t>
            </a:r>
          </a:p>
        </p:txBody>
      </p:sp>
      <p:sp>
        <p:nvSpPr>
          <p:cNvPr id="83" name="Content Placeholder 1">
            <a:extLst>
              <a:ext uri="{FF2B5EF4-FFF2-40B4-BE49-F238E27FC236}">
                <a16:creationId xmlns:a16="http://schemas.microsoft.com/office/drawing/2014/main" id="{E20B9513-8BD3-2724-D843-7E666E9EA3D3}"/>
              </a:ext>
            </a:extLst>
          </p:cNvPr>
          <p:cNvSpPr txBox="1">
            <a:spLocks/>
          </p:cNvSpPr>
          <p:nvPr/>
        </p:nvSpPr>
        <p:spPr>
          <a:xfrm>
            <a:off x="441325" y="5281855"/>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7</a:t>
            </a:r>
          </a:p>
        </p:txBody>
      </p:sp>
      <p:sp>
        <p:nvSpPr>
          <p:cNvPr id="84" name="Content Placeholder 1">
            <a:extLst>
              <a:ext uri="{FF2B5EF4-FFF2-40B4-BE49-F238E27FC236}">
                <a16:creationId xmlns:a16="http://schemas.microsoft.com/office/drawing/2014/main" id="{A3817198-39BA-8D82-E588-415D74AE79E6}"/>
              </a:ext>
            </a:extLst>
          </p:cNvPr>
          <p:cNvSpPr txBox="1">
            <a:spLocks/>
          </p:cNvSpPr>
          <p:nvPr/>
        </p:nvSpPr>
        <p:spPr>
          <a:xfrm>
            <a:off x="441325" y="5740201"/>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8</a:t>
            </a:r>
          </a:p>
        </p:txBody>
      </p:sp>
      <p:sp>
        <p:nvSpPr>
          <p:cNvPr id="85" name="Content Placeholder 1">
            <a:extLst>
              <a:ext uri="{FF2B5EF4-FFF2-40B4-BE49-F238E27FC236}">
                <a16:creationId xmlns:a16="http://schemas.microsoft.com/office/drawing/2014/main" id="{709C1DD6-305F-6483-87C6-7A81A75D609F}"/>
              </a:ext>
            </a:extLst>
          </p:cNvPr>
          <p:cNvSpPr txBox="1">
            <a:spLocks/>
          </p:cNvSpPr>
          <p:nvPr/>
        </p:nvSpPr>
        <p:spPr>
          <a:xfrm>
            <a:off x="441325" y="2531791"/>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1</a:t>
            </a:r>
          </a:p>
        </p:txBody>
      </p:sp>
      <p:cxnSp>
        <p:nvCxnSpPr>
          <p:cNvPr id="86" name="Straight Connector 85">
            <a:extLst>
              <a:ext uri="{FF2B5EF4-FFF2-40B4-BE49-F238E27FC236}">
                <a16:creationId xmlns:a16="http://schemas.microsoft.com/office/drawing/2014/main" id="{C5E041A6-46B5-468F-88CB-37765961A408}"/>
              </a:ext>
            </a:extLst>
          </p:cNvPr>
          <p:cNvCxnSpPr>
            <a:cxnSpLocks/>
            <a:stCxn id="87" idx="4"/>
            <a:endCxn id="93" idx="3"/>
          </p:cNvCxnSpPr>
          <p:nvPr/>
        </p:nvCxnSpPr>
        <p:spPr>
          <a:xfrm>
            <a:off x="864002" y="2820181"/>
            <a:ext cx="0" cy="3176759"/>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87" name="Oval 86">
            <a:extLst>
              <a:ext uri="{FF2B5EF4-FFF2-40B4-BE49-F238E27FC236}">
                <a16:creationId xmlns:a16="http://schemas.microsoft.com/office/drawing/2014/main" id="{7F12CF72-4E98-AC6C-0CAA-069A7BEB7929}"/>
              </a:ext>
            </a:extLst>
          </p:cNvPr>
          <p:cNvSpPr/>
          <p:nvPr/>
        </p:nvSpPr>
        <p:spPr>
          <a:xfrm>
            <a:off x="791612" y="2675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88" name="Isosceles Triangle 87">
            <a:extLst>
              <a:ext uri="{FF2B5EF4-FFF2-40B4-BE49-F238E27FC236}">
                <a16:creationId xmlns:a16="http://schemas.microsoft.com/office/drawing/2014/main" id="{8FDB5D70-C0CC-9736-705B-EC3C4510FADC}"/>
              </a:ext>
            </a:extLst>
          </p:cNvPr>
          <p:cNvSpPr/>
          <p:nvPr/>
        </p:nvSpPr>
        <p:spPr>
          <a:xfrm flipV="1">
            <a:off x="690171" y="3879781"/>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89" name="Isosceles Triangle 88">
            <a:extLst>
              <a:ext uri="{FF2B5EF4-FFF2-40B4-BE49-F238E27FC236}">
                <a16:creationId xmlns:a16="http://schemas.microsoft.com/office/drawing/2014/main" id="{61F01A40-A906-09F5-FA41-6FD189393CF8}"/>
              </a:ext>
            </a:extLst>
          </p:cNvPr>
          <p:cNvSpPr/>
          <p:nvPr/>
        </p:nvSpPr>
        <p:spPr>
          <a:xfrm flipV="1">
            <a:off x="690171" y="4338027"/>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90" name="Isosceles Triangle 89">
            <a:extLst>
              <a:ext uri="{FF2B5EF4-FFF2-40B4-BE49-F238E27FC236}">
                <a16:creationId xmlns:a16="http://schemas.microsoft.com/office/drawing/2014/main" id="{12611061-5823-F5D8-7807-AC0EE800FBC6}"/>
              </a:ext>
            </a:extLst>
          </p:cNvPr>
          <p:cNvSpPr/>
          <p:nvPr/>
        </p:nvSpPr>
        <p:spPr>
          <a:xfrm flipV="1">
            <a:off x="690171" y="479627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91" name="Isosceles Triangle 90">
            <a:extLst>
              <a:ext uri="{FF2B5EF4-FFF2-40B4-BE49-F238E27FC236}">
                <a16:creationId xmlns:a16="http://schemas.microsoft.com/office/drawing/2014/main" id="{CAE6B261-9C4F-844D-9AE8-75AB438102F3}"/>
              </a:ext>
            </a:extLst>
          </p:cNvPr>
          <p:cNvSpPr/>
          <p:nvPr/>
        </p:nvSpPr>
        <p:spPr>
          <a:xfrm flipV="1">
            <a:off x="690171" y="5254519"/>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92" name="Isosceles Triangle 91">
            <a:extLst>
              <a:ext uri="{FF2B5EF4-FFF2-40B4-BE49-F238E27FC236}">
                <a16:creationId xmlns:a16="http://schemas.microsoft.com/office/drawing/2014/main" id="{BBF2487C-09CA-FF67-1720-4578499D72BD}"/>
              </a:ext>
            </a:extLst>
          </p:cNvPr>
          <p:cNvSpPr/>
          <p:nvPr/>
        </p:nvSpPr>
        <p:spPr>
          <a:xfrm flipV="1">
            <a:off x="690171" y="571276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93" name="Isosceles Triangle 92">
            <a:extLst>
              <a:ext uri="{FF2B5EF4-FFF2-40B4-BE49-F238E27FC236}">
                <a16:creationId xmlns:a16="http://schemas.microsoft.com/office/drawing/2014/main" id="{987C77FD-321B-D7F5-67E2-D69EE602053F}"/>
              </a:ext>
            </a:extLst>
          </p:cNvPr>
          <p:cNvSpPr/>
          <p:nvPr/>
        </p:nvSpPr>
        <p:spPr>
          <a:xfrm flipV="1">
            <a:off x="809233" y="5996940"/>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94" name="Isosceles Triangle 93">
            <a:extLst>
              <a:ext uri="{FF2B5EF4-FFF2-40B4-BE49-F238E27FC236}">
                <a16:creationId xmlns:a16="http://schemas.microsoft.com/office/drawing/2014/main" id="{17C398B3-B4FB-856A-94D9-AD3CA433FF1B}"/>
              </a:ext>
            </a:extLst>
          </p:cNvPr>
          <p:cNvSpPr/>
          <p:nvPr/>
        </p:nvSpPr>
        <p:spPr>
          <a:xfrm flipV="1">
            <a:off x="690171" y="296328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95" name="Isosceles Triangle 94">
            <a:extLst>
              <a:ext uri="{FF2B5EF4-FFF2-40B4-BE49-F238E27FC236}">
                <a16:creationId xmlns:a16="http://schemas.microsoft.com/office/drawing/2014/main" id="{5506ED65-A6BC-3C99-F157-BBD58E1F1F32}"/>
              </a:ext>
            </a:extLst>
          </p:cNvPr>
          <p:cNvSpPr/>
          <p:nvPr/>
        </p:nvSpPr>
        <p:spPr>
          <a:xfrm flipV="1">
            <a:off x="690171" y="3421535"/>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2" name="Rectangle 1">
            <a:extLst>
              <a:ext uri="{FF2B5EF4-FFF2-40B4-BE49-F238E27FC236}">
                <a16:creationId xmlns:a16="http://schemas.microsoft.com/office/drawing/2014/main" id="{9E458C61-554D-06B9-D7BB-AE586E6578F7}"/>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15" name="Group 14">
            <a:extLst>
              <a:ext uri="{FF2B5EF4-FFF2-40B4-BE49-F238E27FC236}">
                <a16:creationId xmlns:a16="http://schemas.microsoft.com/office/drawing/2014/main" id="{F17F705C-87C9-5D82-0071-8EA1798F0D4B}"/>
              </a:ext>
            </a:extLst>
          </p:cNvPr>
          <p:cNvGrpSpPr/>
          <p:nvPr/>
        </p:nvGrpSpPr>
        <p:grpSpPr>
          <a:xfrm>
            <a:off x="9842140" y="372216"/>
            <a:ext cx="1667215" cy="217488"/>
            <a:chOff x="9842140" y="372216"/>
            <a:chExt cx="1667215" cy="217488"/>
          </a:xfrm>
        </p:grpSpPr>
        <p:sp>
          <p:nvSpPr>
            <p:cNvPr id="16" name="TextBox 15">
              <a:extLst>
                <a:ext uri="{FF2B5EF4-FFF2-40B4-BE49-F238E27FC236}">
                  <a16:creationId xmlns:a16="http://schemas.microsoft.com/office/drawing/2014/main" id="{BB39067C-BB74-431F-475F-367961520F72}"/>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Stipra asiņošana</a:t>
              </a:r>
            </a:p>
          </p:txBody>
        </p:sp>
        <p:sp>
          <p:nvSpPr>
            <p:cNvPr id="17" name="Freeform 49">
              <a:extLst>
                <a:ext uri="{FF2B5EF4-FFF2-40B4-BE49-F238E27FC236}">
                  <a16:creationId xmlns:a16="http://schemas.microsoft.com/office/drawing/2014/main" id="{9DDB00D3-0ABF-F805-8F9D-63E91DF08229}"/>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14" name="Group 13">
            <a:extLst>
              <a:ext uri="{FF2B5EF4-FFF2-40B4-BE49-F238E27FC236}">
                <a16:creationId xmlns:a16="http://schemas.microsoft.com/office/drawing/2014/main" id="{0E7F843F-4114-269C-A3C1-FD85DD3E86FD}"/>
              </a:ext>
            </a:extLst>
          </p:cNvPr>
          <p:cNvGrpSpPr/>
          <p:nvPr/>
        </p:nvGrpSpPr>
        <p:grpSpPr>
          <a:xfrm>
            <a:off x="9122935" y="126781"/>
            <a:ext cx="2626153" cy="217488"/>
            <a:chOff x="9122935" y="126781"/>
            <a:chExt cx="2626153" cy="217488"/>
          </a:xfrm>
        </p:grpSpPr>
        <p:sp>
          <p:nvSpPr>
            <p:cNvPr id="18" name="Rectangle 17">
              <a:extLst>
                <a:ext uri="{FF2B5EF4-FFF2-40B4-BE49-F238E27FC236}">
                  <a16:creationId xmlns:a16="http://schemas.microsoft.com/office/drawing/2014/main" id="{BF8E15BF-BFE3-1DCD-1637-E8CF4E53E481}"/>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19" name="Rectangle 18">
              <a:extLst>
                <a:ext uri="{FF2B5EF4-FFF2-40B4-BE49-F238E27FC236}">
                  <a16:creationId xmlns:a16="http://schemas.microsoft.com/office/drawing/2014/main" id="{CE213D7D-03F3-528B-D63D-E4F8075AF76B}"/>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FFBF72AB-588D-E7EF-4A67-213B82EC5C5B}"/>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303B0FFD-6FC7-62A7-9781-72DDD56524D5}"/>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EE8B03B1-8B3F-2F02-3A31-462735761E16}"/>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25" name="Rectangle 24">
              <a:extLst>
                <a:ext uri="{FF2B5EF4-FFF2-40B4-BE49-F238E27FC236}">
                  <a16:creationId xmlns:a16="http://schemas.microsoft.com/office/drawing/2014/main" id="{BA6EEC3A-F03E-AB89-B824-7F3C579D957D}"/>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20405346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2A03EDD-F030-291B-BE81-BF9DE321CA50}"/>
              </a:ext>
            </a:extLst>
          </p:cNvPr>
          <p:cNvGraphicFramePr>
            <a:graphicFrameLocks noChangeAspect="1"/>
          </p:cNvGraphicFramePr>
          <p:nvPr>
            <p:custDataLst>
              <p:tags r:id="rId1"/>
            </p:custDataLst>
            <p:extLst>
              <p:ext uri="{D42A27DB-BD31-4B8C-83A1-F6EECF244321}">
                <p14:modId xmlns:p14="http://schemas.microsoft.com/office/powerpoint/2010/main" val="4111805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think-cell data - do not delete" hidden="1">
                        <a:extLst>
                          <a:ext uri="{FF2B5EF4-FFF2-40B4-BE49-F238E27FC236}">
                            <a16:creationId xmlns:a16="http://schemas.microsoft.com/office/drawing/2014/main" id="{32A03EDD-F030-291B-BE81-BF9DE321CA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 name="Content Placeholder 1">
            <a:extLst>
              <a:ext uri="{FF2B5EF4-FFF2-40B4-BE49-F238E27FC236}">
                <a16:creationId xmlns:a16="http://schemas.microsoft.com/office/drawing/2014/main" id="{715ED03C-D3A9-521E-7134-1FACE564F40F}"/>
              </a:ext>
            </a:extLst>
          </p:cNvPr>
          <p:cNvSpPr txBox="1">
            <a:spLocks/>
          </p:cNvSpPr>
          <p:nvPr/>
        </p:nvSpPr>
        <p:spPr>
          <a:xfrm>
            <a:off x="441325" y="5794201"/>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9</a:t>
            </a:r>
          </a:p>
        </p:txBody>
      </p:sp>
      <p:pic>
        <p:nvPicPr>
          <p:cNvPr id="13" name="Picture 12">
            <a:extLst>
              <a:ext uri="{FF2B5EF4-FFF2-40B4-BE49-F238E27FC236}">
                <a16:creationId xmlns:a16="http://schemas.microsoft.com/office/drawing/2014/main" id="{74DDB8D3-0D3E-4998-DA26-3080B29564A0}"/>
              </a:ext>
            </a:extLst>
          </p:cNvPr>
          <p:cNvPicPr>
            <a:picLocks noChangeAspect="1"/>
          </p:cNvPicPr>
          <p:nvPr/>
        </p:nvPicPr>
        <p:blipFill>
          <a:blip r:embed="rId6"/>
          <a:stretch>
            <a:fillRect/>
          </a:stretch>
        </p:blipFill>
        <p:spPr>
          <a:xfrm>
            <a:off x="7620000" y="0"/>
            <a:ext cx="4572000" cy="6858000"/>
          </a:xfrm>
          <a:prstGeom prst="rect">
            <a:avLst/>
          </a:prstGeom>
        </p:spPr>
      </p:pic>
      <p:sp>
        <p:nvSpPr>
          <p:cNvPr id="14" name="Rectangle 13">
            <a:extLst>
              <a:ext uri="{FF2B5EF4-FFF2-40B4-BE49-F238E27FC236}">
                <a16:creationId xmlns:a16="http://schemas.microsoft.com/office/drawing/2014/main" id="{A8A8DD37-9B73-46FB-C75B-2CEFA6483C22}"/>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6" name="Rectangle 15">
            <a:extLst>
              <a:ext uri="{FF2B5EF4-FFF2-40B4-BE49-F238E27FC236}">
                <a16:creationId xmlns:a16="http://schemas.microsoft.com/office/drawing/2014/main" id="{25A25F16-3DF9-5BEF-8F70-42FAB50A6BCE}"/>
              </a:ext>
            </a:extLst>
          </p:cNvPr>
          <p:cNvSpPr/>
          <p:nvPr/>
        </p:nvSpPr>
        <p:spPr>
          <a:xfrm>
            <a:off x="7619998" y="2398554"/>
            <a:ext cx="4129089"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a:spcAft>
                <a:spcPts val="600"/>
              </a:spcAft>
              <a:buBlip>
                <a:blip r:embed="rId7"/>
              </a:buBlip>
            </a:pPr>
            <a:r>
              <a:rPr lang="lv-LV" sz="1400">
                <a:solidFill>
                  <a:schemeClr val="tx1"/>
                </a:solidFill>
              </a:rPr>
              <a:t>Ja liekas, ka asiņošana turpinās, piespiediet brūci stiprāk, ja iespējams, uzliekot vēl marles salveti vai drēbes gabalu virs esošā materiāla.</a:t>
            </a:r>
          </a:p>
          <a:p>
            <a:pPr marL="285750" indent="-285750">
              <a:spcAft>
                <a:spcPts val="600"/>
              </a:spcAft>
              <a:buBlip>
                <a:blip r:embed="rId7"/>
              </a:buBlip>
            </a:pPr>
            <a:r>
              <a:rPr lang="lv-LV" sz="1400">
                <a:solidFill>
                  <a:schemeClr val="tx1"/>
                </a:solidFill>
              </a:rPr>
              <a:t>Nemazgā amputēto ķermeņa daļu. </a:t>
            </a:r>
          </a:p>
          <a:p>
            <a:pPr marL="285750" indent="-285750">
              <a:spcAft>
                <a:spcPts val="600"/>
              </a:spcAft>
              <a:buBlip>
                <a:blip r:embed="rId7"/>
              </a:buBlip>
            </a:pPr>
            <a:r>
              <a:rPr lang="lv-LV" sz="1400">
                <a:solidFill>
                  <a:schemeClr val="tx1"/>
                </a:solidFill>
              </a:rPr>
              <a:t>Neļauj amputētai ķermeņa daļai sasalt vai sasilt.</a:t>
            </a:r>
          </a:p>
          <a:p>
            <a:pPr marL="285750" indent="-285750">
              <a:spcAft>
                <a:spcPts val="600"/>
              </a:spcAft>
              <a:buBlip>
                <a:blip r:embed="rId7"/>
              </a:buBlip>
            </a:pPr>
            <a:r>
              <a:rPr lang="lv-LV" sz="1400">
                <a:solidFill>
                  <a:schemeClr val="tx1"/>
                </a:solidFill>
              </a:rPr>
              <a:t>Ko darīt ar amputēto ķermeņa daļu?</a:t>
            </a:r>
          </a:p>
          <a:p>
            <a:pPr marL="612000" indent="-342900">
              <a:spcAft>
                <a:spcPts val="600"/>
              </a:spcAft>
              <a:buFont typeface="+mj-lt"/>
              <a:buAutoNum type="arabicPeriod"/>
            </a:pPr>
            <a:r>
              <a:rPr lang="lv-LV" sz="1400">
                <a:solidFill>
                  <a:schemeClr val="tx1"/>
                </a:solidFill>
              </a:rPr>
              <a:t>Ietiniet to tīrā materiālā.</a:t>
            </a:r>
          </a:p>
          <a:p>
            <a:pPr marL="612000" indent="-342900">
              <a:spcAft>
                <a:spcPts val="600"/>
              </a:spcAft>
              <a:buFont typeface="+mj-lt"/>
              <a:buAutoNum type="arabicPeriod"/>
            </a:pPr>
            <a:r>
              <a:rPr lang="lv-LV" sz="1400">
                <a:solidFill>
                  <a:schemeClr val="tx1"/>
                </a:solidFill>
              </a:rPr>
              <a:t>Ielieciet to nebojātā plastikāta maisiņā.</a:t>
            </a:r>
          </a:p>
          <a:p>
            <a:pPr marL="612000" indent="-342900">
              <a:spcAft>
                <a:spcPts val="600"/>
              </a:spcAft>
              <a:buFont typeface="+mj-lt"/>
              <a:buAutoNum type="arabicPeriod"/>
            </a:pPr>
            <a:r>
              <a:rPr lang="lv-LV" sz="1400">
                <a:solidFill>
                  <a:schemeClr val="tx1"/>
                </a:solidFill>
              </a:rPr>
              <a:t>Uzglabājiet to vēsumā (piemēram, ledusskapja siltākajā daļā (optimālā temperatūra +4</a:t>
            </a:r>
            <a:r>
              <a:rPr lang="lv-LV" sz="1400" baseline="30000">
                <a:solidFill>
                  <a:schemeClr val="tx1"/>
                </a:solidFill>
              </a:rPr>
              <a:t>o</a:t>
            </a:r>
            <a:r>
              <a:rPr lang="lv-LV" sz="1400">
                <a:solidFill>
                  <a:schemeClr val="tx1"/>
                </a:solidFill>
              </a:rPr>
              <a:t>C) vai rezervuārā (maisiņš, spainis u.tml.) ar ledus un ūdens maisījumu). </a:t>
            </a:r>
          </a:p>
          <a:p>
            <a:pPr marL="612000" indent="-342900">
              <a:spcAft>
                <a:spcPts val="600"/>
              </a:spcAft>
              <a:buFont typeface="Arial" panose="020B0604020202020204" pitchFamily="34" charset="0"/>
              <a:buChar char="•"/>
            </a:pPr>
            <a:endParaRPr lang="lv-LV" sz="1400">
              <a:solidFill>
                <a:schemeClr val="tx1"/>
              </a:solidFill>
            </a:endParaRPr>
          </a:p>
        </p:txBody>
      </p:sp>
      <p:sp>
        <p:nvSpPr>
          <p:cNvPr id="17" name="TextBox 16">
            <a:extLst>
              <a:ext uri="{FF2B5EF4-FFF2-40B4-BE49-F238E27FC236}">
                <a16:creationId xmlns:a16="http://schemas.microsoft.com/office/drawing/2014/main" id="{8A128ED3-6DA0-A56A-B5CE-670FD97F3136}"/>
              </a:ext>
            </a:extLst>
          </p:cNvPr>
          <p:cNvSpPr txBox="1"/>
          <p:nvPr/>
        </p:nvSpPr>
        <p:spPr>
          <a:xfrm>
            <a:off x="1297953" y="2531791"/>
            <a:ext cx="5879131" cy="377825"/>
          </a:xfrm>
          <a:prstGeom prst="rect">
            <a:avLst/>
          </a:prstGeom>
          <a:noFill/>
        </p:spPr>
        <p:txBody>
          <a:bodyPr wrap="square" anchor="ctr">
            <a:noAutofit/>
          </a:bodyPr>
          <a:lstStyle/>
          <a:p>
            <a:pPr>
              <a:spcAft>
                <a:spcPts val="0"/>
              </a:spcAft>
            </a:pPr>
            <a:r>
              <a:rPr lang="lv-LV" sz="1400">
                <a:solidFill>
                  <a:schemeClr val="tx1"/>
                </a:solidFill>
              </a:rPr>
              <a:t>Uzvelciet rokās ūdens necaurlaidīgus cimdus.</a:t>
            </a:r>
          </a:p>
        </p:txBody>
      </p:sp>
      <p:sp>
        <p:nvSpPr>
          <p:cNvPr id="24" name="Content Placeholder 1">
            <a:extLst>
              <a:ext uri="{FF2B5EF4-FFF2-40B4-BE49-F238E27FC236}">
                <a16:creationId xmlns:a16="http://schemas.microsoft.com/office/drawing/2014/main" id="{7976A404-DCE0-7582-8C59-C64068CD6711}"/>
              </a:ext>
            </a:extLst>
          </p:cNvPr>
          <p:cNvSpPr txBox="1">
            <a:spLocks/>
          </p:cNvSpPr>
          <p:nvPr/>
        </p:nvSpPr>
        <p:spPr>
          <a:xfrm>
            <a:off x="441325" y="2941842"/>
            <a:ext cx="630238" cy="37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2</a:t>
            </a:r>
          </a:p>
        </p:txBody>
      </p:sp>
      <p:sp>
        <p:nvSpPr>
          <p:cNvPr id="25" name="Content Placeholder 1">
            <a:extLst>
              <a:ext uri="{FF2B5EF4-FFF2-40B4-BE49-F238E27FC236}">
                <a16:creationId xmlns:a16="http://schemas.microsoft.com/office/drawing/2014/main" id="{CAEF1BFA-4F5E-5ECC-B05E-7D8BEAB50690}"/>
              </a:ext>
            </a:extLst>
          </p:cNvPr>
          <p:cNvSpPr txBox="1">
            <a:spLocks/>
          </p:cNvSpPr>
          <p:nvPr/>
        </p:nvSpPr>
        <p:spPr>
          <a:xfrm>
            <a:off x="441325" y="3347393"/>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3</a:t>
            </a:r>
          </a:p>
        </p:txBody>
      </p:sp>
      <p:sp>
        <p:nvSpPr>
          <p:cNvPr id="26" name="Content Placeholder 1">
            <a:extLst>
              <a:ext uri="{FF2B5EF4-FFF2-40B4-BE49-F238E27FC236}">
                <a16:creationId xmlns:a16="http://schemas.microsoft.com/office/drawing/2014/main" id="{B81EDABD-64F3-49A6-E323-8C6185048BF8}"/>
              </a:ext>
            </a:extLst>
          </p:cNvPr>
          <p:cNvSpPr txBox="1">
            <a:spLocks/>
          </p:cNvSpPr>
          <p:nvPr/>
        </p:nvSpPr>
        <p:spPr>
          <a:xfrm>
            <a:off x="441325" y="3755194"/>
            <a:ext cx="630238" cy="37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4</a:t>
            </a:r>
          </a:p>
        </p:txBody>
      </p:sp>
      <p:sp>
        <p:nvSpPr>
          <p:cNvPr id="27" name="Content Placeholder 1">
            <a:extLst>
              <a:ext uri="{FF2B5EF4-FFF2-40B4-BE49-F238E27FC236}">
                <a16:creationId xmlns:a16="http://schemas.microsoft.com/office/drawing/2014/main" id="{E1CF9F97-1AD2-680B-5387-753B47FD3F5E}"/>
              </a:ext>
            </a:extLst>
          </p:cNvPr>
          <p:cNvSpPr txBox="1">
            <a:spLocks/>
          </p:cNvSpPr>
          <p:nvPr/>
        </p:nvSpPr>
        <p:spPr>
          <a:xfrm>
            <a:off x="441325" y="4162995"/>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5</a:t>
            </a:r>
          </a:p>
        </p:txBody>
      </p:sp>
      <p:sp>
        <p:nvSpPr>
          <p:cNvPr id="28" name="Content Placeholder 1">
            <a:extLst>
              <a:ext uri="{FF2B5EF4-FFF2-40B4-BE49-F238E27FC236}">
                <a16:creationId xmlns:a16="http://schemas.microsoft.com/office/drawing/2014/main" id="{05646684-037D-FB27-E857-FE90B3511B0B}"/>
              </a:ext>
            </a:extLst>
          </p:cNvPr>
          <p:cNvSpPr txBox="1">
            <a:spLocks/>
          </p:cNvSpPr>
          <p:nvPr/>
        </p:nvSpPr>
        <p:spPr>
          <a:xfrm>
            <a:off x="441325" y="4570796"/>
            <a:ext cx="630238" cy="37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6</a:t>
            </a:r>
          </a:p>
        </p:txBody>
      </p:sp>
      <p:sp>
        <p:nvSpPr>
          <p:cNvPr id="29" name="Content Placeholder 1">
            <a:extLst>
              <a:ext uri="{FF2B5EF4-FFF2-40B4-BE49-F238E27FC236}">
                <a16:creationId xmlns:a16="http://schemas.microsoft.com/office/drawing/2014/main" id="{42FA7EA8-D762-11AE-4131-888CA48F2894}"/>
              </a:ext>
            </a:extLst>
          </p:cNvPr>
          <p:cNvSpPr txBox="1">
            <a:spLocks/>
          </p:cNvSpPr>
          <p:nvPr/>
        </p:nvSpPr>
        <p:spPr>
          <a:xfrm>
            <a:off x="441325" y="4978597"/>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7</a:t>
            </a:r>
          </a:p>
        </p:txBody>
      </p:sp>
      <p:sp>
        <p:nvSpPr>
          <p:cNvPr id="30" name="Content Placeholder 1">
            <a:extLst>
              <a:ext uri="{FF2B5EF4-FFF2-40B4-BE49-F238E27FC236}">
                <a16:creationId xmlns:a16="http://schemas.microsoft.com/office/drawing/2014/main" id="{EC7F10C8-AA0B-EE40-2DBC-EE94DB6D204B}"/>
              </a:ext>
            </a:extLst>
          </p:cNvPr>
          <p:cNvSpPr txBox="1">
            <a:spLocks/>
          </p:cNvSpPr>
          <p:nvPr/>
        </p:nvSpPr>
        <p:spPr>
          <a:xfrm>
            <a:off x="441325" y="5386398"/>
            <a:ext cx="630238" cy="37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8</a:t>
            </a:r>
          </a:p>
        </p:txBody>
      </p:sp>
      <p:sp>
        <p:nvSpPr>
          <p:cNvPr id="31" name="TextBox 30">
            <a:extLst>
              <a:ext uri="{FF2B5EF4-FFF2-40B4-BE49-F238E27FC236}">
                <a16:creationId xmlns:a16="http://schemas.microsoft.com/office/drawing/2014/main" id="{3ED63378-9AD4-6F7B-AA83-0757250B3655}"/>
              </a:ext>
            </a:extLst>
          </p:cNvPr>
          <p:cNvSpPr txBox="1"/>
          <p:nvPr/>
        </p:nvSpPr>
        <p:spPr>
          <a:xfrm>
            <a:off x="1297953" y="2939592"/>
            <a:ext cx="5879131" cy="377825"/>
          </a:xfrm>
          <a:prstGeom prst="rect">
            <a:avLst/>
          </a:prstGeom>
          <a:noFill/>
        </p:spPr>
        <p:txBody>
          <a:bodyPr wrap="square" anchor="ctr">
            <a:noAutofit/>
          </a:bodyPr>
          <a:lstStyle/>
          <a:p>
            <a:pPr>
              <a:spcAft>
                <a:spcPts val="0"/>
              </a:spcAft>
            </a:pPr>
            <a:r>
              <a:rPr lang="lv-LV" sz="1400">
                <a:solidFill>
                  <a:schemeClr val="tx1"/>
                </a:solidFill>
              </a:rPr>
              <a:t>Atbrīvojiet asiņojošo vietu no apģērba.</a:t>
            </a:r>
          </a:p>
        </p:txBody>
      </p:sp>
      <p:sp>
        <p:nvSpPr>
          <p:cNvPr id="32" name="TextBox 31">
            <a:extLst>
              <a:ext uri="{FF2B5EF4-FFF2-40B4-BE49-F238E27FC236}">
                <a16:creationId xmlns:a16="http://schemas.microsoft.com/office/drawing/2014/main" id="{368867CA-1A92-D7C5-1747-4DA72A1913A3}"/>
              </a:ext>
            </a:extLst>
          </p:cNvPr>
          <p:cNvSpPr txBox="1"/>
          <p:nvPr/>
        </p:nvSpPr>
        <p:spPr>
          <a:xfrm>
            <a:off x="1297953" y="3755194"/>
            <a:ext cx="5879131" cy="377825"/>
          </a:xfrm>
          <a:prstGeom prst="rect">
            <a:avLst/>
          </a:prstGeom>
          <a:noFill/>
        </p:spPr>
        <p:txBody>
          <a:bodyPr wrap="square" anchor="ctr">
            <a:noAutofit/>
          </a:bodyPr>
          <a:lstStyle/>
          <a:p>
            <a:pPr>
              <a:spcAft>
                <a:spcPts val="0"/>
              </a:spcAft>
            </a:pPr>
            <a:r>
              <a:rPr lang="lv-LV" sz="1400">
                <a:solidFill>
                  <a:schemeClr val="tx1"/>
                </a:solidFill>
              </a:rPr>
              <a:t>Noguldiet cietušo guļus ar asiņojošo vietu uz augšu.</a:t>
            </a:r>
          </a:p>
        </p:txBody>
      </p:sp>
      <p:sp>
        <p:nvSpPr>
          <p:cNvPr id="33" name="TextBox 32">
            <a:extLst>
              <a:ext uri="{FF2B5EF4-FFF2-40B4-BE49-F238E27FC236}">
                <a16:creationId xmlns:a16="http://schemas.microsoft.com/office/drawing/2014/main" id="{C4D43AE7-C8F7-08A9-8215-1FA9C3039CB2}"/>
              </a:ext>
            </a:extLst>
          </p:cNvPr>
          <p:cNvSpPr txBox="1"/>
          <p:nvPr/>
        </p:nvSpPr>
        <p:spPr>
          <a:xfrm>
            <a:off x="1297953" y="4162995"/>
            <a:ext cx="5879131" cy="377825"/>
          </a:xfrm>
          <a:prstGeom prst="rect">
            <a:avLst/>
          </a:prstGeom>
          <a:noFill/>
        </p:spPr>
        <p:txBody>
          <a:bodyPr wrap="square" anchor="ctr">
            <a:noAutofit/>
          </a:bodyPr>
          <a:lstStyle/>
          <a:p>
            <a:pPr>
              <a:spcAft>
                <a:spcPts val="0"/>
              </a:spcAft>
            </a:pPr>
            <a:r>
              <a:rPr lang="lv-LV" sz="1400">
                <a:solidFill>
                  <a:schemeClr val="tx1"/>
                </a:solidFill>
              </a:rPr>
              <a:t>Izsauciet Neatliekamo palīdzību.</a:t>
            </a:r>
          </a:p>
        </p:txBody>
      </p:sp>
      <p:sp>
        <p:nvSpPr>
          <p:cNvPr id="34" name="TextBox 33">
            <a:extLst>
              <a:ext uri="{FF2B5EF4-FFF2-40B4-BE49-F238E27FC236}">
                <a16:creationId xmlns:a16="http://schemas.microsoft.com/office/drawing/2014/main" id="{A44E1DFA-63E7-6696-A512-35660567BC8E}"/>
              </a:ext>
            </a:extLst>
          </p:cNvPr>
          <p:cNvSpPr txBox="1"/>
          <p:nvPr/>
        </p:nvSpPr>
        <p:spPr>
          <a:xfrm>
            <a:off x="1297953" y="4978597"/>
            <a:ext cx="5879131" cy="377825"/>
          </a:xfrm>
          <a:prstGeom prst="rect">
            <a:avLst/>
          </a:prstGeom>
          <a:noFill/>
        </p:spPr>
        <p:txBody>
          <a:bodyPr wrap="square" anchor="ctr">
            <a:noAutofit/>
          </a:bodyPr>
          <a:lstStyle/>
          <a:p>
            <a:pPr>
              <a:spcAft>
                <a:spcPts val="0"/>
              </a:spcAft>
            </a:pPr>
            <a:r>
              <a:rPr lang="lv-LV" sz="1400">
                <a:solidFill>
                  <a:schemeClr val="tx1"/>
                </a:solidFill>
              </a:rPr>
              <a:t>Ja iespējams, uzlieciet pārsēju amputācijas brūcei, to cieši nosaitējot.</a:t>
            </a:r>
          </a:p>
        </p:txBody>
      </p:sp>
      <p:sp>
        <p:nvSpPr>
          <p:cNvPr id="35" name="TextBox 34">
            <a:extLst>
              <a:ext uri="{FF2B5EF4-FFF2-40B4-BE49-F238E27FC236}">
                <a16:creationId xmlns:a16="http://schemas.microsoft.com/office/drawing/2014/main" id="{0E3889E8-6CBA-B9D9-B3CF-37BF7D2AD588}"/>
              </a:ext>
            </a:extLst>
          </p:cNvPr>
          <p:cNvSpPr txBox="1"/>
          <p:nvPr/>
        </p:nvSpPr>
        <p:spPr>
          <a:xfrm>
            <a:off x="1297953" y="5386398"/>
            <a:ext cx="5879131" cy="377825"/>
          </a:xfrm>
          <a:prstGeom prst="rect">
            <a:avLst/>
          </a:prstGeom>
          <a:noFill/>
        </p:spPr>
        <p:txBody>
          <a:bodyPr wrap="square" anchor="ctr">
            <a:noAutofit/>
          </a:bodyPr>
          <a:lstStyle/>
          <a:p>
            <a:pPr>
              <a:spcAft>
                <a:spcPts val="0"/>
              </a:spcAft>
            </a:pPr>
            <a:r>
              <a:rPr lang="lv-LV" sz="1400">
                <a:solidFill>
                  <a:schemeClr val="tx1"/>
                </a:solidFill>
              </a:rPr>
              <a:t>Aprūpējiet, nomieriniet cietušo.</a:t>
            </a:r>
          </a:p>
        </p:txBody>
      </p:sp>
      <p:sp>
        <p:nvSpPr>
          <p:cNvPr id="36" name="TextBox 35">
            <a:extLst>
              <a:ext uri="{FF2B5EF4-FFF2-40B4-BE49-F238E27FC236}">
                <a16:creationId xmlns:a16="http://schemas.microsoft.com/office/drawing/2014/main" id="{1AE54009-C4AA-42A0-6C3E-5B591C01E340}"/>
              </a:ext>
            </a:extLst>
          </p:cNvPr>
          <p:cNvSpPr txBox="1"/>
          <p:nvPr/>
        </p:nvSpPr>
        <p:spPr>
          <a:xfrm>
            <a:off x="1297953" y="3347393"/>
            <a:ext cx="5879131" cy="377825"/>
          </a:xfrm>
          <a:prstGeom prst="rect">
            <a:avLst/>
          </a:prstGeom>
          <a:noFill/>
        </p:spPr>
        <p:txBody>
          <a:bodyPr wrap="square" anchor="ctr">
            <a:noAutofit/>
          </a:bodyPr>
          <a:lstStyle/>
          <a:p>
            <a:pPr>
              <a:spcAft>
                <a:spcPts val="0"/>
              </a:spcAft>
            </a:pPr>
            <a:r>
              <a:rPr lang="lv-LV" sz="1400">
                <a:solidFill>
                  <a:schemeClr val="tx1"/>
                </a:solidFill>
              </a:rPr>
              <a:t>Aizspiediet brūci.</a:t>
            </a:r>
          </a:p>
        </p:txBody>
      </p:sp>
      <p:sp>
        <p:nvSpPr>
          <p:cNvPr id="37" name="TextBox 36">
            <a:extLst>
              <a:ext uri="{FF2B5EF4-FFF2-40B4-BE49-F238E27FC236}">
                <a16:creationId xmlns:a16="http://schemas.microsoft.com/office/drawing/2014/main" id="{E0CFB0A4-DBFE-D718-60F7-B518BBA84C50}"/>
              </a:ext>
            </a:extLst>
          </p:cNvPr>
          <p:cNvSpPr txBox="1"/>
          <p:nvPr/>
        </p:nvSpPr>
        <p:spPr>
          <a:xfrm>
            <a:off x="1297953" y="4570796"/>
            <a:ext cx="5879131" cy="377825"/>
          </a:xfrm>
          <a:prstGeom prst="rect">
            <a:avLst/>
          </a:prstGeom>
          <a:noFill/>
        </p:spPr>
        <p:txBody>
          <a:bodyPr wrap="square" anchor="ctr">
            <a:noAutofit/>
          </a:bodyPr>
          <a:lstStyle/>
          <a:p>
            <a:pPr>
              <a:spcAft>
                <a:spcPts val="0"/>
              </a:spcAft>
            </a:pPr>
            <a:r>
              <a:rPr lang="lv-LV" sz="1400">
                <a:solidFill>
                  <a:schemeClr val="tx1"/>
                </a:solidFill>
              </a:rPr>
              <a:t>Turiet brūci aizspiestu līdz Neatliekamās palīdzības atbraukšanai.</a:t>
            </a:r>
          </a:p>
        </p:txBody>
      </p:sp>
      <p:cxnSp>
        <p:nvCxnSpPr>
          <p:cNvPr id="38" name="Straight Connector 37">
            <a:extLst>
              <a:ext uri="{FF2B5EF4-FFF2-40B4-BE49-F238E27FC236}">
                <a16:creationId xmlns:a16="http://schemas.microsoft.com/office/drawing/2014/main" id="{6C076618-B972-83FA-E91E-661AF9666BAC}"/>
              </a:ext>
            </a:extLst>
          </p:cNvPr>
          <p:cNvCxnSpPr>
            <a:cxnSpLocks/>
          </p:cNvCxnSpPr>
          <p:nvPr/>
        </p:nvCxnSpPr>
        <p:spPr>
          <a:xfrm>
            <a:off x="1297953" y="2923413"/>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39" name="Straight Connector 38">
            <a:extLst>
              <a:ext uri="{FF2B5EF4-FFF2-40B4-BE49-F238E27FC236}">
                <a16:creationId xmlns:a16="http://schemas.microsoft.com/office/drawing/2014/main" id="{AACFD71A-79C6-7413-5A81-A4AFD0F2E441}"/>
              </a:ext>
            </a:extLst>
          </p:cNvPr>
          <p:cNvCxnSpPr>
            <a:cxnSpLocks/>
          </p:cNvCxnSpPr>
          <p:nvPr/>
        </p:nvCxnSpPr>
        <p:spPr>
          <a:xfrm>
            <a:off x="1297953" y="3331214"/>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0" name="Straight Connector 39">
            <a:extLst>
              <a:ext uri="{FF2B5EF4-FFF2-40B4-BE49-F238E27FC236}">
                <a16:creationId xmlns:a16="http://schemas.microsoft.com/office/drawing/2014/main" id="{7ECA13E0-FA0D-1066-D038-F5C5F3ECD0DE}"/>
              </a:ext>
            </a:extLst>
          </p:cNvPr>
          <p:cNvCxnSpPr>
            <a:cxnSpLocks/>
          </p:cNvCxnSpPr>
          <p:nvPr/>
        </p:nvCxnSpPr>
        <p:spPr>
          <a:xfrm>
            <a:off x="1297953" y="3739015"/>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1" name="Straight Connector 40">
            <a:extLst>
              <a:ext uri="{FF2B5EF4-FFF2-40B4-BE49-F238E27FC236}">
                <a16:creationId xmlns:a16="http://schemas.microsoft.com/office/drawing/2014/main" id="{A235ECF1-4D0C-2C8E-6F14-C26295D9BD92}"/>
              </a:ext>
            </a:extLst>
          </p:cNvPr>
          <p:cNvCxnSpPr>
            <a:cxnSpLocks/>
          </p:cNvCxnSpPr>
          <p:nvPr/>
        </p:nvCxnSpPr>
        <p:spPr>
          <a:xfrm>
            <a:off x="1297953" y="4146816"/>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2" name="Straight Connector 41">
            <a:extLst>
              <a:ext uri="{FF2B5EF4-FFF2-40B4-BE49-F238E27FC236}">
                <a16:creationId xmlns:a16="http://schemas.microsoft.com/office/drawing/2014/main" id="{DBBD5D35-2B1D-A5AD-2FC3-6967356AB8AD}"/>
              </a:ext>
            </a:extLst>
          </p:cNvPr>
          <p:cNvCxnSpPr>
            <a:cxnSpLocks/>
          </p:cNvCxnSpPr>
          <p:nvPr/>
        </p:nvCxnSpPr>
        <p:spPr>
          <a:xfrm>
            <a:off x="1297953" y="4554617"/>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3" name="Straight Connector 42">
            <a:extLst>
              <a:ext uri="{FF2B5EF4-FFF2-40B4-BE49-F238E27FC236}">
                <a16:creationId xmlns:a16="http://schemas.microsoft.com/office/drawing/2014/main" id="{0FA02750-EEED-1294-ED4F-724A2B8FA344}"/>
              </a:ext>
            </a:extLst>
          </p:cNvPr>
          <p:cNvCxnSpPr>
            <a:cxnSpLocks/>
          </p:cNvCxnSpPr>
          <p:nvPr/>
        </p:nvCxnSpPr>
        <p:spPr>
          <a:xfrm>
            <a:off x="1297953" y="4962418"/>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4" name="Straight Connector 43">
            <a:extLst>
              <a:ext uri="{FF2B5EF4-FFF2-40B4-BE49-F238E27FC236}">
                <a16:creationId xmlns:a16="http://schemas.microsoft.com/office/drawing/2014/main" id="{9484F603-EFA7-CF51-3E25-A8C107ED1840}"/>
              </a:ext>
            </a:extLst>
          </p:cNvPr>
          <p:cNvCxnSpPr>
            <a:cxnSpLocks/>
          </p:cNvCxnSpPr>
          <p:nvPr/>
        </p:nvCxnSpPr>
        <p:spPr>
          <a:xfrm>
            <a:off x="1297953" y="5370219"/>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47" name="Content Placeholder 1">
            <a:extLst>
              <a:ext uri="{FF2B5EF4-FFF2-40B4-BE49-F238E27FC236}">
                <a16:creationId xmlns:a16="http://schemas.microsoft.com/office/drawing/2014/main" id="{BFB5D4D5-E118-6D3B-1F42-9A2DB96589BB}"/>
              </a:ext>
            </a:extLst>
          </p:cNvPr>
          <p:cNvSpPr txBox="1">
            <a:spLocks/>
          </p:cNvSpPr>
          <p:nvPr/>
        </p:nvSpPr>
        <p:spPr>
          <a:xfrm>
            <a:off x="441325" y="2531791"/>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1</a:t>
            </a:r>
          </a:p>
        </p:txBody>
      </p:sp>
      <p:cxnSp>
        <p:nvCxnSpPr>
          <p:cNvPr id="48" name="Straight Connector 47">
            <a:extLst>
              <a:ext uri="{FF2B5EF4-FFF2-40B4-BE49-F238E27FC236}">
                <a16:creationId xmlns:a16="http://schemas.microsoft.com/office/drawing/2014/main" id="{8C4D9F7B-7A3D-3318-A201-AF6934836B34}"/>
              </a:ext>
            </a:extLst>
          </p:cNvPr>
          <p:cNvCxnSpPr>
            <a:cxnSpLocks/>
            <a:stCxn id="49" idx="4"/>
            <a:endCxn id="55" idx="3"/>
          </p:cNvCxnSpPr>
          <p:nvPr/>
        </p:nvCxnSpPr>
        <p:spPr>
          <a:xfrm>
            <a:off x="864002" y="2793181"/>
            <a:ext cx="0" cy="3235886"/>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49" name="Oval 48">
            <a:extLst>
              <a:ext uri="{FF2B5EF4-FFF2-40B4-BE49-F238E27FC236}">
                <a16:creationId xmlns:a16="http://schemas.microsoft.com/office/drawing/2014/main" id="{CBA276DE-FC82-7DC9-C0DE-E912A56FECAA}"/>
              </a:ext>
            </a:extLst>
          </p:cNvPr>
          <p:cNvSpPr/>
          <p:nvPr/>
        </p:nvSpPr>
        <p:spPr>
          <a:xfrm>
            <a:off x="791612" y="2648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0" name="Isosceles Triangle 49">
            <a:extLst>
              <a:ext uri="{FF2B5EF4-FFF2-40B4-BE49-F238E27FC236}">
                <a16:creationId xmlns:a16="http://schemas.microsoft.com/office/drawing/2014/main" id="{2AAD1ED9-717D-5C71-0350-C325B79C9D61}"/>
              </a:ext>
            </a:extLst>
          </p:cNvPr>
          <p:cNvSpPr/>
          <p:nvPr/>
        </p:nvSpPr>
        <p:spPr>
          <a:xfrm flipV="1">
            <a:off x="690171" y="3724685"/>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1" name="Isosceles Triangle 50">
            <a:extLst>
              <a:ext uri="{FF2B5EF4-FFF2-40B4-BE49-F238E27FC236}">
                <a16:creationId xmlns:a16="http://schemas.microsoft.com/office/drawing/2014/main" id="{C85C2095-DDB1-C189-7E39-FB1EAB5D20D8}"/>
              </a:ext>
            </a:extLst>
          </p:cNvPr>
          <p:cNvSpPr/>
          <p:nvPr/>
        </p:nvSpPr>
        <p:spPr>
          <a:xfrm flipV="1">
            <a:off x="690171" y="4132593"/>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2" name="Isosceles Triangle 51">
            <a:extLst>
              <a:ext uri="{FF2B5EF4-FFF2-40B4-BE49-F238E27FC236}">
                <a16:creationId xmlns:a16="http://schemas.microsoft.com/office/drawing/2014/main" id="{0EA929E4-70A4-853F-054A-08FE8E8A7FD9}"/>
              </a:ext>
            </a:extLst>
          </p:cNvPr>
          <p:cNvSpPr/>
          <p:nvPr/>
        </p:nvSpPr>
        <p:spPr>
          <a:xfrm flipV="1">
            <a:off x="690171" y="4540501"/>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3" name="Isosceles Triangle 52">
            <a:extLst>
              <a:ext uri="{FF2B5EF4-FFF2-40B4-BE49-F238E27FC236}">
                <a16:creationId xmlns:a16="http://schemas.microsoft.com/office/drawing/2014/main" id="{18815909-39A8-057A-E892-017B041D3041}"/>
              </a:ext>
            </a:extLst>
          </p:cNvPr>
          <p:cNvSpPr/>
          <p:nvPr/>
        </p:nvSpPr>
        <p:spPr>
          <a:xfrm flipV="1">
            <a:off x="690171" y="4948409"/>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4" name="Isosceles Triangle 53">
            <a:extLst>
              <a:ext uri="{FF2B5EF4-FFF2-40B4-BE49-F238E27FC236}">
                <a16:creationId xmlns:a16="http://schemas.microsoft.com/office/drawing/2014/main" id="{4742A4B9-ADF3-C3D5-A7C3-0EF2BC771ED8}"/>
              </a:ext>
            </a:extLst>
          </p:cNvPr>
          <p:cNvSpPr/>
          <p:nvPr/>
        </p:nvSpPr>
        <p:spPr>
          <a:xfrm flipV="1">
            <a:off x="690171" y="5356317"/>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5" name="Isosceles Triangle 54">
            <a:extLst>
              <a:ext uri="{FF2B5EF4-FFF2-40B4-BE49-F238E27FC236}">
                <a16:creationId xmlns:a16="http://schemas.microsoft.com/office/drawing/2014/main" id="{366B0B67-EE35-2B7F-8A32-63885B0BAF18}"/>
              </a:ext>
            </a:extLst>
          </p:cNvPr>
          <p:cNvSpPr/>
          <p:nvPr/>
        </p:nvSpPr>
        <p:spPr>
          <a:xfrm flipV="1">
            <a:off x="809233" y="6029067"/>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6" name="Isosceles Triangle 55">
            <a:extLst>
              <a:ext uri="{FF2B5EF4-FFF2-40B4-BE49-F238E27FC236}">
                <a16:creationId xmlns:a16="http://schemas.microsoft.com/office/drawing/2014/main" id="{3EB4BEBD-8A82-553F-3D2B-78822FBDB433}"/>
              </a:ext>
            </a:extLst>
          </p:cNvPr>
          <p:cNvSpPr/>
          <p:nvPr/>
        </p:nvSpPr>
        <p:spPr>
          <a:xfrm flipV="1">
            <a:off x="690171" y="290886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7" name="Isosceles Triangle 56">
            <a:extLst>
              <a:ext uri="{FF2B5EF4-FFF2-40B4-BE49-F238E27FC236}">
                <a16:creationId xmlns:a16="http://schemas.microsoft.com/office/drawing/2014/main" id="{5624AA1C-D03F-87D7-BB7D-86AB8398DA97}"/>
              </a:ext>
            </a:extLst>
          </p:cNvPr>
          <p:cNvSpPr/>
          <p:nvPr/>
        </p:nvSpPr>
        <p:spPr>
          <a:xfrm flipV="1">
            <a:off x="690171" y="3316777"/>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a:lstStyle/>
          <a:p>
            <a:r>
              <a:rPr lang="lv-LV"/>
              <a:t>Kā rīkoties amputācijas gadījum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21</a:t>
            </a:fld>
            <a:endParaRPr lang="en-GB"/>
          </a:p>
        </p:txBody>
      </p:sp>
      <p:sp>
        <p:nvSpPr>
          <p:cNvPr id="58" name="Isosceles Triangle 57">
            <a:extLst>
              <a:ext uri="{FF2B5EF4-FFF2-40B4-BE49-F238E27FC236}">
                <a16:creationId xmlns:a16="http://schemas.microsoft.com/office/drawing/2014/main" id="{CF3A810F-BF24-BFF9-4540-5B519710E40B}"/>
              </a:ext>
            </a:extLst>
          </p:cNvPr>
          <p:cNvSpPr/>
          <p:nvPr/>
        </p:nvSpPr>
        <p:spPr>
          <a:xfrm flipV="1">
            <a:off x="690171" y="5764223"/>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cxnSp>
        <p:nvCxnSpPr>
          <p:cNvPr id="61" name="Straight Connector 60">
            <a:extLst>
              <a:ext uri="{FF2B5EF4-FFF2-40B4-BE49-F238E27FC236}">
                <a16:creationId xmlns:a16="http://schemas.microsoft.com/office/drawing/2014/main" id="{804E26DD-A68F-F1A2-ED8C-EB65BFE83319}"/>
              </a:ext>
            </a:extLst>
          </p:cNvPr>
          <p:cNvCxnSpPr>
            <a:cxnSpLocks/>
          </p:cNvCxnSpPr>
          <p:nvPr/>
        </p:nvCxnSpPr>
        <p:spPr>
          <a:xfrm>
            <a:off x="1297953" y="5778020"/>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62" name="TextBox 61">
            <a:extLst>
              <a:ext uri="{FF2B5EF4-FFF2-40B4-BE49-F238E27FC236}">
                <a16:creationId xmlns:a16="http://schemas.microsoft.com/office/drawing/2014/main" id="{05D1587F-2220-61CF-C510-7EBB4EE50944}"/>
              </a:ext>
            </a:extLst>
          </p:cNvPr>
          <p:cNvSpPr txBox="1"/>
          <p:nvPr/>
        </p:nvSpPr>
        <p:spPr>
          <a:xfrm>
            <a:off x="1297953" y="5794201"/>
            <a:ext cx="5879131" cy="377825"/>
          </a:xfrm>
          <a:prstGeom prst="rect">
            <a:avLst/>
          </a:prstGeom>
          <a:noFill/>
        </p:spPr>
        <p:txBody>
          <a:bodyPr wrap="square" anchor="ctr">
            <a:noAutofit/>
          </a:bodyPr>
          <a:lstStyle/>
          <a:p>
            <a:pPr>
              <a:spcAft>
                <a:spcPts val="0"/>
              </a:spcAft>
            </a:pPr>
            <a:r>
              <a:rPr lang="lv-LV" sz="1400">
                <a:solidFill>
                  <a:schemeClr val="tx1"/>
                </a:solidFill>
              </a:rPr>
              <a:t>Veiciet atdzīvināšanas pasākumus, ja nepieciešams.</a:t>
            </a:r>
          </a:p>
        </p:txBody>
      </p:sp>
      <p:sp>
        <p:nvSpPr>
          <p:cNvPr id="64" name="Rectangle 63">
            <a:extLst>
              <a:ext uri="{FF2B5EF4-FFF2-40B4-BE49-F238E27FC236}">
                <a16:creationId xmlns:a16="http://schemas.microsoft.com/office/drawing/2014/main" id="{0A0D3723-5FC7-C936-25AC-39631D999DD6}"/>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65" name="Rectangle 64">
            <a:extLst>
              <a:ext uri="{FF2B5EF4-FFF2-40B4-BE49-F238E27FC236}">
                <a16:creationId xmlns:a16="http://schemas.microsoft.com/office/drawing/2014/main" id="{3CC8ECC6-83AA-36F7-7A5F-D4A307C0537E}"/>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66" name="Content Placeholder 1">
            <a:extLst>
              <a:ext uri="{FF2B5EF4-FFF2-40B4-BE49-F238E27FC236}">
                <a16:creationId xmlns:a16="http://schemas.microsoft.com/office/drawing/2014/main" id="{DE3B362D-5D33-2569-90E9-0FB04D189092}"/>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67" name="Content Placeholder 1">
            <a:extLst>
              <a:ext uri="{FF2B5EF4-FFF2-40B4-BE49-F238E27FC236}">
                <a16:creationId xmlns:a16="http://schemas.microsoft.com/office/drawing/2014/main" id="{5FEACEB3-5308-52F2-E30F-84F09C9B8E8C}"/>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68" name="Content Placeholder 1">
            <a:extLst>
              <a:ext uri="{FF2B5EF4-FFF2-40B4-BE49-F238E27FC236}">
                <a16:creationId xmlns:a16="http://schemas.microsoft.com/office/drawing/2014/main" id="{E306B251-3F5F-005F-AEFB-3CB241FE32C8}"/>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69" name="Content Placeholder 1">
            <a:extLst>
              <a:ext uri="{FF2B5EF4-FFF2-40B4-BE49-F238E27FC236}">
                <a16:creationId xmlns:a16="http://schemas.microsoft.com/office/drawing/2014/main" id="{104F4EFD-C9CA-3F71-44EE-FFB520C2BA98}"/>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70" name="Google Shape;760;p79">
            <a:extLst>
              <a:ext uri="{FF2B5EF4-FFF2-40B4-BE49-F238E27FC236}">
                <a16:creationId xmlns:a16="http://schemas.microsoft.com/office/drawing/2014/main" id="{3F5BD87C-F15B-0669-254D-9ED7461E67A3}"/>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71" name="Google Shape;794;p79">
            <a:extLst>
              <a:ext uri="{FF2B5EF4-FFF2-40B4-BE49-F238E27FC236}">
                <a16:creationId xmlns:a16="http://schemas.microsoft.com/office/drawing/2014/main" id="{9C1AF4BA-6826-C17F-A9FE-5541CDF4BFC4}"/>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 name="Rectangle 1">
            <a:extLst>
              <a:ext uri="{FF2B5EF4-FFF2-40B4-BE49-F238E27FC236}">
                <a16:creationId xmlns:a16="http://schemas.microsoft.com/office/drawing/2014/main" id="{30AAC524-3205-5590-45B9-6037C0A5DBDE}"/>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18" name="Group 17">
            <a:extLst>
              <a:ext uri="{FF2B5EF4-FFF2-40B4-BE49-F238E27FC236}">
                <a16:creationId xmlns:a16="http://schemas.microsoft.com/office/drawing/2014/main" id="{C7198D1F-9FC5-DEFE-2837-C0311E2BC589}"/>
              </a:ext>
            </a:extLst>
          </p:cNvPr>
          <p:cNvGrpSpPr/>
          <p:nvPr/>
        </p:nvGrpSpPr>
        <p:grpSpPr>
          <a:xfrm>
            <a:off x="9842140" y="372216"/>
            <a:ext cx="1667215" cy="217488"/>
            <a:chOff x="9842140" y="372216"/>
            <a:chExt cx="1667215" cy="217488"/>
          </a:xfrm>
        </p:grpSpPr>
        <p:sp>
          <p:nvSpPr>
            <p:cNvPr id="19" name="TextBox 18">
              <a:extLst>
                <a:ext uri="{FF2B5EF4-FFF2-40B4-BE49-F238E27FC236}">
                  <a16:creationId xmlns:a16="http://schemas.microsoft.com/office/drawing/2014/main" id="{8B30160C-0B9C-011A-347F-A75919D148DF}"/>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Stipra asiņošana</a:t>
              </a:r>
            </a:p>
          </p:txBody>
        </p:sp>
        <p:sp>
          <p:nvSpPr>
            <p:cNvPr id="20" name="Freeform 49">
              <a:extLst>
                <a:ext uri="{FF2B5EF4-FFF2-40B4-BE49-F238E27FC236}">
                  <a16:creationId xmlns:a16="http://schemas.microsoft.com/office/drawing/2014/main" id="{A52A24D5-E458-5184-5394-D531237F5174}"/>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15" name="Group 14">
            <a:extLst>
              <a:ext uri="{FF2B5EF4-FFF2-40B4-BE49-F238E27FC236}">
                <a16:creationId xmlns:a16="http://schemas.microsoft.com/office/drawing/2014/main" id="{64CAE25B-E0D4-03B3-2D95-930F60A4D771}"/>
              </a:ext>
            </a:extLst>
          </p:cNvPr>
          <p:cNvGrpSpPr/>
          <p:nvPr/>
        </p:nvGrpSpPr>
        <p:grpSpPr>
          <a:xfrm>
            <a:off x="9122935" y="126781"/>
            <a:ext cx="2626153" cy="217488"/>
            <a:chOff x="9122935" y="126781"/>
            <a:chExt cx="2626153" cy="217488"/>
          </a:xfrm>
        </p:grpSpPr>
        <p:sp>
          <p:nvSpPr>
            <p:cNvPr id="21" name="Rectangle 20">
              <a:extLst>
                <a:ext uri="{FF2B5EF4-FFF2-40B4-BE49-F238E27FC236}">
                  <a16:creationId xmlns:a16="http://schemas.microsoft.com/office/drawing/2014/main" id="{7B1BB4A5-3141-1196-CFA4-50272DB76E57}"/>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22" name="Rectangle 21">
              <a:extLst>
                <a:ext uri="{FF2B5EF4-FFF2-40B4-BE49-F238E27FC236}">
                  <a16:creationId xmlns:a16="http://schemas.microsoft.com/office/drawing/2014/main" id="{78C6E0CE-4EE4-C6D2-EB4E-8112BA265A52}"/>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BC321E48-2634-0BE5-6802-6F57CBC9896D}"/>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45" name="Rectangle 44">
              <a:extLst>
                <a:ext uri="{FF2B5EF4-FFF2-40B4-BE49-F238E27FC236}">
                  <a16:creationId xmlns:a16="http://schemas.microsoft.com/office/drawing/2014/main" id="{45D39117-FF95-CEB1-22AC-A944FCC7ED53}"/>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46" name="Rectangle 45">
              <a:extLst>
                <a:ext uri="{FF2B5EF4-FFF2-40B4-BE49-F238E27FC236}">
                  <a16:creationId xmlns:a16="http://schemas.microsoft.com/office/drawing/2014/main" id="{B94635AF-4CB8-B780-FD3D-55995FF672BB}"/>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60" name="Rectangle 59">
              <a:extLst>
                <a:ext uri="{FF2B5EF4-FFF2-40B4-BE49-F238E27FC236}">
                  <a16:creationId xmlns:a16="http://schemas.microsoft.com/office/drawing/2014/main" id="{F0CBCE12-F8EB-A08E-44AB-13F9BDF70244}"/>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34294701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5DFC3D6-83B9-8E99-59C1-D8F51AA95124}"/>
              </a:ext>
            </a:extLst>
          </p:cNvPr>
          <p:cNvGraphicFramePr>
            <a:graphicFrameLocks noChangeAspect="1"/>
          </p:cNvGraphicFramePr>
          <p:nvPr>
            <p:custDataLst>
              <p:tags r:id="rId1"/>
            </p:custDataLst>
            <p:extLst>
              <p:ext uri="{D42A27DB-BD31-4B8C-83A1-F6EECF244321}">
                <p14:modId xmlns:p14="http://schemas.microsoft.com/office/powerpoint/2010/main" val="1280756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45DFC3D6-83B9-8E99-59C1-D8F51AA951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a:lstStyle/>
          <a:p>
            <a:r>
              <a:rPr lang="lv-LV"/>
              <a:t>Citi gadījumi</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22</a:t>
            </a:fld>
            <a:endParaRPr lang="en-GB"/>
          </a:p>
        </p:txBody>
      </p:sp>
      <p:sp>
        <p:nvSpPr>
          <p:cNvPr id="33" name="Content Placeholder 1">
            <a:extLst>
              <a:ext uri="{FF2B5EF4-FFF2-40B4-BE49-F238E27FC236}">
                <a16:creationId xmlns:a16="http://schemas.microsoft.com/office/drawing/2014/main" id="{93FD5216-5960-E975-E5B0-792A3A7ADDAB}"/>
              </a:ext>
            </a:extLst>
          </p:cNvPr>
          <p:cNvSpPr txBox="1">
            <a:spLocks/>
          </p:cNvSpPr>
          <p:nvPr/>
        </p:nvSpPr>
        <p:spPr>
          <a:xfrm>
            <a:off x="441325" y="3144673"/>
            <a:ext cx="630238"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2</a:t>
            </a:r>
          </a:p>
        </p:txBody>
      </p:sp>
      <p:sp>
        <p:nvSpPr>
          <p:cNvPr id="34" name="Content Placeholder 1">
            <a:extLst>
              <a:ext uri="{FF2B5EF4-FFF2-40B4-BE49-F238E27FC236}">
                <a16:creationId xmlns:a16="http://schemas.microsoft.com/office/drawing/2014/main" id="{DBF09A9E-1B6D-1011-0B1D-B5D707EB04BA}"/>
              </a:ext>
            </a:extLst>
          </p:cNvPr>
          <p:cNvSpPr txBox="1">
            <a:spLocks/>
          </p:cNvSpPr>
          <p:nvPr/>
        </p:nvSpPr>
        <p:spPr>
          <a:xfrm>
            <a:off x="441325" y="3757555"/>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3</a:t>
            </a:r>
          </a:p>
        </p:txBody>
      </p:sp>
      <p:sp>
        <p:nvSpPr>
          <p:cNvPr id="35" name="Content Placeholder 1">
            <a:extLst>
              <a:ext uri="{FF2B5EF4-FFF2-40B4-BE49-F238E27FC236}">
                <a16:creationId xmlns:a16="http://schemas.microsoft.com/office/drawing/2014/main" id="{0F6CD3B8-1FC1-0750-DEE0-591BD614C49B}"/>
              </a:ext>
            </a:extLst>
          </p:cNvPr>
          <p:cNvSpPr txBox="1">
            <a:spLocks/>
          </p:cNvSpPr>
          <p:nvPr/>
        </p:nvSpPr>
        <p:spPr>
          <a:xfrm>
            <a:off x="441325" y="4370437"/>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4</a:t>
            </a:r>
          </a:p>
        </p:txBody>
      </p:sp>
      <p:sp>
        <p:nvSpPr>
          <p:cNvPr id="36" name="Content Placeholder 1">
            <a:extLst>
              <a:ext uri="{FF2B5EF4-FFF2-40B4-BE49-F238E27FC236}">
                <a16:creationId xmlns:a16="http://schemas.microsoft.com/office/drawing/2014/main" id="{7A547E0B-19BF-76D6-6846-6916EAC86E10}"/>
              </a:ext>
            </a:extLst>
          </p:cNvPr>
          <p:cNvSpPr txBox="1">
            <a:spLocks/>
          </p:cNvSpPr>
          <p:nvPr/>
        </p:nvSpPr>
        <p:spPr>
          <a:xfrm>
            <a:off x="441325" y="4835423"/>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5</a:t>
            </a:r>
          </a:p>
        </p:txBody>
      </p:sp>
      <p:sp>
        <p:nvSpPr>
          <p:cNvPr id="37" name="Content Placeholder 1">
            <a:extLst>
              <a:ext uri="{FF2B5EF4-FFF2-40B4-BE49-F238E27FC236}">
                <a16:creationId xmlns:a16="http://schemas.microsoft.com/office/drawing/2014/main" id="{39805D96-5245-1291-390C-00303ECA057C}"/>
              </a:ext>
            </a:extLst>
          </p:cNvPr>
          <p:cNvSpPr txBox="1">
            <a:spLocks/>
          </p:cNvSpPr>
          <p:nvPr/>
        </p:nvSpPr>
        <p:spPr>
          <a:xfrm>
            <a:off x="441325" y="5444409"/>
            <a:ext cx="630238" cy="727792"/>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6</a:t>
            </a:r>
          </a:p>
        </p:txBody>
      </p:sp>
      <p:sp>
        <p:nvSpPr>
          <p:cNvPr id="54" name="Content Placeholder 1">
            <a:extLst>
              <a:ext uri="{FF2B5EF4-FFF2-40B4-BE49-F238E27FC236}">
                <a16:creationId xmlns:a16="http://schemas.microsoft.com/office/drawing/2014/main" id="{B5D0EDB5-E00A-1D0F-F13E-491961E8CD41}"/>
              </a:ext>
            </a:extLst>
          </p:cNvPr>
          <p:cNvSpPr txBox="1">
            <a:spLocks/>
          </p:cNvSpPr>
          <p:nvPr/>
        </p:nvSpPr>
        <p:spPr>
          <a:xfrm>
            <a:off x="441325" y="2531791"/>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1</a:t>
            </a:r>
          </a:p>
        </p:txBody>
      </p:sp>
      <p:sp>
        <p:nvSpPr>
          <p:cNvPr id="26" name="Rectangle 25">
            <a:extLst>
              <a:ext uri="{FF2B5EF4-FFF2-40B4-BE49-F238E27FC236}">
                <a16:creationId xmlns:a16="http://schemas.microsoft.com/office/drawing/2014/main" id="{53921BE1-AA0B-33DD-82D0-CCB1AC795236}"/>
              </a:ext>
            </a:extLst>
          </p:cNvPr>
          <p:cNvSpPr/>
          <p:nvPr/>
        </p:nvSpPr>
        <p:spPr>
          <a:xfrm>
            <a:off x="442914" y="1822554"/>
            <a:ext cx="3529012"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Asiņošana no deguna</a:t>
            </a:r>
          </a:p>
        </p:txBody>
      </p:sp>
      <p:sp>
        <p:nvSpPr>
          <p:cNvPr id="27" name="Content Placeholder 1">
            <a:extLst>
              <a:ext uri="{FF2B5EF4-FFF2-40B4-BE49-F238E27FC236}">
                <a16:creationId xmlns:a16="http://schemas.microsoft.com/office/drawing/2014/main" id="{4BD59986-9361-5100-003A-62EE6D8B87CC}"/>
              </a:ext>
            </a:extLst>
          </p:cNvPr>
          <p:cNvSpPr txBox="1">
            <a:spLocks/>
          </p:cNvSpPr>
          <p:nvPr/>
        </p:nvSpPr>
        <p:spPr>
          <a:xfrm>
            <a:off x="3395926"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28" name="Content Placeholder 1">
            <a:extLst>
              <a:ext uri="{FF2B5EF4-FFF2-40B4-BE49-F238E27FC236}">
                <a16:creationId xmlns:a16="http://schemas.microsoft.com/office/drawing/2014/main" id="{9370CB65-9630-D59F-776F-39693BC60245}"/>
              </a:ext>
            </a:extLst>
          </p:cNvPr>
          <p:cNvSpPr txBox="1">
            <a:spLocks/>
          </p:cNvSpPr>
          <p:nvPr/>
        </p:nvSpPr>
        <p:spPr>
          <a:xfrm>
            <a:off x="3324538"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2" name="TextBox 31">
            <a:extLst>
              <a:ext uri="{FF2B5EF4-FFF2-40B4-BE49-F238E27FC236}">
                <a16:creationId xmlns:a16="http://schemas.microsoft.com/office/drawing/2014/main" id="{F6FD7F51-FCB6-23F6-84BA-89F9C3713AC4}"/>
              </a:ext>
            </a:extLst>
          </p:cNvPr>
          <p:cNvSpPr txBox="1"/>
          <p:nvPr/>
        </p:nvSpPr>
        <p:spPr>
          <a:xfrm>
            <a:off x="1297953" y="2532063"/>
            <a:ext cx="2673973" cy="576263"/>
          </a:xfrm>
          <a:prstGeom prst="rect">
            <a:avLst/>
          </a:prstGeom>
          <a:noFill/>
        </p:spPr>
        <p:txBody>
          <a:bodyPr wrap="square" anchor="ctr">
            <a:noAutofit/>
          </a:bodyPr>
          <a:lstStyle/>
          <a:p>
            <a:pPr>
              <a:spcAft>
                <a:spcPts val="0"/>
              </a:spcAft>
            </a:pPr>
            <a:r>
              <a:rPr lang="lv-LV" sz="1400">
                <a:solidFill>
                  <a:schemeClr val="tx1"/>
                </a:solidFill>
              </a:rPr>
              <a:t>Uzvelciet rokās ūdens necaurlaidīgus cimdus.</a:t>
            </a:r>
          </a:p>
        </p:txBody>
      </p:sp>
      <p:sp>
        <p:nvSpPr>
          <p:cNvPr id="40" name="TextBox 39">
            <a:extLst>
              <a:ext uri="{FF2B5EF4-FFF2-40B4-BE49-F238E27FC236}">
                <a16:creationId xmlns:a16="http://schemas.microsoft.com/office/drawing/2014/main" id="{30F089A7-894F-F509-643F-95DAD0568EBA}"/>
              </a:ext>
            </a:extLst>
          </p:cNvPr>
          <p:cNvSpPr txBox="1"/>
          <p:nvPr/>
        </p:nvSpPr>
        <p:spPr>
          <a:xfrm>
            <a:off x="1297953" y="3144838"/>
            <a:ext cx="2673973" cy="576263"/>
          </a:xfrm>
          <a:prstGeom prst="rect">
            <a:avLst/>
          </a:prstGeom>
          <a:noFill/>
        </p:spPr>
        <p:txBody>
          <a:bodyPr wrap="square" anchor="ctr">
            <a:noAutofit/>
          </a:bodyPr>
          <a:lstStyle/>
          <a:p>
            <a:pPr>
              <a:spcAft>
                <a:spcPts val="0"/>
              </a:spcAft>
            </a:pPr>
            <a:r>
              <a:rPr lang="lv-LV" sz="1400">
                <a:solidFill>
                  <a:schemeClr val="tx1"/>
                </a:solidFill>
              </a:rPr>
              <a:t>Lieciet cietušajam aizspiest asiņojošo nāsi.</a:t>
            </a:r>
          </a:p>
        </p:txBody>
      </p:sp>
      <p:sp>
        <p:nvSpPr>
          <p:cNvPr id="41" name="TextBox 40">
            <a:extLst>
              <a:ext uri="{FF2B5EF4-FFF2-40B4-BE49-F238E27FC236}">
                <a16:creationId xmlns:a16="http://schemas.microsoft.com/office/drawing/2014/main" id="{FD5F1B36-E761-5F42-CEFD-455451E36516}"/>
              </a:ext>
            </a:extLst>
          </p:cNvPr>
          <p:cNvSpPr txBox="1"/>
          <p:nvPr/>
        </p:nvSpPr>
        <p:spPr>
          <a:xfrm>
            <a:off x="1297953" y="4358480"/>
            <a:ext cx="2673973" cy="432000"/>
          </a:xfrm>
          <a:prstGeom prst="rect">
            <a:avLst/>
          </a:prstGeom>
          <a:noFill/>
        </p:spPr>
        <p:txBody>
          <a:bodyPr wrap="square" anchor="ctr">
            <a:noAutofit/>
          </a:bodyPr>
          <a:lstStyle/>
          <a:p>
            <a:pPr>
              <a:spcAft>
                <a:spcPts val="0"/>
              </a:spcAft>
            </a:pPr>
            <a:r>
              <a:rPr lang="lv-LV" sz="1400">
                <a:solidFill>
                  <a:schemeClr val="tx1"/>
                </a:solidFill>
              </a:rPr>
              <a:t>Apsēdiniet cietušo.</a:t>
            </a:r>
          </a:p>
        </p:txBody>
      </p:sp>
      <p:sp>
        <p:nvSpPr>
          <p:cNvPr id="42" name="TextBox 41">
            <a:extLst>
              <a:ext uri="{FF2B5EF4-FFF2-40B4-BE49-F238E27FC236}">
                <a16:creationId xmlns:a16="http://schemas.microsoft.com/office/drawing/2014/main" id="{A266A737-1E78-D4EB-776C-495C1EBB4F47}"/>
              </a:ext>
            </a:extLst>
          </p:cNvPr>
          <p:cNvSpPr txBox="1"/>
          <p:nvPr/>
        </p:nvSpPr>
        <p:spPr>
          <a:xfrm>
            <a:off x="1297953" y="4835160"/>
            <a:ext cx="2673973" cy="576263"/>
          </a:xfrm>
          <a:prstGeom prst="rect">
            <a:avLst/>
          </a:prstGeom>
          <a:noFill/>
        </p:spPr>
        <p:txBody>
          <a:bodyPr wrap="square" anchor="ctr">
            <a:noAutofit/>
          </a:bodyPr>
          <a:lstStyle/>
          <a:p>
            <a:pPr>
              <a:spcAft>
                <a:spcPts val="0"/>
              </a:spcAft>
            </a:pPr>
            <a:r>
              <a:rPr lang="lv-LV" sz="1400">
                <a:solidFill>
                  <a:schemeClr val="tx1"/>
                </a:solidFill>
              </a:rPr>
              <a:t>Pielieciet aukstumu pie </a:t>
            </a:r>
            <a:endParaRPr lang="en-US" sz="1400">
              <a:solidFill>
                <a:schemeClr val="tx1"/>
              </a:solidFill>
            </a:endParaRPr>
          </a:p>
          <a:p>
            <a:pPr>
              <a:spcAft>
                <a:spcPts val="0"/>
              </a:spcAft>
            </a:pPr>
            <a:r>
              <a:rPr lang="lv-LV" sz="1400">
                <a:solidFill>
                  <a:schemeClr val="tx1"/>
                </a:solidFill>
              </a:rPr>
              <a:t>deguna un pakauša.</a:t>
            </a:r>
          </a:p>
        </p:txBody>
      </p:sp>
      <p:sp>
        <p:nvSpPr>
          <p:cNvPr id="45" name="TextBox 44">
            <a:extLst>
              <a:ext uri="{FF2B5EF4-FFF2-40B4-BE49-F238E27FC236}">
                <a16:creationId xmlns:a16="http://schemas.microsoft.com/office/drawing/2014/main" id="{11C053ED-4F43-3B06-3803-DF09CC3119C2}"/>
              </a:ext>
            </a:extLst>
          </p:cNvPr>
          <p:cNvSpPr txBox="1"/>
          <p:nvPr/>
        </p:nvSpPr>
        <p:spPr>
          <a:xfrm>
            <a:off x="1297953" y="3757613"/>
            <a:ext cx="2673973" cy="576263"/>
          </a:xfrm>
          <a:prstGeom prst="rect">
            <a:avLst/>
          </a:prstGeom>
          <a:noFill/>
        </p:spPr>
        <p:txBody>
          <a:bodyPr wrap="square" anchor="ctr">
            <a:noAutofit/>
          </a:bodyPr>
          <a:lstStyle/>
          <a:p>
            <a:pPr>
              <a:spcAft>
                <a:spcPts val="0"/>
              </a:spcAft>
            </a:pPr>
            <a:r>
              <a:rPr lang="lv-LV" sz="1400">
                <a:solidFill>
                  <a:schemeClr val="tx1"/>
                </a:solidFill>
              </a:rPr>
              <a:t>Lieciet cietušajam noliekt galvu uz priekšu.</a:t>
            </a:r>
          </a:p>
        </p:txBody>
      </p:sp>
      <p:sp>
        <p:nvSpPr>
          <p:cNvPr id="46" name="TextBox 45">
            <a:extLst>
              <a:ext uri="{FF2B5EF4-FFF2-40B4-BE49-F238E27FC236}">
                <a16:creationId xmlns:a16="http://schemas.microsoft.com/office/drawing/2014/main" id="{87468ECB-778E-5632-E26A-146462E680C5}"/>
              </a:ext>
            </a:extLst>
          </p:cNvPr>
          <p:cNvSpPr txBox="1"/>
          <p:nvPr/>
        </p:nvSpPr>
        <p:spPr>
          <a:xfrm>
            <a:off x="1297953" y="5444078"/>
            <a:ext cx="2673973" cy="728124"/>
          </a:xfrm>
          <a:prstGeom prst="rect">
            <a:avLst/>
          </a:prstGeom>
          <a:noFill/>
        </p:spPr>
        <p:txBody>
          <a:bodyPr wrap="square" anchor="ctr">
            <a:noAutofit/>
          </a:bodyPr>
          <a:lstStyle/>
          <a:p>
            <a:pPr>
              <a:spcAft>
                <a:spcPts val="0"/>
              </a:spcAft>
            </a:pPr>
            <a:r>
              <a:rPr lang="lv-LV" sz="1400">
                <a:solidFill>
                  <a:schemeClr val="tx1"/>
                </a:solidFill>
              </a:rPr>
              <a:t>Ja asiņošana turpinās ilgāk par 20 minūtēm, izsauciet Neatliekamo palīdzību.</a:t>
            </a:r>
          </a:p>
        </p:txBody>
      </p:sp>
      <p:cxnSp>
        <p:nvCxnSpPr>
          <p:cNvPr id="47" name="Straight Connector 46">
            <a:extLst>
              <a:ext uri="{FF2B5EF4-FFF2-40B4-BE49-F238E27FC236}">
                <a16:creationId xmlns:a16="http://schemas.microsoft.com/office/drawing/2014/main" id="{75F516F0-AA92-7B38-0A79-CD97D2B45E94}"/>
              </a:ext>
            </a:extLst>
          </p:cNvPr>
          <p:cNvCxnSpPr>
            <a:cxnSpLocks/>
          </p:cNvCxnSpPr>
          <p:nvPr/>
        </p:nvCxnSpPr>
        <p:spPr>
          <a:xfrm>
            <a:off x="1297953" y="3125391"/>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8" name="Straight Connector 47">
            <a:extLst>
              <a:ext uri="{FF2B5EF4-FFF2-40B4-BE49-F238E27FC236}">
                <a16:creationId xmlns:a16="http://schemas.microsoft.com/office/drawing/2014/main" id="{1E9D0D5C-B75F-8EE8-8770-9E84B26DEFEA}"/>
              </a:ext>
            </a:extLst>
          </p:cNvPr>
          <p:cNvCxnSpPr>
            <a:cxnSpLocks/>
          </p:cNvCxnSpPr>
          <p:nvPr/>
        </p:nvCxnSpPr>
        <p:spPr>
          <a:xfrm>
            <a:off x="1297954" y="3738166"/>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9" name="Straight Connector 48">
            <a:extLst>
              <a:ext uri="{FF2B5EF4-FFF2-40B4-BE49-F238E27FC236}">
                <a16:creationId xmlns:a16="http://schemas.microsoft.com/office/drawing/2014/main" id="{CB33DCF4-5BB0-8786-EFBF-C12964EE6DEB}"/>
              </a:ext>
            </a:extLst>
          </p:cNvPr>
          <p:cNvCxnSpPr>
            <a:cxnSpLocks/>
          </p:cNvCxnSpPr>
          <p:nvPr/>
        </p:nvCxnSpPr>
        <p:spPr>
          <a:xfrm>
            <a:off x="1297955" y="4350941"/>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0" name="Straight Connector 49">
            <a:extLst>
              <a:ext uri="{FF2B5EF4-FFF2-40B4-BE49-F238E27FC236}">
                <a16:creationId xmlns:a16="http://schemas.microsoft.com/office/drawing/2014/main" id="{F0C24945-8A0F-EBD8-B81E-10A4082D2F17}"/>
              </a:ext>
            </a:extLst>
          </p:cNvPr>
          <p:cNvCxnSpPr>
            <a:cxnSpLocks/>
          </p:cNvCxnSpPr>
          <p:nvPr/>
        </p:nvCxnSpPr>
        <p:spPr>
          <a:xfrm>
            <a:off x="1297956" y="4817169"/>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1" name="Straight Connector 50">
            <a:extLst>
              <a:ext uri="{FF2B5EF4-FFF2-40B4-BE49-F238E27FC236}">
                <a16:creationId xmlns:a16="http://schemas.microsoft.com/office/drawing/2014/main" id="{A25EECBE-4750-2EBF-464A-3DB80C53CD54}"/>
              </a:ext>
            </a:extLst>
          </p:cNvPr>
          <p:cNvCxnSpPr>
            <a:cxnSpLocks/>
          </p:cNvCxnSpPr>
          <p:nvPr/>
        </p:nvCxnSpPr>
        <p:spPr>
          <a:xfrm>
            <a:off x="1297953" y="5426090"/>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5" name="Straight Connector 54">
            <a:extLst>
              <a:ext uri="{FF2B5EF4-FFF2-40B4-BE49-F238E27FC236}">
                <a16:creationId xmlns:a16="http://schemas.microsoft.com/office/drawing/2014/main" id="{4EBDF314-5EDE-BA73-95C4-434B6B2721DA}"/>
              </a:ext>
            </a:extLst>
          </p:cNvPr>
          <p:cNvCxnSpPr>
            <a:cxnSpLocks/>
            <a:stCxn id="56" idx="4"/>
            <a:endCxn id="70" idx="3"/>
          </p:cNvCxnSpPr>
          <p:nvPr/>
        </p:nvCxnSpPr>
        <p:spPr>
          <a:xfrm>
            <a:off x="864002" y="2793181"/>
            <a:ext cx="0" cy="3129936"/>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56" name="Oval 55">
            <a:extLst>
              <a:ext uri="{FF2B5EF4-FFF2-40B4-BE49-F238E27FC236}">
                <a16:creationId xmlns:a16="http://schemas.microsoft.com/office/drawing/2014/main" id="{EF8AC938-0683-F249-2812-36AFBA08177B}"/>
              </a:ext>
            </a:extLst>
          </p:cNvPr>
          <p:cNvSpPr/>
          <p:nvPr/>
        </p:nvSpPr>
        <p:spPr>
          <a:xfrm>
            <a:off x="791612" y="2648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7" name="Isosceles Triangle 56">
            <a:extLst>
              <a:ext uri="{FF2B5EF4-FFF2-40B4-BE49-F238E27FC236}">
                <a16:creationId xmlns:a16="http://schemas.microsoft.com/office/drawing/2014/main" id="{1B5B27A5-6369-2B0B-D64C-8DD37DC80988}"/>
              </a:ext>
            </a:extLst>
          </p:cNvPr>
          <p:cNvSpPr/>
          <p:nvPr/>
        </p:nvSpPr>
        <p:spPr>
          <a:xfrm flipV="1">
            <a:off x="690171" y="310745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8" name="Isosceles Triangle 57">
            <a:extLst>
              <a:ext uri="{FF2B5EF4-FFF2-40B4-BE49-F238E27FC236}">
                <a16:creationId xmlns:a16="http://schemas.microsoft.com/office/drawing/2014/main" id="{EF9E905A-D50C-3E90-1C9D-86E46A504CB8}"/>
              </a:ext>
            </a:extLst>
          </p:cNvPr>
          <p:cNvSpPr/>
          <p:nvPr/>
        </p:nvSpPr>
        <p:spPr>
          <a:xfrm flipV="1">
            <a:off x="690171" y="4801685"/>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9" name="Isosceles Triangle 58">
            <a:extLst>
              <a:ext uri="{FF2B5EF4-FFF2-40B4-BE49-F238E27FC236}">
                <a16:creationId xmlns:a16="http://schemas.microsoft.com/office/drawing/2014/main" id="{9ED3828D-80C3-0C76-D826-216087FF834D}"/>
              </a:ext>
            </a:extLst>
          </p:cNvPr>
          <p:cNvSpPr/>
          <p:nvPr/>
        </p:nvSpPr>
        <p:spPr>
          <a:xfrm flipV="1">
            <a:off x="690171" y="5411952"/>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63" name="Isosceles Triangle 62">
            <a:extLst>
              <a:ext uri="{FF2B5EF4-FFF2-40B4-BE49-F238E27FC236}">
                <a16:creationId xmlns:a16="http://schemas.microsoft.com/office/drawing/2014/main" id="{68241AB8-7A1C-9F53-9307-E9F0A324B378}"/>
              </a:ext>
            </a:extLst>
          </p:cNvPr>
          <p:cNvSpPr/>
          <p:nvPr/>
        </p:nvSpPr>
        <p:spPr>
          <a:xfrm flipV="1">
            <a:off x="690171" y="433365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64" name="Isosceles Triangle 63">
            <a:extLst>
              <a:ext uri="{FF2B5EF4-FFF2-40B4-BE49-F238E27FC236}">
                <a16:creationId xmlns:a16="http://schemas.microsoft.com/office/drawing/2014/main" id="{184460E1-8D1F-7F1D-1031-BBCB54EAC1A5}"/>
              </a:ext>
            </a:extLst>
          </p:cNvPr>
          <p:cNvSpPr/>
          <p:nvPr/>
        </p:nvSpPr>
        <p:spPr>
          <a:xfrm flipV="1">
            <a:off x="690171" y="3720556"/>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70" name="Isosceles Triangle 69">
            <a:extLst>
              <a:ext uri="{FF2B5EF4-FFF2-40B4-BE49-F238E27FC236}">
                <a16:creationId xmlns:a16="http://schemas.microsoft.com/office/drawing/2014/main" id="{B4EA43FC-B71F-E2B9-710A-27D4002E4B75}"/>
              </a:ext>
            </a:extLst>
          </p:cNvPr>
          <p:cNvSpPr/>
          <p:nvPr/>
        </p:nvSpPr>
        <p:spPr>
          <a:xfrm flipV="1">
            <a:off x="809233" y="5923117"/>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79" name="Content Placeholder 1">
            <a:extLst>
              <a:ext uri="{FF2B5EF4-FFF2-40B4-BE49-F238E27FC236}">
                <a16:creationId xmlns:a16="http://schemas.microsoft.com/office/drawing/2014/main" id="{87F7A6B9-1CF6-094D-F7BA-CBE76FF40CD8}"/>
              </a:ext>
            </a:extLst>
          </p:cNvPr>
          <p:cNvSpPr txBox="1">
            <a:spLocks/>
          </p:cNvSpPr>
          <p:nvPr/>
        </p:nvSpPr>
        <p:spPr>
          <a:xfrm>
            <a:off x="4327525" y="3144673"/>
            <a:ext cx="630238"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2</a:t>
            </a:r>
          </a:p>
        </p:txBody>
      </p:sp>
      <p:sp>
        <p:nvSpPr>
          <p:cNvPr id="80" name="Content Placeholder 1">
            <a:extLst>
              <a:ext uri="{FF2B5EF4-FFF2-40B4-BE49-F238E27FC236}">
                <a16:creationId xmlns:a16="http://schemas.microsoft.com/office/drawing/2014/main" id="{16815F6A-90AC-26E9-2E55-8EF39A0E08F7}"/>
              </a:ext>
            </a:extLst>
          </p:cNvPr>
          <p:cNvSpPr txBox="1">
            <a:spLocks/>
          </p:cNvSpPr>
          <p:nvPr/>
        </p:nvSpPr>
        <p:spPr>
          <a:xfrm>
            <a:off x="4327525" y="3757555"/>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3</a:t>
            </a:r>
          </a:p>
        </p:txBody>
      </p:sp>
      <p:sp>
        <p:nvSpPr>
          <p:cNvPr id="81" name="Content Placeholder 1">
            <a:extLst>
              <a:ext uri="{FF2B5EF4-FFF2-40B4-BE49-F238E27FC236}">
                <a16:creationId xmlns:a16="http://schemas.microsoft.com/office/drawing/2014/main" id="{2AE5C254-0775-5E9E-C4A3-AFFBD981C705}"/>
              </a:ext>
            </a:extLst>
          </p:cNvPr>
          <p:cNvSpPr txBox="1">
            <a:spLocks/>
          </p:cNvSpPr>
          <p:nvPr/>
        </p:nvSpPr>
        <p:spPr>
          <a:xfrm>
            <a:off x="4327525" y="4370437"/>
            <a:ext cx="630238" cy="900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4</a:t>
            </a:r>
          </a:p>
        </p:txBody>
      </p:sp>
      <p:sp>
        <p:nvSpPr>
          <p:cNvPr id="82" name="Content Placeholder 1">
            <a:extLst>
              <a:ext uri="{FF2B5EF4-FFF2-40B4-BE49-F238E27FC236}">
                <a16:creationId xmlns:a16="http://schemas.microsoft.com/office/drawing/2014/main" id="{3496C5D2-4C26-CB01-2C95-A713E9BDE03B}"/>
              </a:ext>
            </a:extLst>
          </p:cNvPr>
          <p:cNvSpPr txBox="1">
            <a:spLocks/>
          </p:cNvSpPr>
          <p:nvPr/>
        </p:nvSpPr>
        <p:spPr>
          <a:xfrm>
            <a:off x="4327525" y="5308202"/>
            <a:ext cx="630238" cy="864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5</a:t>
            </a:r>
          </a:p>
        </p:txBody>
      </p:sp>
      <p:sp>
        <p:nvSpPr>
          <p:cNvPr id="84" name="Content Placeholder 1">
            <a:extLst>
              <a:ext uri="{FF2B5EF4-FFF2-40B4-BE49-F238E27FC236}">
                <a16:creationId xmlns:a16="http://schemas.microsoft.com/office/drawing/2014/main" id="{D4A32B2F-B3D8-0539-000F-E02C9DDDEFA7}"/>
              </a:ext>
            </a:extLst>
          </p:cNvPr>
          <p:cNvSpPr txBox="1">
            <a:spLocks/>
          </p:cNvSpPr>
          <p:nvPr/>
        </p:nvSpPr>
        <p:spPr>
          <a:xfrm>
            <a:off x="4327525" y="2531791"/>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1</a:t>
            </a:r>
          </a:p>
        </p:txBody>
      </p:sp>
      <p:sp>
        <p:nvSpPr>
          <p:cNvPr id="85" name="Rectangle 84">
            <a:extLst>
              <a:ext uri="{FF2B5EF4-FFF2-40B4-BE49-F238E27FC236}">
                <a16:creationId xmlns:a16="http://schemas.microsoft.com/office/drawing/2014/main" id="{10617D98-D6CF-8134-79EE-B9DAC8569D40}"/>
              </a:ext>
            </a:extLst>
          </p:cNvPr>
          <p:cNvSpPr/>
          <p:nvPr/>
        </p:nvSpPr>
        <p:spPr>
          <a:xfrm>
            <a:off x="4329114" y="1822554"/>
            <a:ext cx="3529012"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Asiņošana pēc izsista zoba</a:t>
            </a:r>
          </a:p>
        </p:txBody>
      </p:sp>
      <p:sp>
        <p:nvSpPr>
          <p:cNvPr id="86" name="Content Placeholder 1">
            <a:extLst>
              <a:ext uri="{FF2B5EF4-FFF2-40B4-BE49-F238E27FC236}">
                <a16:creationId xmlns:a16="http://schemas.microsoft.com/office/drawing/2014/main" id="{04D1CEFF-A4EB-4E20-61F6-E79E1BB2F050}"/>
              </a:ext>
            </a:extLst>
          </p:cNvPr>
          <p:cNvSpPr txBox="1">
            <a:spLocks/>
          </p:cNvSpPr>
          <p:nvPr/>
        </p:nvSpPr>
        <p:spPr>
          <a:xfrm>
            <a:off x="7282126"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87" name="Content Placeholder 1">
            <a:extLst>
              <a:ext uri="{FF2B5EF4-FFF2-40B4-BE49-F238E27FC236}">
                <a16:creationId xmlns:a16="http://schemas.microsoft.com/office/drawing/2014/main" id="{4CB3E58A-911C-3CA9-AEAF-C39B39D18A9F}"/>
              </a:ext>
            </a:extLst>
          </p:cNvPr>
          <p:cNvSpPr txBox="1">
            <a:spLocks/>
          </p:cNvSpPr>
          <p:nvPr/>
        </p:nvSpPr>
        <p:spPr>
          <a:xfrm>
            <a:off x="7210738"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88" name="TextBox 87">
            <a:extLst>
              <a:ext uri="{FF2B5EF4-FFF2-40B4-BE49-F238E27FC236}">
                <a16:creationId xmlns:a16="http://schemas.microsoft.com/office/drawing/2014/main" id="{436E5142-1A97-F9A9-CFC9-DB97889540F3}"/>
              </a:ext>
            </a:extLst>
          </p:cNvPr>
          <p:cNvSpPr txBox="1"/>
          <p:nvPr/>
        </p:nvSpPr>
        <p:spPr>
          <a:xfrm>
            <a:off x="5184153" y="2532063"/>
            <a:ext cx="2673973" cy="576263"/>
          </a:xfrm>
          <a:prstGeom prst="rect">
            <a:avLst/>
          </a:prstGeom>
          <a:noFill/>
        </p:spPr>
        <p:txBody>
          <a:bodyPr wrap="square" anchor="ctr">
            <a:noAutofit/>
          </a:bodyPr>
          <a:lstStyle/>
          <a:p>
            <a:pPr>
              <a:spcAft>
                <a:spcPts val="0"/>
              </a:spcAft>
            </a:pPr>
            <a:r>
              <a:rPr lang="lv-LV" sz="1400">
                <a:solidFill>
                  <a:schemeClr val="tx1"/>
                </a:solidFill>
              </a:rPr>
              <a:t>Uzvelciet rokās ūdens necaurlaidīgus cimdus.</a:t>
            </a:r>
          </a:p>
        </p:txBody>
      </p:sp>
      <p:sp>
        <p:nvSpPr>
          <p:cNvPr id="89" name="TextBox 88">
            <a:extLst>
              <a:ext uri="{FF2B5EF4-FFF2-40B4-BE49-F238E27FC236}">
                <a16:creationId xmlns:a16="http://schemas.microsoft.com/office/drawing/2014/main" id="{E536C4EB-5830-A9C6-7E29-F6EF449FF4C7}"/>
              </a:ext>
            </a:extLst>
          </p:cNvPr>
          <p:cNvSpPr txBox="1"/>
          <p:nvPr/>
        </p:nvSpPr>
        <p:spPr>
          <a:xfrm>
            <a:off x="5184153" y="3144838"/>
            <a:ext cx="2673973" cy="576263"/>
          </a:xfrm>
          <a:prstGeom prst="rect">
            <a:avLst/>
          </a:prstGeom>
          <a:noFill/>
        </p:spPr>
        <p:txBody>
          <a:bodyPr wrap="square" anchor="ctr">
            <a:noAutofit/>
          </a:bodyPr>
          <a:lstStyle/>
          <a:p>
            <a:pPr>
              <a:spcAft>
                <a:spcPts val="0"/>
              </a:spcAft>
            </a:pPr>
            <a:r>
              <a:rPr lang="lv-LV" sz="1400">
                <a:solidFill>
                  <a:schemeClr val="tx1"/>
                </a:solidFill>
              </a:rPr>
              <a:t>Dodiet izskalot muti ar </a:t>
            </a:r>
            <a:endParaRPr lang="en-US" sz="1400">
              <a:solidFill>
                <a:schemeClr val="tx1"/>
              </a:solidFill>
            </a:endParaRPr>
          </a:p>
          <a:p>
            <a:pPr>
              <a:spcAft>
                <a:spcPts val="0"/>
              </a:spcAft>
            </a:pPr>
            <a:r>
              <a:rPr lang="lv-LV" sz="1400">
                <a:solidFill>
                  <a:schemeClr val="tx1"/>
                </a:solidFill>
              </a:rPr>
              <a:t>aukstu ūdeni.</a:t>
            </a:r>
          </a:p>
        </p:txBody>
      </p:sp>
      <p:sp>
        <p:nvSpPr>
          <p:cNvPr id="90" name="TextBox 89">
            <a:extLst>
              <a:ext uri="{FF2B5EF4-FFF2-40B4-BE49-F238E27FC236}">
                <a16:creationId xmlns:a16="http://schemas.microsoft.com/office/drawing/2014/main" id="{225CAB37-79D8-77DD-6CFF-B862D382D619}"/>
              </a:ext>
            </a:extLst>
          </p:cNvPr>
          <p:cNvSpPr txBox="1"/>
          <p:nvPr/>
        </p:nvSpPr>
        <p:spPr>
          <a:xfrm>
            <a:off x="5184153" y="4532306"/>
            <a:ext cx="2673973" cy="576263"/>
          </a:xfrm>
          <a:prstGeom prst="rect">
            <a:avLst/>
          </a:prstGeom>
          <a:noFill/>
        </p:spPr>
        <p:txBody>
          <a:bodyPr wrap="square" anchor="ctr">
            <a:noAutofit/>
          </a:bodyPr>
          <a:lstStyle/>
          <a:p>
            <a:pPr>
              <a:spcAft>
                <a:spcPts val="0"/>
              </a:spcAft>
            </a:pPr>
            <a:r>
              <a:rPr lang="lv-LV" sz="1400">
                <a:solidFill>
                  <a:schemeClr val="tx1"/>
                </a:solidFill>
              </a:rPr>
              <a:t>Lieciet cietušajam sakost zobus, piespiežot kompresi asiņojošai vietai.</a:t>
            </a:r>
          </a:p>
        </p:txBody>
      </p:sp>
      <p:sp>
        <p:nvSpPr>
          <p:cNvPr id="91" name="TextBox 90">
            <a:extLst>
              <a:ext uri="{FF2B5EF4-FFF2-40B4-BE49-F238E27FC236}">
                <a16:creationId xmlns:a16="http://schemas.microsoft.com/office/drawing/2014/main" id="{AD8719CE-1154-0150-C638-F14ED1164F38}"/>
              </a:ext>
            </a:extLst>
          </p:cNvPr>
          <p:cNvSpPr txBox="1"/>
          <p:nvPr/>
        </p:nvSpPr>
        <p:spPr>
          <a:xfrm>
            <a:off x="5184153" y="5452071"/>
            <a:ext cx="2673973" cy="576263"/>
          </a:xfrm>
          <a:prstGeom prst="rect">
            <a:avLst/>
          </a:prstGeom>
          <a:noFill/>
        </p:spPr>
        <p:txBody>
          <a:bodyPr wrap="square" anchor="ctr">
            <a:noAutofit/>
          </a:bodyPr>
          <a:lstStyle/>
          <a:p>
            <a:pPr>
              <a:spcAft>
                <a:spcPts val="0"/>
              </a:spcAft>
            </a:pPr>
            <a:r>
              <a:rPr lang="lv-LV" sz="1400">
                <a:solidFill>
                  <a:schemeClr val="tx1"/>
                </a:solidFill>
              </a:rPr>
              <a:t>Izsauciet Neatliekamo palīdzību vai iesakiet cietušajam doties pie zobārsta. </a:t>
            </a:r>
          </a:p>
        </p:txBody>
      </p:sp>
      <p:sp>
        <p:nvSpPr>
          <p:cNvPr id="92" name="TextBox 91">
            <a:extLst>
              <a:ext uri="{FF2B5EF4-FFF2-40B4-BE49-F238E27FC236}">
                <a16:creationId xmlns:a16="http://schemas.microsoft.com/office/drawing/2014/main" id="{9D38CD76-42E2-0F88-D2E4-FBE4A7B73C45}"/>
              </a:ext>
            </a:extLst>
          </p:cNvPr>
          <p:cNvSpPr txBox="1"/>
          <p:nvPr/>
        </p:nvSpPr>
        <p:spPr>
          <a:xfrm>
            <a:off x="5184153" y="3757613"/>
            <a:ext cx="2673973" cy="576263"/>
          </a:xfrm>
          <a:prstGeom prst="rect">
            <a:avLst/>
          </a:prstGeom>
          <a:noFill/>
        </p:spPr>
        <p:txBody>
          <a:bodyPr wrap="square" anchor="ctr">
            <a:noAutofit/>
          </a:bodyPr>
          <a:lstStyle/>
          <a:p>
            <a:pPr>
              <a:spcAft>
                <a:spcPts val="0"/>
              </a:spcAft>
            </a:pPr>
            <a:r>
              <a:rPr lang="lv-LV" sz="1400">
                <a:solidFill>
                  <a:schemeClr val="tx1"/>
                </a:solidFill>
              </a:rPr>
              <a:t>Ielieciet salocītu kompresi asiņojošajā vietā.</a:t>
            </a:r>
          </a:p>
        </p:txBody>
      </p:sp>
      <p:cxnSp>
        <p:nvCxnSpPr>
          <p:cNvPr id="94" name="Straight Connector 93">
            <a:extLst>
              <a:ext uri="{FF2B5EF4-FFF2-40B4-BE49-F238E27FC236}">
                <a16:creationId xmlns:a16="http://schemas.microsoft.com/office/drawing/2014/main" id="{AF2030D2-26EA-4127-8449-5E0C1DA91A56}"/>
              </a:ext>
            </a:extLst>
          </p:cNvPr>
          <p:cNvCxnSpPr>
            <a:cxnSpLocks/>
          </p:cNvCxnSpPr>
          <p:nvPr/>
        </p:nvCxnSpPr>
        <p:spPr>
          <a:xfrm>
            <a:off x="5184153" y="3125391"/>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95" name="Straight Connector 94">
            <a:extLst>
              <a:ext uri="{FF2B5EF4-FFF2-40B4-BE49-F238E27FC236}">
                <a16:creationId xmlns:a16="http://schemas.microsoft.com/office/drawing/2014/main" id="{A850844E-2AA8-6B27-DAB2-625546B9F9ED}"/>
              </a:ext>
            </a:extLst>
          </p:cNvPr>
          <p:cNvCxnSpPr>
            <a:cxnSpLocks/>
          </p:cNvCxnSpPr>
          <p:nvPr/>
        </p:nvCxnSpPr>
        <p:spPr>
          <a:xfrm>
            <a:off x="5184154" y="3738166"/>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96" name="Straight Connector 95">
            <a:extLst>
              <a:ext uri="{FF2B5EF4-FFF2-40B4-BE49-F238E27FC236}">
                <a16:creationId xmlns:a16="http://schemas.microsoft.com/office/drawing/2014/main" id="{DDBB901D-7628-ED8C-4EA4-A37A674AD7D3}"/>
              </a:ext>
            </a:extLst>
          </p:cNvPr>
          <p:cNvCxnSpPr>
            <a:cxnSpLocks/>
          </p:cNvCxnSpPr>
          <p:nvPr/>
        </p:nvCxnSpPr>
        <p:spPr>
          <a:xfrm>
            <a:off x="5184155" y="4350941"/>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97" name="Straight Connector 96">
            <a:extLst>
              <a:ext uri="{FF2B5EF4-FFF2-40B4-BE49-F238E27FC236}">
                <a16:creationId xmlns:a16="http://schemas.microsoft.com/office/drawing/2014/main" id="{B18D4479-B1AE-DC6B-BBC5-FE673E8AFC2D}"/>
              </a:ext>
            </a:extLst>
          </p:cNvPr>
          <p:cNvCxnSpPr>
            <a:cxnSpLocks/>
          </p:cNvCxnSpPr>
          <p:nvPr/>
        </p:nvCxnSpPr>
        <p:spPr>
          <a:xfrm>
            <a:off x="5184156" y="5287559"/>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99" name="Straight Connector 98">
            <a:extLst>
              <a:ext uri="{FF2B5EF4-FFF2-40B4-BE49-F238E27FC236}">
                <a16:creationId xmlns:a16="http://schemas.microsoft.com/office/drawing/2014/main" id="{CD0347C9-AB78-F3FF-4D24-EFD1D1FEF8DE}"/>
              </a:ext>
            </a:extLst>
          </p:cNvPr>
          <p:cNvCxnSpPr>
            <a:cxnSpLocks/>
            <a:stCxn id="100" idx="4"/>
            <a:endCxn id="106" idx="3"/>
          </p:cNvCxnSpPr>
          <p:nvPr/>
        </p:nvCxnSpPr>
        <p:spPr>
          <a:xfrm>
            <a:off x="4750202" y="2793181"/>
            <a:ext cx="0" cy="3129936"/>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100" name="Oval 99">
            <a:extLst>
              <a:ext uri="{FF2B5EF4-FFF2-40B4-BE49-F238E27FC236}">
                <a16:creationId xmlns:a16="http://schemas.microsoft.com/office/drawing/2014/main" id="{C1C21A94-E2BF-67B5-6ECF-CA5472E17FFC}"/>
              </a:ext>
            </a:extLst>
          </p:cNvPr>
          <p:cNvSpPr/>
          <p:nvPr/>
        </p:nvSpPr>
        <p:spPr>
          <a:xfrm>
            <a:off x="4677812" y="2648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01" name="Isosceles Triangle 100">
            <a:extLst>
              <a:ext uri="{FF2B5EF4-FFF2-40B4-BE49-F238E27FC236}">
                <a16:creationId xmlns:a16="http://schemas.microsoft.com/office/drawing/2014/main" id="{949AD25A-08F7-1101-82F6-5EAF64E4F68B}"/>
              </a:ext>
            </a:extLst>
          </p:cNvPr>
          <p:cNvSpPr/>
          <p:nvPr/>
        </p:nvSpPr>
        <p:spPr>
          <a:xfrm flipV="1">
            <a:off x="4576371" y="310745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102" name="Isosceles Triangle 101">
            <a:extLst>
              <a:ext uri="{FF2B5EF4-FFF2-40B4-BE49-F238E27FC236}">
                <a16:creationId xmlns:a16="http://schemas.microsoft.com/office/drawing/2014/main" id="{3AD602C8-D760-A602-6D10-7C3BCFA9AF31}"/>
              </a:ext>
            </a:extLst>
          </p:cNvPr>
          <p:cNvSpPr/>
          <p:nvPr/>
        </p:nvSpPr>
        <p:spPr>
          <a:xfrm flipV="1">
            <a:off x="4576371" y="5265043"/>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104" name="Isosceles Triangle 103">
            <a:extLst>
              <a:ext uri="{FF2B5EF4-FFF2-40B4-BE49-F238E27FC236}">
                <a16:creationId xmlns:a16="http://schemas.microsoft.com/office/drawing/2014/main" id="{6ECB0DF2-82AB-89C9-B184-98632B57D019}"/>
              </a:ext>
            </a:extLst>
          </p:cNvPr>
          <p:cNvSpPr/>
          <p:nvPr/>
        </p:nvSpPr>
        <p:spPr>
          <a:xfrm flipV="1">
            <a:off x="4576371" y="433365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105" name="Isosceles Triangle 104">
            <a:extLst>
              <a:ext uri="{FF2B5EF4-FFF2-40B4-BE49-F238E27FC236}">
                <a16:creationId xmlns:a16="http://schemas.microsoft.com/office/drawing/2014/main" id="{1A477AC6-AFC4-98EF-1AE1-BDD9449A9C71}"/>
              </a:ext>
            </a:extLst>
          </p:cNvPr>
          <p:cNvSpPr/>
          <p:nvPr/>
        </p:nvSpPr>
        <p:spPr>
          <a:xfrm flipV="1">
            <a:off x="4576371" y="3720556"/>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106" name="Isosceles Triangle 105">
            <a:extLst>
              <a:ext uri="{FF2B5EF4-FFF2-40B4-BE49-F238E27FC236}">
                <a16:creationId xmlns:a16="http://schemas.microsoft.com/office/drawing/2014/main" id="{C8148559-D7B9-52FE-DEB1-909CBAA88FAB}"/>
              </a:ext>
            </a:extLst>
          </p:cNvPr>
          <p:cNvSpPr/>
          <p:nvPr/>
        </p:nvSpPr>
        <p:spPr>
          <a:xfrm flipV="1">
            <a:off x="4695433" y="5923117"/>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109" name="Content Placeholder 1">
            <a:extLst>
              <a:ext uri="{FF2B5EF4-FFF2-40B4-BE49-F238E27FC236}">
                <a16:creationId xmlns:a16="http://schemas.microsoft.com/office/drawing/2014/main" id="{18B93944-D412-CC38-7DFC-9270EBD14334}"/>
              </a:ext>
            </a:extLst>
          </p:cNvPr>
          <p:cNvSpPr txBox="1">
            <a:spLocks/>
          </p:cNvSpPr>
          <p:nvPr/>
        </p:nvSpPr>
        <p:spPr>
          <a:xfrm>
            <a:off x="8218484" y="4370436"/>
            <a:ext cx="630238" cy="1801763"/>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2</a:t>
            </a:r>
          </a:p>
        </p:txBody>
      </p:sp>
      <p:sp>
        <p:nvSpPr>
          <p:cNvPr id="114" name="Content Placeholder 1">
            <a:extLst>
              <a:ext uri="{FF2B5EF4-FFF2-40B4-BE49-F238E27FC236}">
                <a16:creationId xmlns:a16="http://schemas.microsoft.com/office/drawing/2014/main" id="{1D349B7B-CF01-BB47-719D-2135483170D2}"/>
              </a:ext>
            </a:extLst>
          </p:cNvPr>
          <p:cNvSpPr txBox="1">
            <a:spLocks/>
          </p:cNvSpPr>
          <p:nvPr/>
        </p:nvSpPr>
        <p:spPr>
          <a:xfrm>
            <a:off x="8218484" y="2531791"/>
            <a:ext cx="630238" cy="1798242"/>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1</a:t>
            </a:r>
          </a:p>
        </p:txBody>
      </p:sp>
      <p:sp>
        <p:nvSpPr>
          <p:cNvPr id="115" name="Rectangle 114">
            <a:extLst>
              <a:ext uri="{FF2B5EF4-FFF2-40B4-BE49-F238E27FC236}">
                <a16:creationId xmlns:a16="http://schemas.microsoft.com/office/drawing/2014/main" id="{8549DEA3-738D-4038-A2EA-5970EA360AF1}"/>
              </a:ext>
            </a:extLst>
          </p:cNvPr>
          <p:cNvSpPr/>
          <p:nvPr/>
        </p:nvSpPr>
        <p:spPr>
          <a:xfrm>
            <a:off x="8220073" y="1822554"/>
            <a:ext cx="3529012"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Brūces bez stipras asiņošanas</a:t>
            </a:r>
          </a:p>
        </p:txBody>
      </p:sp>
      <p:sp>
        <p:nvSpPr>
          <p:cNvPr id="116" name="Content Placeholder 1">
            <a:extLst>
              <a:ext uri="{FF2B5EF4-FFF2-40B4-BE49-F238E27FC236}">
                <a16:creationId xmlns:a16="http://schemas.microsoft.com/office/drawing/2014/main" id="{C03AF2E5-BCD7-91A5-754B-A3C3CE8888A3}"/>
              </a:ext>
            </a:extLst>
          </p:cNvPr>
          <p:cNvSpPr txBox="1">
            <a:spLocks/>
          </p:cNvSpPr>
          <p:nvPr/>
        </p:nvSpPr>
        <p:spPr>
          <a:xfrm>
            <a:off x="11173085"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17" name="Content Placeholder 1">
            <a:extLst>
              <a:ext uri="{FF2B5EF4-FFF2-40B4-BE49-F238E27FC236}">
                <a16:creationId xmlns:a16="http://schemas.microsoft.com/office/drawing/2014/main" id="{E817571C-E1FA-79E3-9C69-31CEFBBB9590}"/>
              </a:ext>
            </a:extLst>
          </p:cNvPr>
          <p:cNvSpPr txBox="1">
            <a:spLocks/>
          </p:cNvSpPr>
          <p:nvPr/>
        </p:nvSpPr>
        <p:spPr>
          <a:xfrm>
            <a:off x="11101697"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18" name="TextBox 117">
            <a:extLst>
              <a:ext uri="{FF2B5EF4-FFF2-40B4-BE49-F238E27FC236}">
                <a16:creationId xmlns:a16="http://schemas.microsoft.com/office/drawing/2014/main" id="{99E10BF8-C7E4-4C4A-89D4-BF5D9211751E}"/>
              </a:ext>
            </a:extLst>
          </p:cNvPr>
          <p:cNvSpPr txBox="1"/>
          <p:nvPr/>
        </p:nvSpPr>
        <p:spPr>
          <a:xfrm>
            <a:off x="9075112" y="3142781"/>
            <a:ext cx="2673973" cy="576263"/>
          </a:xfrm>
          <a:prstGeom prst="rect">
            <a:avLst/>
          </a:prstGeom>
          <a:noFill/>
        </p:spPr>
        <p:txBody>
          <a:bodyPr wrap="square" anchor="ctr">
            <a:noAutofit/>
          </a:bodyPr>
          <a:lstStyle/>
          <a:p>
            <a:pPr>
              <a:spcAft>
                <a:spcPts val="0"/>
              </a:spcAft>
            </a:pPr>
            <a:r>
              <a:rPr lang="lv-LV" sz="1400">
                <a:solidFill>
                  <a:schemeClr val="tx1"/>
                </a:solidFill>
              </a:rPr>
              <a:t>Netīru nobrāzumu vai virspusēju brūci pirms pārsiešanas var noskalot ar tīru ūdeni.</a:t>
            </a:r>
          </a:p>
        </p:txBody>
      </p:sp>
      <p:sp>
        <p:nvSpPr>
          <p:cNvPr id="119" name="TextBox 118">
            <a:extLst>
              <a:ext uri="{FF2B5EF4-FFF2-40B4-BE49-F238E27FC236}">
                <a16:creationId xmlns:a16="http://schemas.microsoft.com/office/drawing/2014/main" id="{E6F7CE22-8CEE-1A44-5315-4C2E4DE97A7C}"/>
              </a:ext>
            </a:extLst>
          </p:cNvPr>
          <p:cNvSpPr txBox="1"/>
          <p:nvPr/>
        </p:nvSpPr>
        <p:spPr>
          <a:xfrm>
            <a:off x="9075112" y="4983186"/>
            <a:ext cx="2673973" cy="576263"/>
          </a:xfrm>
          <a:prstGeom prst="rect">
            <a:avLst/>
          </a:prstGeom>
          <a:noFill/>
        </p:spPr>
        <p:txBody>
          <a:bodyPr wrap="square" anchor="ctr">
            <a:noAutofit/>
          </a:bodyPr>
          <a:lstStyle/>
          <a:p>
            <a:pPr>
              <a:spcAft>
                <a:spcPts val="0"/>
              </a:spcAft>
            </a:pPr>
            <a:r>
              <a:rPr lang="lv-LV" sz="1400">
                <a:solidFill>
                  <a:schemeClr val="tx1"/>
                </a:solidFill>
              </a:rPr>
              <a:t>Pārsieniet tikai ar sausiem, vēlams steriliem pārsējiem.</a:t>
            </a:r>
          </a:p>
        </p:txBody>
      </p:sp>
      <p:cxnSp>
        <p:nvCxnSpPr>
          <p:cNvPr id="124" name="Straight Connector 123">
            <a:extLst>
              <a:ext uri="{FF2B5EF4-FFF2-40B4-BE49-F238E27FC236}">
                <a16:creationId xmlns:a16="http://schemas.microsoft.com/office/drawing/2014/main" id="{F4B1EDB0-F937-7E75-15EE-D63F022FDE28}"/>
              </a:ext>
            </a:extLst>
          </p:cNvPr>
          <p:cNvCxnSpPr>
            <a:cxnSpLocks/>
          </p:cNvCxnSpPr>
          <p:nvPr/>
        </p:nvCxnSpPr>
        <p:spPr>
          <a:xfrm>
            <a:off x="9075112" y="4348474"/>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129" name="Straight Connector 128">
            <a:extLst>
              <a:ext uri="{FF2B5EF4-FFF2-40B4-BE49-F238E27FC236}">
                <a16:creationId xmlns:a16="http://schemas.microsoft.com/office/drawing/2014/main" id="{3AF7C173-E6C5-E60C-6FCC-CC84803A3102}"/>
              </a:ext>
            </a:extLst>
          </p:cNvPr>
          <p:cNvCxnSpPr>
            <a:cxnSpLocks/>
          </p:cNvCxnSpPr>
          <p:nvPr/>
        </p:nvCxnSpPr>
        <p:spPr>
          <a:xfrm>
            <a:off x="8641161" y="2793181"/>
            <a:ext cx="0" cy="3129936"/>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130" name="Oval 129">
            <a:extLst>
              <a:ext uri="{FF2B5EF4-FFF2-40B4-BE49-F238E27FC236}">
                <a16:creationId xmlns:a16="http://schemas.microsoft.com/office/drawing/2014/main" id="{F3803958-7E5B-41E2-B471-D793E213BC07}"/>
              </a:ext>
            </a:extLst>
          </p:cNvPr>
          <p:cNvSpPr/>
          <p:nvPr/>
        </p:nvSpPr>
        <p:spPr>
          <a:xfrm>
            <a:off x="8568771" y="2648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1" name="Isosceles Triangle 130">
            <a:extLst>
              <a:ext uri="{FF2B5EF4-FFF2-40B4-BE49-F238E27FC236}">
                <a16:creationId xmlns:a16="http://schemas.microsoft.com/office/drawing/2014/main" id="{85968203-D52D-55A1-3723-8D3F3C5AA50E}"/>
              </a:ext>
            </a:extLst>
          </p:cNvPr>
          <p:cNvSpPr/>
          <p:nvPr/>
        </p:nvSpPr>
        <p:spPr>
          <a:xfrm flipV="1">
            <a:off x="8467330" y="4319598"/>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138" name="Isosceles Triangle 137">
            <a:extLst>
              <a:ext uri="{FF2B5EF4-FFF2-40B4-BE49-F238E27FC236}">
                <a16:creationId xmlns:a16="http://schemas.microsoft.com/office/drawing/2014/main" id="{2228D4FF-3C67-5CAD-55F2-0E60F901060B}"/>
              </a:ext>
            </a:extLst>
          </p:cNvPr>
          <p:cNvSpPr/>
          <p:nvPr/>
        </p:nvSpPr>
        <p:spPr>
          <a:xfrm flipV="1">
            <a:off x="8586392" y="5923117"/>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2" name="Google Shape;1533;p92">
            <a:extLst>
              <a:ext uri="{FF2B5EF4-FFF2-40B4-BE49-F238E27FC236}">
                <a16:creationId xmlns:a16="http://schemas.microsoft.com/office/drawing/2014/main" id="{96E90289-07C1-5A7D-A81D-B8B121EFCC45}"/>
              </a:ext>
            </a:extLst>
          </p:cNvPr>
          <p:cNvSpPr/>
          <p:nvPr/>
        </p:nvSpPr>
        <p:spPr>
          <a:xfrm>
            <a:off x="7390126" y="1930554"/>
            <a:ext cx="360000" cy="360000"/>
          </a:xfrm>
          <a:custGeom>
            <a:avLst/>
            <a:gdLst/>
            <a:ahLst/>
            <a:cxnLst/>
            <a:rect l="l" t="t" r="r" b="b"/>
            <a:pathLst>
              <a:path w="576" h="576" extrusionOk="0">
                <a:moveTo>
                  <a:pt x="359" y="112"/>
                </a:moveTo>
                <a:cubicBezTo>
                  <a:pt x="325" y="112"/>
                  <a:pt x="303" y="124"/>
                  <a:pt x="288" y="135"/>
                </a:cubicBezTo>
                <a:cubicBezTo>
                  <a:pt x="273" y="124"/>
                  <a:pt x="251" y="112"/>
                  <a:pt x="216" y="112"/>
                </a:cubicBezTo>
                <a:cubicBezTo>
                  <a:pt x="161" y="112"/>
                  <a:pt x="116" y="157"/>
                  <a:pt x="116" y="213"/>
                </a:cubicBezTo>
                <a:cubicBezTo>
                  <a:pt x="116" y="254"/>
                  <a:pt x="131" y="281"/>
                  <a:pt x="144" y="305"/>
                </a:cubicBezTo>
                <a:cubicBezTo>
                  <a:pt x="147" y="309"/>
                  <a:pt x="147" y="309"/>
                  <a:pt x="147" y="309"/>
                </a:cubicBezTo>
                <a:cubicBezTo>
                  <a:pt x="152" y="320"/>
                  <a:pt x="159" y="332"/>
                  <a:pt x="163" y="344"/>
                </a:cubicBezTo>
                <a:cubicBezTo>
                  <a:pt x="168" y="357"/>
                  <a:pt x="171" y="377"/>
                  <a:pt x="174" y="399"/>
                </a:cubicBezTo>
                <a:cubicBezTo>
                  <a:pt x="174" y="401"/>
                  <a:pt x="174" y="401"/>
                  <a:pt x="174" y="401"/>
                </a:cubicBezTo>
                <a:cubicBezTo>
                  <a:pt x="181" y="445"/>
                  <a:pt x="187" y="491"/>
                  <a:pt x="222" y="491"/>
                </a:cubicBezTo>
                <a:cubicBezTo>
                  <a:pt x="251" y="491"/>
                  <a:pt x="258" y="453"/>
                  <a:pt x="266" y="416"/>
                </a:cubicBezTo>
                <a:cubicBezTo>
                  <a:pt x="266" y="415"/>
                  <a:pt x="266" y="415"/>
                  <a:pt x="266" y="415"/>
                </a:cubicBezTo>
                <a:cubicBezTo>
                  <a:pt x="270" y="394"/>
                  <a:pt x="278" y="358"/>
                  <a:pt x="288" y="358"/>
                </a:cubicBezTo>
                <a:cubicBezTo>
                  <a:pt x="298" y="358"/>
                  <a:pt x="306" y="394"/>
                  <a:pt x="310" y="416"/>
                </a:cubicBezTo>
                <a:cubicBezTo>
                  <a:pt x="311" y="418"/>
                  <a:pt x="311" y="418"/>
                  <a:pt x="311" y="418"/>
                </a:cubicBezTo>
                <a:cubicBezTo>
                  <a:pt x="318" y="455"/>
                  <a:pt x="326" y="491"/>
                  <a:pt x="353" y="491"/>
                </a:cubicBezTo>
                <a:cubicBezTo>
                  <a:pt x="387" y="491"/>
                  <a:pt x="394" y="445"/>
                  <a:pt x="401" y="400"/>
                </a:cubicBezTo>
                <a:cubicBezTo>
                  <a:pt x="402" y="394"/>
                  <a:pt x="402" y="394"/>
                  <a:pt x="402" y="394"/>
                </a:cubicBezTo>
                <a:cubicBezTo>
                  <a:pt x="404" y="376"/>
                  <a:pt x="407" y="357"/>
                  <a:pt x="412" y="344"/>
                </a:cubicBezTo>
                <a:cubicBezTo>
                  <a:pt x="417" y="330"/>
                  <a:pt x="424" y="318"/>
                  <a:pt x="432" y="305"/>
                </a:cubicBezTo>
                <a:cubicBezTo>
                  <a:pt x="445" y="279"/>
                  <a:pt x="460" y="253"/>
                  <a:pt x="460" y="213"/>
                </a:cubicBezTo>
                <a:cubicBezTo>
                  <a:pt x="460" y="157"/>
                  <a:pt x="415" y="112"/>
                  <a:pt x="359" y="112"/>
                </a:cubicBezTo>
                <a:close/>
                <a:moveTo>
                  <a:pt x="363" y="174"/>
                </a:moveTo>
                <a:cubicBezTo>
                  <a:pt x="338" y="174"/>
                  <a:pt x="323" y="164"/>
                  <a:pt x="307" y="151"/>
                </a:cubicBezTo>
                <a:cubicBezTo>
                  <a:pt x="318" y="144"/>
                  <a:pt x="334" y="136"/>
                  <a:pt x="359" y="136"/>
                </a:cubicBezTo>
                <a:cubicBezTo>
                  <a:pt x="402" y="136"/>
                  <a:pt x="436" y="170"/>
                  <a:pt x="436" y="213"/>
                </a:cubicBezTo>
                <a:cubicBezTo>
                  <a:pt x="436" y="246"/>
                  <a:pt x="424" y="268"/>
                  <a:pt x="411" y="292"/>
                </a:cubicBezTo>
                <a:cubicBezTo>
                  <a:pt x="410" y="294"/>
                  <a:pt x="410" y="294"/>
                  <a:pt x="410" y="294"/>
                </a:cubicBezTo>
                <a:cubicBezTo>
                  <a:pt x="409" y="296"/>
                  <a:pt x="408" y="298"/>
                  <a:pt x="406" y="301"/>
                </a:cubicBezTo>
                <a:cubicBezTo>
                  <a:pt x="401" y="312"/>
                  <a:pt x="395" y="323"/>
                  <a:pt x="390" y="336"/>
                </a:cubicBezTo>
                <a:cubicBezTo>
                  <a:pt x="384" y="352"/>
                  <a:pt x="380" y="374"/>
                  <a:pt x="378" y="396"/>
                </a:cubicBezTo>
                <a:cubicBezTo>
                  <a:pt x="378" y="397"/>
                  <a:pt x="378" y="397"/>
                  <a:pt x="378" y="397"/>
                </a:cubicBezTo>
                <a:cubicBezTo>
                  <a:pt x="373" y="426"/>
                  <a:pt x="367" y="467"/>
                  <a:pt x="353" y="467"/>
                </a:cubicBezTo>
                <a:cubicBezTo>
                  <a:pt x="345" y="467"/>
                  <a:pt x="338" y="433"/>
                  <a:pt x="334" y="414"/>
                </a:cubicBezTo>
                <a:cubicBezTo>
                  <a:pt x="334" y="412"/>
                  <a:pt x="334" y="412"/>
                  <a:pt x="334" y="412"/>
                </a:cubicBezTo>
                <a:cubicBezTo>
                  <a:pt x="326" y="374"/>
                  <a:pt x="318" y="335"/>
                  <a:pt x="288" y="335"/>
                </a:cubicBezTo>
                <a:cubicBezTo>
                  <a:pt x="258" y="335"/>
                  <a:pt x="250" y="376"/>
                  <a:pt x="242" y="412"/>
                </a:cubicBezTo>
                <a:cubicBezTo>
                  <a:pt x="242" y="415"/>
                  <a:pt x="242" y="415"/>
                  <a:pt x="242" y="415"/>
                </a:cubicBezTo>
                <a:cubicBezTo>
                  <a:pt x="238" y="435"/>
                  <a:pt x="231" y="467"/>
                  <a:pt x="222" y="467"/>
                </a:cubicBezTo>
                <a:cubicBezTo>
                  <a:pt x="208" y="467"/>
                  <a:pt x="202" y="426"/>
                  <a:pt x="198" y="396"/>
                </a:cubicBezTo>
                <a:cubicBezTo>
                  <a:pt x="197" y="391"/>
                  <a:pt x="197" y="391"/>
                  <a:pt x="197" y="391"/>
                </a:cubicBezTo>
                <a:cubicBezTo>
                  <a:pt x="194" y="371"/>
                  <a:pt x="191" y="351"/>
                  <a:pt x="185" y="336"/>
                </a:cubicBezTo>
                <a:cubicBezTo>
                  <a:pt x="180" y="320"/>
                  <a:pt x="172" y="306"/>
                  <a:pt x="165" y="294"/>
                </a:cubicBezTo>
                <a:cubicBezTo>
                  <a:pt x="164" y="292"/>
                  <a:pt x="164" y="292"/>
                  <a:pt x="164" y="292"/>
                </a:cubicBezTo>
                <a:cubicBezTo>
                  <a:pt x="151" y="268"/>
                  <a:pt x="139" y="246"/>
                  <a:pt x="139" y="213"/>
                </a:cubicBezTo>
                <a:cubicBezTo>
                  <a:pt x="139" y="170"/>
                  <a:pt x="174" y="136"/>
                  <a:pt x="216" y="136"/>
                </a:cubicBezTo>
                <a:cubicBezTo>
                  <a:pt x="253" y="136"/>
                  <a:pt x="270" y="150"/>
                  <a:pt x="288" y="166"/>
                </a:cubicBezTo>
                <a:cubicBezTo>
                  <a:pt x="306" y="181"/>
                  <a:pt x="327" y="198"/>
                  <a:pt x="363" y="198"/>
                </a:cubicBezTo>
                <a:cubicBezTo>
                  <a:pt x="364" y="198"/>
                  <a:pt x="364" y="198"/>
                  <a:pt x="364" y="198"/>
                </a:cubicBezTo>
                <a:cubicBezTo>
                  <a:pt x="364" y="174"/>
                  <a:pt x="364" y="174"/>
                  <a:pt x="364" y="174"/>
                </a:cubicBezTo>
                <a:lnTo>
                  <a:pt x="363" y="174"/>
                </a:lnTo>
                <a:close/>
                <a:moveTo>
                  <a:pt x="191" y="160"/>
                </a:moveTo>
                <a:cubicBezTo>
                  <a:pt x="204" y="180"/>
                  <a:pt x="204" y="180"/>
                  <a:pt x="204" y="180"/>
                </a:cubicBezTo>
                <a:cubicBezTo>
                  <a:pt x="203" y="181"/>
                  <a:pt x="203" y="181"/>
                  <a:pt x="203" y="181"/>
                </a:cubicBezTo>
                <a:cubicBezTo>
                  <a:pt x="180" y="195"/>
                  <a:pt x="173" y="226"/>
                  <a:pt x="187" y="248"/>
                </a:cubicBezTo>
                <a:cubicBezTo>
                  <a:pt x="188" y="249"/>
                  <a:pt x="188" y="249"/>
                  <a:pt x="188" y="249"/>
                </a:cubicBezTo>
                <a:cubicBezTo>
                  <a:pt x="168" y="262"/>
                  <a:pt x="168" y="262"/>
                  <a:pt x="168" y="262"/>
                </a:cubicBezTo>
                <a:cubicBezTo>
                  <a:pt x="167" y="261"/>
                  <a:pt x="167" y="261"/>
                  <a:pt x="167" y="261"/>
                </a:cubicBezTo>
                <a:cubicBezTo>
                  <a:pt x="157" y="245"/>
                  <a:pt x="154" y="225"/>
                  <a:pt x="158" y="206"/>
                </a:cubicBezTo>
                <a:cubicBezTo>
                  <a:pt x="162" y="187"/>
                  <a:pt x="174" y="171"/>
                  <a:pt x="190" y="161"/>
                </a:cubicBezTo>
                <a:lnTo>
                  <a:pt x="191" y="160"/>
                </a:lnTo>
                <a:close/>
                <a:moveTo>
                  <a:pt x="237" y="168"/>
                </a:moveTo>
                <a:cubicBezTo>
                  <a:pt x="237" y="174"/>
                  <a:pt x="232" y="179"/>
                  <a:pt x="225" y="179"/>
                </a:cubicBezTo>
                <a:cubicBezTo>
                  <a:pt x="219" y="179"/>
                  <a:pt x="214" y="174"/>
                  <a:pt x="214" y="168"/>
                </a:cubicBezTo>
                <a:cubicBezTo>
                  <a:pt x="214" y="161"/>
                  <a:pt x="219" y="156"/>
                  <a:pt x="225" y="156"/>
                </a:cubicBezTo>
                <a:cubicBezTo>
                  <a:pt x="232" y="156"/>
                  <a:pt x="237" y="161"/>
                  <a:pt x="237" y="168"/>
                </a:cubicBezTo>
                <a:close/>
                <a:moveTo>
                  <a:pt x="0" y="0"/>
                </a:moveTo>
                <a:cubicBezTo>
                  <a:pt x="0" y="576"/>
                  <a:pt x="0" y="576"/>
                  <a:pt x="0" y="576"/>
                </a:cubicBezTo>
                <a:cubicBezTo>
                  <a:pt x="576" y="576"/>
                  <a:pt x="576" y="576"/>
                  <a:pt x="576" y="576"/>
                </a:cubicBezTo>
                <a:cubicBezTo>
                  <a:pt x="576" y="0"/>
                  <a:pt x="576" y="0"/>
                  <a:pt x="576" y="0"/>
                </a:cubicBezTo>
                <a:lnTo>
                  <a:pt x="0" y="0"/>
                </a:lnTo>
                <a:close/>
                <a:moveTo>
                  <a:pt x="23" y="552"/>
                </a:moveTo>
                <a:cubicBezTo>
                  <a:pt x="23" y="24"/>
                  <a:pt x="23" y="24"/>
                  <a:pt x="23" y="24"/>
                </a:cubicBezTo>
                <a:cubicBezTo>
                  <a:pt x="552" y="24"/>
                  <a:pt x="552" y="24"/>
                  <a:pt x="552" y="24"/>
                </a:cubicBezTo>
                <a:cubicBezTo>
                  <a:pt x="552" y="552"/>
                  <a:pt x="552" y="552"/>
                  <a:pt x="552" y="552"/>
                </a:cubicBezTo>
                <a:lnTo>
                  <a:pt x="23" y="552"/>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nvGrpSpPr>
          <p:cNvPr id="5" name="Google Shape;1572;p92">
            <a:extLst>
              <a:ext uri="{FF2B5EF4-FFF2-40B4-BE49-F238E27FC236}">
                <a16:creationId xmlns:a16="http://schemas.microsoft.com/office/drawing/2014/main" id="{B2664BA4-3351-49DF-E51C-2731A516378D}"/>
              </a:ext>
            </a:extLst>
          </p:cNvPr>
          <p:cNvGrpSpPr/>
          <p:nvPr/>
        </p:nvGrpSpPr>
        <p:grpSpPr>
          <a:xfrm>
            <a:off x="11281085" y="1930554"/>
            <a:ext cx="360000" cy="360000"/>
            <a:chOff x="8448646" y="3895566"/>
            <a:chExt cx="457200" cy="457200"/>
          </a:xfrm>
        </p:grpSpPr>
        <p:sp>
          <p:nvSpPr>
            <p:cNvPr id="6" name="Google Shape;1573;p92">
              <a:extLst>
                <a:ext uri="{FF2B5EF4-FFF2-40B4-BE49-F238E27FC236}">
                  <a16:creationId xmlns:a16="http://schemas.microsoft.com/office/drawing/2014/main" id="{D1D485D9-992C-9507-12E9-974556D69A56}"/>
                </a:ext>
              </a:extLst>
            </p:cNvPr>
            <p:cNvSpPr/>
            <p:nvPr/>
          </p:nvSpPr>
          <p:spPr>
            <a:xfrm>
              <a:off x="8448646" y="3895566"/>
              <a:ext cx="457200" cy="457200"/>
            </a:xfrm>
            <a:custGeom>
              <a:avLst/>
              <a:gdLst/>
              <a:ahLst/>
              <a:cxnLst/>
              <a:rect l="l" t="t" r="r" b="b"/>
              <a:pathLst>
                <a:path w="457200" h="457200" extrusionOk="0">
                  <a:moveTo>
                    <a:pt x="0" y="0"/>
                  </a:moveTo>
                  <a:lnTo>
                    <a:pt x="0" y="457200"/>
                  </a:lnTo>
                  <a:lnTo>
                    <a:pt x="457200" y="457200"/>
                  </a:lnTo>
                  <a:lnTo>
                    <a:pt x="457200" y="0"/>
                  </a:lnTo>
                  <a:close/>
                  <a:moveTo>
                    <a:pt x="437674" y="19526"/>
                  </a:moveTo>
                  <a:lnTo>
                    <a:pt x="437674" y="195834"/>
                  </a:lnTo>
                  <a:lnTo>
                    <a:pt x="251714" y="195834"/>
                  </a:lnTo>
                  <a:lnTo>
                    <a:pt x="263176" y="215233"/>
                  </a:lnTo>
                  <a:lnTo>
                    <a:pt x="263176" y="215233"/>
                  </a:lnTo>
                  <a:lnTo>
                    <a:pt x="263620" y="215963"/>
                  </a:lnTo>
                  <a:lnTo>
                    <a:pt x="264224" y="216789"/>
                  </a:lnTo>
                  <a:cubicBezTo>
                    <a:pt x="272628" y="228506"/>
                    <a:pt x="277077" y="242598"/>
                    <a:pt x="276924" y="257016"/>
                  </a:cubicBezTo>
                  <a:cubicBezTo>
                    <a:pt x="276919" y="263749"/>
                    <a:pt x="275979" y="270449"/>
                    <a:pt x="274130" y="276924"/>
                  </a:cubicBezTo>
                  <a:cubicBezTo>
                    <a:pt x="272387" y="283430"/>
                    <a:pt x="269634" y="289623"/>
                    <a:pt x="265970" y="295275"/>
                  </a:cubicBezTo>
                  <a:cubicBezTo>
                    <a:pt x="257080" y="308610"/>
                    <a:pt x="243745" y="317119"/>
                    <a:pt x="228600" y="317119"/>
                  </a:cubicBezTo>
                  <a:cubicBezTo>
                    <a:pt x="213455" y="317119"/>
                    <a:pt x="199327" y="307975"/>
                    <a:pt x="190500" y="293846"/>
                  </a:cubicBezTo>
                  <a:cubicBezTo>
                    <a:pt x="187020" y="288292"/>
                    <a:pt x="184397" y="282244"/>
                    <a:pt x="182721" y="275908"/>
                  </a:cubicBezTo>
                  <a:cubicBezTo>
                    <a:pt x="181057" y="269802"/>
                    <a:pt x="180203" y="263503"/>
                    <a:pt x="180181" y="257175"/>
                  </a:cubicBezTo>
                  <a:cubicBezTo>
                    <a:pt x="180028" y="242756"/>
                    <a:pt x="184477" y="228665"/>
                    <a:pt x="192881" y="216948"/>
                  </a:cubicBezTo>
                  <a:lnTo>
                    <a:pt x="193485" y="216122"/>
                  </a:lnTo>
                  <a:lnTo>
                    <a:pt x="193929" y="215392"/>
                  </a:lnTo>
                  <a:lnTo>
                    <a:pt x="193929" y="215392"/>
                  </a:lnTo>
                  <a:lnTo>
                    <a:pt x="205391" y="195993"/>
                  </a:lnTo>
                  <a:lnTo>
                    <a:pt x="19526" y="195993"/>
                  </a:lnTo>
                  <a:lnTo>
                    <a:pt x="19526" y="19526"/>
                  </a:lnTo>
                  <a:close/>
                  <a:moveTo>
                    <a:pt x="286322" y="215360"/>
                  </a:moveTo>
                  <a:lnTo>
                    <a:pt x="437674" y="215360"/>
                  </a:lnTo>
                  <a:lnTo>
                    <a:pt x="437674" y="259017"/>
                  </a:lnTo>
                  <a:cubicBezTo>
                    <a:pt x="428396" y="260304"/>
                    <a:pt x="419627" y="264041"/>
                    <a:pt x="412274" y="269843"/>
                  </a:cubicBezTo>
                  <a:cubicBezTo>
                    <a:pt x="405924" y="274352"/>
                    <a:pt x="401098" y="277590"/>
                    <a:pt x="390462" y="277590"/>
                  </a:cubicBezTo>
                  <a:cubicBezTo>
                    <a:pt x="379825" y="277590"/>
                    <a:pt x="375190" y="274415"/>
                    <a:pt x="368681" y="269843"/>
                  </a:cubicBezTo>
                  <a:cubicBezTo>
                    <a:pt x="349320" y="254769"/>
                    <a:pt x="322193" y="254769"/>
                    <a:pt x="302832" y="269843"/>
                  </a:cubicBezTo>
                  <a:cubicBezTo>
                    <a:pt x="300311" y="271668"/>
                    <a:pt x="297658" y="273303"/>
                    <a:pt x="294894" y="274733"/>
                  </a:cubicBezTo>
                  <a:cubicBezTo>
                    <a:pt x="295995" y="268945"/>
                    <a:pt x="296548" y="263067"/>
                    <a:pt x="296545" y="257175"/>
                  </a:cubicBezTo>
                  <a:cubicBezTo>
                    <a:pt x="296602" y="242611"/>
                    <a:pt x="293093" y="228255"/>
                    <a:pt x="286322" y="215360"/>
                  </a:cubicBezTo>
                  <a:close/>
                  <a:moveTo>
                    <a:pt x="162719" y="276574"/>
                  </a:moveTo>
                  <a:cubicBezTo>
                    <a:pt x="158042" y="275164"/>
                    <a:pt x="153670" y="272892"/>
                    <a:pt x="149828" y="269875"/>
                  </a:cubicBezTo>
                  <a:cubicBezTo>
                    <a:pt x="140494" y="262407"/>
                    <a:pt x="128856" y="258412"/>
                    <a:pt x="116904" y="258572"/>
                  </a:cubicBezTo>
                  <a:cubicBezTo>
                    <a:pt x="104941" y="258412"/>
                    <a:pt x="93294" y="262407"/>
                    <a:pt x="83947" y="269875"/>
                  </a:cubicBezTo>
                  <a:cubicBezTo>
                    <a:pt x="77597" y="274384"/>
                    <a:pt x="72803" y="277622"/>
                    <a:pt x="62198" y="277622"/>
                  </a:cubicBezTo>
                  <a:cubicBezTo>
                    <a:pt x="51594" y="277622"/>
                    <a:pt x="46895" y="274447"/>
                    <a:pt x="40418" y="269875"/>
                  </a:cubicBezTo>
                  <a:cubicBezTo>
                    <a:pt x="34249" y="265079"/>
                    <a:pt x="27126" y="261658"/>
                    <a:pt x="19526" y="259842"/>
                  </a:cubicBezTo>
                  <a:lnTo>
                    <a:pt x="19526" y="215392"/>
                  </a:lnTo>
                  <a:lnTo>
                    <a:pt x="170879" y="215392"/>
                  </a:lnTo>
                  <a:cubicBezTo>
                    <a:pt x="164113" y="228277"/>
                    <a:pt x="160603" y="242622"/>
                    <a:pt x="160655" y="257175"/>
                  </a:cubicBezTo>
                  <a:cubicBezTo>
                    <a:pt x="160643" y="263697"/>
                    <a:pt x="161335" y="270201"/>
                    <a:pt x="162719" y="276574"/>
                  </a:cubicBezTo>
                  <a:close/>
                  <a:moveTo>
                    <a:pt x="19526" y="437674"/>
                  </a:moveTo>
                  <a:lnTo>
                    <a:pt x="19526" y="280130"/>
                  </a:lnTo>
                  <a:cubicBezTo>
                    <a:pt x="22980" y="281623"/>
                    <a:pt x="26251" y="283509"/>
                    <a:pt x="29274" y="285750"/>
                  </a:cubicBezTo>
                  <a:cubicBezTo>
                    <a:pt x="38612" y="293207"/>
                    <a:pt x="50249" y="297190"/>
                    <a:pt x="62198" y="297021"/>
                  </a:cubicBezTo>
                  <a:cubicBezTo>
                    <a:pt x="74191" y="297220"/>
                    <a:pt x="85878" y="293235"/>
                    <a:pt x="95250" y="285750"/>
                  </a:cubicBezTo>
                  <a:cubicBezTo>
                    <a:pt x="101600" y="281242"/>
                    <a:pt x="106394" y="277971"/>
                    <a:pt x="117031" y="277971"/>
                  </a:cubicBezTo>
                  <a:cubicBezTo>
                    <a:pt x="127667" y="277971"/>
                    <a:pt x="132302" y="281146"/>
                    <a:pt x="138779" y="285750"/>
                  </a:cubicBezTo>
                  <a:cubicBezTo>
                    <a:pt x="147680" y="292820"/>
                    <a:pt x="158657" y="296769"/>
                    <a:pt x="170021" y="296990"/>
                  </a:cubicBezTo>
                  <a:cubicBezTo>
                    <a:pt x="181674" y="320675"/>
                    <a:pt x="203549" y="336550"/>
                    <a:pt x="228600" y="336550"/>
                  </a:cubicBezTo>
                  <a:cubicBezTo>
                    <a:pt x="253651" y="336550"/>
                    <a:pt x="275685" y="320675"/>
                    <a:pt x="287433" y="296863"/>
                  </a:cubicBezTo>
                  <a:cubicBezTo>
                    <a:pt x="297132" y="295698"/>
                    <a:pt x="306313" y="291849"/>
                    <a:pt x="313944" y="285750"/>
                  </a:cubicBezTo>
                  <a:cubicBezTo>
                    <a:pt x="320294" y="281242"/>
                    <a:pt x="325120" y="277971"/>
                    <a:pt x="335725" y="277971"/>
                  </a:cubicBezTo>
                  <a:cubicBezTo>
                    <a:pt x="346329" y="277971"/>
                    <a:pt x="351028" y="281146"/>
                    <a:pt x="357505" y="285750"/>
                  </a:cubicBezTo>
                  <a:cubicBezTo>
                    <a:pt x="376895" y="300773"/>
                    <a:pt x="403997" y="300773"/>
                    <a:pt x="423386" y="285750"/>
                  </a:cubicBezTo>
                  <a:cubicBezTo>
                    <a:pt x="427568" y="282373"/>
                    <a:pt x="432448" y="279966"/>
                    <a:pt x="437674" y="278702"/>
                  </a:cubicBezTo>
                  <a:lnTo>
                    <a:pt x="437674" y="437452"/>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7" name="Google Shape;1574;p92">
              <a:extLst>
                <a:ext uri="{FF2B5EF4-FFF2-40B4-BE49-F238E27FC236}">
                  <a16:creationId xmlns:a16="http://schemas.microsoft.com/office/drawing/2014/main" id="{15BA13C0-6C87-20F0-2804-F02F492C5766}"/>
                </a:ext>
              </a:extLst>
            </p:cNvPr>
            <p:cNvSpPr/>
            <p:nvPr/>
          </p:nvSpPr>
          <p:spPr>
            <a:xfrm>
              <a:off x="8515797" y="4267263"/>
              <a:ext cx="50800" cy="19526"/>
            </a:xfrm>
            <a:custGeom>
              <a:avLst/>
              <a:gdLst/>
              <a:ahLst/>
              <a:cxnLst/>
              <a:rect l="l" t="t" r="r" b="b"/>
              <a:pathLst>
                <a:path w="50800" h="19526" extrusionOk="0">
                  <a:moveTo>
                    <a:pt x="0" y="0"/>
                  </a:moveTo>
                  <a:lnTo>
                    <a:pt x="50800" y="0"/>
                  </a:lnTo>
                  <a:lnTo>
                    <a:pt x="50800" y="19526"/>
                  </a:lnTo>
                  <a:lnTo>
                    <a:pt x="0" y="19526"/>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8" name="Google Shape;1575;p92">
              <a:extLst>
                <a:ext uri="{FF2B5EF4-FFF2-40B4-BE49-F238E27FC236}">
                  <a16:creationId xmlns:a16="http://schemas.microsoft.com/office/drawing/2014/main" id="{6FCA05AD-8C35-7836-65D0-E8DA5B08E0ED}"/>
                </a:ext>
              </a:extLst>
            </p:cNvPr>
            <p:cNvSpPr/>
            <p:nvPr/>
          </p:nvSpPr>
          <p:spPr>
            <a:xfrm>
              <a:off x="8782497" y="4267263"/>
              <a:ext cx="50800" cy="19526"/>
            </a:xfrm>
            <a:custGeom>
              <a:avLst/>
              <a:gdLst/>
              <a:ahLst/>
              <a:cxnLst/>
              <a:rect l="l" t="t" r="r" b="b"/>
              <a:pathLst>
                <a:path w="50800" h="19526" extrusionOk="0">
                  <a:moveTo>
                    <a:pt x="0" y="0"/>
                  </a:moveTo>
                  <a:lnTo>
                    <a:pt x="50800" y="0"/>
                  </a:lnTo>
                  <a:lnTo>
                    <a:pt x="50800" y="19526"/>
                  </a:lnTo>
                  <a:lnTo>
                    <a:pt x="0" y="19526"/>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10" name="Google Shape;1576;p92">
              <a:extLst>
                <a:ext uri="{FF2B5EF4-FFF2-40B4-BE49-F238E27FC236}">
                  <a16:creationId xmlns:a16="http://schemas.microsoft.com/office/drawing/2014/main" id="{587DDC30-89F6-93F6-6EBF-3B6714D009F6}"/>
                </a:ext>
              </a:extLst>
            </p:cNvPr>
            <p:cNvSpPr/>
            <p:nvPr/>
          </p:nvSpPr>
          <p:spPr>
            <a:xfrm>
              <a:off x="8693597" y="4267263"/>
              <a:ext cx="50800" cy="19526"/>
            </a:xfrm>
            <a:custGeom>
              <a:avLst/>
              <a:gdLst/>
              <a:ahLst/>
              <a:cxnLst/>
              <a:rect l="l" t="t" r="r" b="b"/>
              <a:pathLst>
                <a:path w="50800" h="19526" extrusionOk="0">
                  <a:moveTo>
                    <a:pt x="0" y="0"/>
                  </a:moveTo>
                  <a:lnTo>
                    <a:pt x="50800" y="0"/>
                  </a:lnTo>
                  <a:lnTo>
                    <a:pt x="50800" y="19526"/>
                  </a:lnTo>
                  <a:lnTo>
                    <a:pt x="0" y="19526"/>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11" name="Google Shape;1577;p92">
              <a:extLst>
                <a:ext uri="{FF2B5EF4-FFF2-40B4-BE49-F238E27FC236}">
                  <a16:creationId xmlns:a16="http://schemas.microsoft.com/office/drawing/2014/main" id="{DB977EC8-480D-D5D8-60CB-3A4515B09437}"/>
                </a:ext>
              </a:extLst>
            </p:cNvPr>
            <p:cNvSpPr/>
            <p:nvPr/>
          </p:nvSpPr>
          <p:spPr>
            <a:xfrm>
              <a:off x="8604697" y="4267263"/>
              <a:ext cx="50800" cy="19526"/>
            </a:xfrm>
            <a:custGeom>
              <a:avLst/>
              <a:gdLst/>
              <a:ahLst/>
              <a:cxnLst/>
              <a:rect l="l" t="t" r="r" b="b"/>
              <a:pathLst>
                <a:path w="50800" h="19526" extrusionOk="0">
                  <a:moveTo>
                    <a:pt x="0" y="0"/>
                  </a:moveTo>
                  <a:lnTo>
                    <a:pt x="50800" y="0"/>
                  </a:lnTo>
                  <a:lnTo>
                    <a:pt x="50800" y="19526"/>
                  </a:lnTo>
                  <a:lnTo>
                    <a:pt x="0" y="19526"/>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grpSp>
        <p:nvGrpSpPr>
          <p:cNvPr id="12" name="Google Shape;1958;p96">
            <a:extLst>
              <a:ext uri="{FF2B5EF4-FFF2-40B4-BE49-F238E27FC236}">
                <a16:creationId xmlns:a16="http://schemas.microsoft.com/office/drawing/2014/main" id="{229A4399-860F-69A4-7AC8-F812E9A2C896}"/>
              </a:ext>
            </a:extLst>
          </p:cNvPr>
          <p:cNvGrpSpPr/>
          <p:nvPr/>
        </p:nvGrpSpPr>
        <p:grpSpPr>
          <a:xfrm>
            <a:off x="3503926" y="1930554"/>
            <a:ext cx="360000" cy="360000"/>
            <a:chOff x="10418558" y="4634724"/>
            <a:chExt cx="457200" cy="457200"/>
          </a:xfrm>
        </p:grpSpPr>
        <p:sp>
          <p:nvSpPr>
            <p:cNvPr id="13" name="Google Shape;1959;p96">
              <a:extLst>
                <a:ext uri="{FF2B5EF4-FFF2-40B4-BE49-F238E27FC236}">
                  <a16:creationId xmlns:a16="http://schemas.microsoft.com/office/drawing/2014/main" id="{525B38CA-341A-699F-6B0D-119258973EDF}"/>
                </a:ext>
              </a:extLst>
            </p:cNvPr>
            <p:cNvSpPr/>
            <p:nvPr/>
          </p:nvSpPr>
          <p:spPr>
            <a:xfrm>
              <a:off x="10623255" y="4833696"/>
              <a:ext cx="200212" cy="200283"/>
            </a:xfrm>
            <a:custGeom>
              <a:avLst/>
              <a:gdLst/>
              <a:ahLst/>
              <a:cxnLst/>
              <a:rect l="l" t="t" r="r" b="b"/>
              <a:pathLst>
                <a:path w="200212" h="200283" extrusionOk="0">
                  <a:moveTo>
                    <a:pt x="58478" y="63123"/>
                  </a:moveTo>
                  <a:lnTo>
                    <a:pt x="16219" y="105383"/>
                  </a:lnTo>
                  <a:cubicBezTo>
                    <a:pt x="-5406" y="127150"/>
                    <a:pt x="-5406" y="162291"/>
                    <a:pt x="16219" y="184059"/>
                  </a:cubicBezTo>
                  <a:lnTo>
                    <a:pt x="16219" y="184059"/>
                  </a:lnTo>
                  <a:cubicBezTo>
                    <a:pt x="26674" y="194508"/>
                    <a:pt x="40870" y="200350"/>
                    <a:pt x="55652" y="200283"/>
                  </a:cubicBezTo>
                  <a:cubicBezTo>
                    <a:pt x="56636" y="200283"/>
                    <a:pt x="57621" y="200283"/>
                    <a:pt x="58573" y="200283"/>
                  </a:cubicBezTo>
                  <a:cubicBezTo>
                    <a:pt x="65241" y="199864"/>
                    <a:pt x="71780" y="198251"/>
                    <a:pt x="77877" y="195521"/>
                  </a:cubicBezTo>
                  <a:cubicBezTo>
                    <a:pt x="84176" y="192794"/>
                    <a:pt x="89906" y="188904"/>
                    <a:pt x="94768" y="184059"/>
                  </a:cubicBezTo>
                  <a:lnTo>
                    <a:pt x="185319" y="93508"/>
                  </a:lnTo>
                  <a:cubicBezTo>
                    <a:pt x="206242" y="71012"/>
                    <a:pt x="204963" y="35815"/>
                    <a:pt x="182468" y="14893"/>
                  </a:cubicBezTo>
                  <a:cubicBezTo>
                    <a:pt x="161142" y="-4941"/>
                    <a:pt x="128128" y="-4967"/>
                    <a:pt x="106770" y="14832"/>
                  </a:cubicBezTo>
                  <a:lnTo>
                    <a:pt x="77877" y="43597"/>
                  </a:lnTo>
                  <a:close/>
                  <a:moveTo>
                    <a:pt x="81052" y="170248"/>
                  </a:moveTo>
                  <a:cubicBezTo>
                    <a:pt x="74985" y="176277"/>
                    <a:pt x="66974" y="179957"/>
                    <a:pt x="58446" y="180630"/>
                  </a:cubicBezTo>
                  <a:cubicBezTo>
                    <a:pt x="57494" y="180630"/>
                    <a:pt x="56509" y="180630"/>
                    <a:pt x="55525" y="180630"/>
                  </a:cubicBezTo>
                  <a:cubicBezTo>
                    <a:pt x="35588" y="180525"/>
                    <a:pt x="19511" y="164279"/>
                    <a:pt x="19615" y="144343"/>
                  </a:cubicBezTo>
                  <a:cubicBezTo>
                    <a:pt x="19664" y="134862"/>
                    <a:pt x="23439" y="125785"/>
                    <a:pt x="30125" y="119067"/>
                  </a:cubicBezTo>
                  <a:lnTo>
                    <a:pt x="43333" y="105827"/>
                  </a:lnTo>
                  <a:lnTo>
                    <a:pt x="58478" y="120972"/>
                  </a:lnTo>
                  <a:lnTo>
                    <a:pt x="77877" y="140562"/>
                  </a:lnTo>
                  <a:lnTo>
                    <a:pt x="94260" y="156945"/>
                  </a:lnTo>
                  <a:close/>
                  <a:moveTo>
                    <a:pt x="120549" y="28643"/>
                  </a:moveTo>
                  <a:cubicBezTo>
                    <a:pt x="134646" y="14545"/>
                    <a:pt x="157506" y="14545"/>
                    <a:pt x="171603" y="28643"/>
                  </a:cubicBezTo>
                  <a:cubicBezTo>
                    <a:pt x="185700" y="42741"/>
                    <a:pt x="185700" y="65599"/>
                    <a:pt x="171603" y="79697"/>
                  </a:cubicBezTo>
                  <a:lnTo>
                    <a:pt x="158332" y="93127"/>
                  </a:lnTo>
                  <a:lnTo>
                    <a:pt x="107278" y="41946"/>
                  </a:lnTo>
                  <a:close/>
                  <a:moveTo>
                    <a:pt x="144552" y="106811"/>
                  </a:moveTo>
                  <a:lnTo>
                    <a:pt x="108198" y="143133"/>
                  </a:lnTo>
                  <a:lnTo>
                    <a:pt x="77877" y="112971"/>
                  </a:lnTo>
                  <a:lnTo>
                    <a:pt x="58478" y="93445"/>
                  </a:lnTo>
                  <a:lnTo>
                    <a:pt x="57144" y="92079"/>
                  </a:lnTo>
                  <a:lnTo>
                    <a:pt x="58478" y="90746"/>
                  </a:lnTo>
                  <a:lnTo>
                    <a:pt x="77877" y="71220"/>
                  </a:lnTo>
                  <a:lnTo>
                    <a:pt x="93339" y="55757"/>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4" name="Google Shape;1960;p96">
              <a:extLst>
                <a:ext uri="{FF2B5EF4-FFF2-40B4-BE49-F238E27FC236}">
                  <a16:creationId xmlns:a16="http://schemas.microsoft.com/office/drawing/2014/main" id="{61E793CC-19F7-C0AA-59BB-146173E573D1}"/>
                </a:ext>
              </a:extLst>
            </p:cNvPr>
            <p:cNvSpPr/>
            <p:nvPr/>
          </p:nvSpPr>
          <p:spPr>
            <a:xfrm rot="-2700000">
              <a:off x="10713811" y="4917672"/>
              <a:ext cx="19526" cy="29210"/>
            </a:xfrm>
            <a:custGeom>
              <a:avLst/>
              <a:gdLst/>
              <a:ahLst/>
              <a:cxnLst/>
              <a:rect l="l" t="t" r="r" b="b"/>
              <a:pathLst>
                <a:path w="19526" h="29210" extrusionOk="0">
                  <a:moveTo>
                    <a:pt x="0" y="0"/>
                  </a:moveTo>
                  <a:lnTo>
                    <a:pt x="19526" y="0"/>
                  </a:lnTo>
                  <a:lnTo>
                    <a:pt x="19526" y="29210"/>
                  </a:lnTo>
                  <a:lnTo>
                    <a:pt x="0" y="2921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5" name="Google Shape;1961;p96">
              <a:extLst>
                <a:ext uri="{FF2B5EF4-FFF2-40B4-BE49-F238E27FC236}">
                  <a16:creationId xmlns:a16="http://schemas.microsoft.com/office/drawing/2014/main" id="{8098566C-D4E3-EF8D-7D46-18B778966168}"/>
                </a:ext>
              </a:extLst>
            </p:cNvPr>
            <p:cNvSpPr/>
            <p:nvPr/>
          </p:nvSpPr>
          <p:spPr>
            <a:xfrm>
              <a:off x="10418558" y="4634724"/>
              <a:ext cx="457200" cy="457200"/>
            </a:xfrm>
            <a:custGeom>
              <a:avLst/>
              <a:gdLst/>
              <a:ahLst/>
              <a:cxnLst/>
              <a:rect l="l" t="t" r="r" b="b"/>
              <a:pathLst>
                <a:path w="457200" h="457200" extrusionOk="0">
                  <a:moveTo>
                    <a:pt x="0" y="0"/>
                  </a:moveTo>
                  <a:lnTo>
                    <a:pt x="0" y="457200"/>
                  </a:lnTo>
                  <a:lnTo>
                    <a:pt x="457200" y="457200"/>
                  </a:lnTo>
                  <a:lnTo>
                    <a:pt x="457200" y="0"/>
                  </a:lnTo>
                  <a:close/>
                  <a:moveTo>
                    <a:pt x="437674" y="437674"/>
                  </a:moveTo>
                  <a:lnTo>
                    <a:pt x="282575" y="437674"/>
                  </a:lnTo>
                  <a:lnTo>
                    <a:pt x="282575" y="414020"/>
                  </a:lnTo>
                  <a:cubicBezTo>
                    <a:pt x="276400" y="416731"/>
                    <a:pt x="269784" y="418303"/>
                    <a:pt x="263049" y="418656"/>
                  </a:cubicBezTo>
                  <a:lnTo>
                    <a:pt x="263049" y="437706"/>
                  </a:lnTo>
                  <a:lnTo>
                    <a:pt x="85249" y="437706"/>
                  </a:lnTo>
                  <a:lnTo>
                    <a:pt x="85249" y="399288"/>
                  </a:lnTo>
                  <a:lnTo>
                    <a:pt x="174149" y="399288"/>
                  </a:lnTo>
                  <a:lnTo>
                    <a:pt x="174149" y="228600"/>
                  </a:lnTo>
                  <a:lnTo>
                    <a:pt x="85249" y="228600"/>
                  </a:lnTo>
                  <a:lnTo>
                    <a:pt x="85249" y="183864"/>
                  </a:lnTo>
                  <a:lnTo>
                    <a:pt x="263049" y="183864"/>
                  </a:lnTo>
                  <a:lnTo>
                    <a:pt x="263049" y="236125"/>
                  </a:lnTo>
                  <a:lnTo>
                    <a:pt x="276225" y="223044"/>
                  </a:lnTo>
                  <a:lnTo>
                    <a:pt x="282575" y="216694"/>
                  </a:lnTo>
                  <a:lnTo>
                    <a:pt x="282575" y="164338"/>
                  </a:lnTo>
                  <a:lnTo>
                    <a:pt x="222250" y="164338"/>
                  </a:lnTo>
                  <a:lnTo>
                    <a:pt x="222250" y="142272"/>
                  </a:lnTo>
                  <a:lnTo>
                    <a:pt x="243396" y="142272"/>
                  </a:lnTo>
                  <a:lnTo>
                    <a:pt x="243396" y="121761"/>
                  </a:lnTo>
                  <a:cubicBezTo>
                    <a:pt x="243396" y="100719"/>
                    <a:pt x="226338" y="83661"/>
                    <a:pt x="205296" y="83661"/>
                  </a:cubicBezTo>
                  <a:lnTo>
                    <a:pt x="142875" y="83661"/>
                  </a:lnTo>
                  <a:cubicBezTo>
                    <a:pt x="121833" y="83661"/>
                    <a:pt x="104775" y="100719"/>
                    <a:pt x="104775" y="121761"/>
                  </a:cubicBezTo>
                  <a:lnTo>
                    <a:pt x="104775" y="142272"/>
                  </a:lnTo>
                  <a:lnTo>
                    <a:pt x="125889" y="142272"/>
                  </a:lnTo>
                  <a:lnTo>
                    <a:pt x="125889" y="164338"/>
                  </a:lnTo>
                  <a:lnTo>
                    <a:pt x="65564" y="164338"/>
                  </a:lnTo>
                  <a:lnTo>
                    <a:pt x="65564" y="437674"/>
                  </a:lnTo>
                  <a:lnTo>
                    <a:pt x="19526" y="437674"/>
                  </a:lnTo>
                  <a:lnTo>
                    <a:pt x="19526" y="19526"/>
                  </a:lnTo>
                  <a:lnTo>
                    <a:pt x="437674" y="19526"/>
                  </a:lnTo>
                  <a:close/>
                  <a:moveTo>
                    <a:pt x="85249" y="379730"/>
                  </a:moveTo>
                  <a:lnTo>
                    <a:pt x="85249" y="248126"/>
                  </a:lnTo>
                  <a:lnTo>
                    <a:pt x="154718" y="248126"/>
                  </a:lnTo>
                  <a:lnTo>
                    <a:pt x="154718" y="379730"/>
                  </a:lnTo>
                  <a:close/>
                  <a:moveTo>
                    <a:pt x="145574" y="122746"/>
                  </a:moveTo>
                  <a:lnTo>
                    <a:pt x="124397" y="122746"/>
                  </a:lnTo>
                  <a:lnTo>
                    <a:pt x="124397" y="121761"/>
                  </a:lnTo>
                  <a:cubicBezTo>
                    <a:pt x="124397" y="111540"/>
                    <a:pt x="132654" y="103240"/>
                    <a:pt x="142875" y="103188"/>
                  </a:cubicBezTo>
                  <a:lnTo>
                    <a:pt x="205550" y="103188"/>
                  </a:lnTo>
                  <a:cubicBezTo>
                    <a:pt x="215800" y="103205"/>
                    <a:pt x="224106" y="111510"/>
                    <a:pt x="224123" y="121761"/>
                  </a:cubicBezTo>
                  <a:lnTo>
                    <a:pt x="224123" y="122746"/>
                  </a:lnTo>
                  <a:lnTo>
                    <a:pt x="145510" y="122746"/>
                  </a:lnTo>
                  <a:close/>
                  <a:moveTo>
                    <a:pt x="203041" y="142272"/>
                  </a:moveTo>
                  <a:lnTo>
                    <a:pt x="203041" y="164338"/>
                  </a:lnTo>
                  <a:lnTo>
                    <a:pt x="145510" y="164338"/>
                  </a:lnTo>
                  <a:lnTo>
                    <a:pt x="145510" y="142272"/>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6" name="Google Shape;1962;p96">
              <a:extLst>
                <a:ext uri="{FF2B5EF4-FFF2-40B4-BE49-F238E27FC236}">
                  <a16:creationId xmlns:a16="http://schemas.microsoft.com/office/drawing/2014/main" id="{5D1487C4-24F7-DCEB-AD5F-DCCCC045562E}"/>
                </a:ext>
              </a:extLst>
            </p:cNvPr>
            <p:cNvSpPr/>
            <p:nvPr/>
          </p:nvSpPr>
          <p:spPr>
            <a:xfrm>
              <a:off x="10730501" y="4699652"/>
              <a:ext cx="72485" cy="72485"/>
            </a:xfrm>
            <a:custGeom>
              <a:avLst/>
              <a:gdLst/>
              <a:ahLst/>
              <a:cxnLst/>
              <a:rect l="l" t="t" r="r" b="b"/>
              <a:pathLst>
                <a:path w="72485" h="72485" extrusionOk="0">
                  <a:moveTo>
                    <a:pt x="26479" y="72485"/>
                  </a:moveTo>
                  <a:lnTo>
                    <a:pt x="46006" y="72485"/>
                  </a:lnTo>
                  <a:lnTo>
                    <a:pt x="46006" y="46038"/>
                  </a:lnTo>
                  <a:lnTo>
                    <a:pt x="72485" y="46038"/>
                  </a:lnTo>
                  <a:lnTo>
                    <a:pt x="72485" y="26511"/>
                  </a:lnTo>
                  <a:lnTo>
                    <a:pt x="46006" y="26511"/>
                  </a:lnTo>
                  <a:lnTo>
                    <a:pt x="46006" y="0"/>
                  </a:lnTo>
                  <a:lnTo>
                    <a:pt x="26479" y="0"/>
                  </a:lnTo>
                  <a:lnTo>
                    <a:pt x="26479" y="26511"/>
                  </a:lnTo>
                  <a:lnTo>
                    <a:pt x="0" y="26511"/>
                  </a:lnTo>
                  <a:lnTo>
                    <a:pt x="0" y="46038"/>
                  </a:lnTo>
                  <a:lnTo>
                    <a:pt x="26479" y="46038"/>
                  </a:lnTo>
                  <a:lnTo>
                    <a:pt x="26479" y="72485"/>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17" name="Rectangle 16">
            <a:extLst>
              <a:ext uri="{FF2B5EF4-FFF2-40B4-BE49-F238E27FC236}">
                <a16:creationId xmlns:a16="http://schemas.microsoft.com/office/drawing/2014/main" id="{68D4BE07-EE77-6573-3961-3389F961B1B0}"/>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25" name="Group 24">
            <a:extLst>
              <a:ext uri="{FF2B5EF4-FFF2-40B4-BE49-F238E27FC236}">
                <a16:creationId xmlns:a16="http://schemas.microsoft.com/office/drawing/2014/main" id="{18730CB1-C26A-3A29-9EA1-5EC411BC4E4E}"/>
              </a:ext>
            </a:extLst>
          </p:cNvPr>
          <p:cNvGrpSpPr/>
          <p:nvPr/>
        </p:nvGrpSpPr>
        <p:grpSpPr>
          <a:xfrm>
            <a:off x="9842140" y="372216"/>
            <a:ext cx="1667215" cy="217488"/>
            <a:chOff x="9842140" y="372216"/>
            <a:chExt cx="1667215" cy="217488"/>
          </a:xfrm>
        </p:grpSpPr>
        <p:sp>
          <p:nvSpPr>
            <p:cNvPr id="29" name="TextBox 28">
              <a:extLst>
                <a:ext uri="{FF2B5EF4-FFF2-40B4-BE49-F238E27FC236}">
                  <a16:creationId xmlns:a16="http://schemas.microsoft.com/office/drawing/2014/main" id="{10358436-04EB-02D3-5145-56A06675C30B}"/>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Stipra asiņošana</a:t>
              </a:r>
            </a:p>
          </p:txBody>
        </p:sp>
        <p:sp>
          <p:nvSpPr>
            <p:cNvPr id="30" name="Freeform 49">
              <a:extLst>
                <a:ext uri="{FF2B5EF4-FFF2-40B4-BE49-F238E27FC236}">
                  <a16:creationId xmlns:a16="http://schemas.microsoft.com/office/drawing/2014/main" id="{F1C8D19D-1D86-2F27-142A-E800100023BF}"/>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31" name="Group 30">
            <a:extLst>
              <a:ext uri="{FF2B5EF4-FFF2-40B4-BE49-F238E27FC236}">
                <a16:creationId xmlns:a16="http://schemas.microsoft.com/office/drawing/2014/main" id="{944A3A02-F23A-8251-02DA-CB0DE2E39945}"/>
              </a:ext>
            </a:extLst>
          </p:cNvPr>
          <p:cNvGrpSpPr/>
          <p:nvPr/>
        </p:nvGrpSpPr>
        <p:grpSpPr>
          <a:xfrm>
            <a:off x="9122935" y="126781"/>
            <a:ext cx="2626153" cy="217488"/>
            <a:chOff x="9122935" y="126781"/>
            <a:chExt cx="2626153" cy="217488"/>
          </a:xfrm>
        </p:grpSpPr>
        <p:sp>
          <p:nvSpPr>
            <p:cNvPr id="38" name="Rectangle 37">
              <a:extLst>
                <a:ext uri="{FF2B5EF4-FFF2-40B4-BE49-F238E27FC236}">
                  <a16:creationId xmlns:a16="http://schemas.microsoft.com/office/drawing/2014/main" id="{A967A15F-505C-37E7-D008-23DDD9B067C4}"/>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39" name="Rectangle 38">
              <a:extLst>
                <a:ext uri="{FF2B5EF4-FFF2-40B4-BE49-F238E27FC236}">
                  <a16:creationId xmlns:a16="http://schemas.microsoft.com/office/drawing/2014/main" id="{AE8A89F2-E00B-5D5B-54DB-7D40A015464E}"/>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43" name="Rectangle 42">
              <a:extLst>
                <a:ext uri="{FF2B5EF4-FFF2-40B4-BE49-F238E27FC236}">
                  <a16:creationId xmlns:a16="http://schemas.microsoft.com/office/drawing/2014/main" id="{085D23F0-C4D6-BFDF-B5AC-252FF5FDB797}"/>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44" name="Rectangle 43">
              <a:extLst>
                <a:ext uri="{FF2B5EF4-FFF2-40B4-BE49-F238E27FC236}">
                  <a16:creationId xmlns:a16="http://schemas.microsoft.com/office/drawing/2014/main" id="{5DE331D2-E6D5-8093-4FEF-32BD7332CEAC}"/>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52" name="Rectangle 51">
              <a:extLst>
                <a:ext uri="{FF2B5EF4-FFF2-40B4-BE49-F238E27FC236}">
                  <a16:creationId xmlns:a16="http://schemas.microsoft.com/office/drawing/2014/main" id="{452ADE97-FBAD-E1D4-DDF4-6E748D28E9D3}"/>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53" name="Rectangle 52">
              <a:extLst>
                <a:ext uri="{FF2B5EF4-FFF2-40B4-BE49-F238E27FC236}">
                  <a16:creationId xmlns:a16="http://schemas.microsoft.com/office/drawing/2014/main" id="{F0591311-5355-C666-427D-900A4F166158}"/>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19814128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A433BE6-1CEA-AB6A-7754-67F567E06375}"/>
              </a:ext>
            </a:extLst>
          </p:cNvPr>
          <p:cNvGraphicFramePr>
            <a:graphicFrameLocks noChangeAspect="1"/>
          </p:cNvGraphicFramePr>
          <p:nvPr>
            <p:custDataLst>
              <p:tags r:id="rId1"/>
            </p:custDataLst>
            <p:extLst>
              <p:ext uri="{D42A27DB-BD31-4B8C-83A1-F6EECF244321}">
                <p14:modId xmlns:p14="http://schemas.microsoft.com/office/powerpoint/2010/main" val="2148789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FA433BE6-1CEA-AB6A-7754-67F567E063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a:lstStyle/>
          <a:p>
            <a:r>
              <a:rPr lang="lv-LV"/>
              <a:t>Kā rīkoties pārkaršanas gadījumā?</a:t>
            </a:r>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lv-LV" smtClean="0"/>
              <a:pPr/>
              <a:t>23</a:t>
            </a:fld>
            <a:endParaRPr lang="lv-LV"/>
          </a:p>
        </p:txBody>
      </p:sp>
      <p:sp>
        <p:nvSpPr>
          <p:cNvPr id="25" name="Rectangle 24">
            <a:extLst>
              <a:ext uri="{FF2B5EF4-FFF2-40B4-BE49-F238E27FC236}">
                <a16:creationId xmlns:a16="http://schemas.microsoft.com/office/drawing/2014/main" id="{3F4B047B-9FFA-12D1-B8AD-AAC2A9759CAF}"/>
              </a:ext>
            </a:extLst>
          </p:cNvPr>
          <p:cNvSpPr/>
          <p:nvPr/>
        </p:nvSpPr>
        <p:spPr>
          <a:xfrm>
            <a:off x="9280808" y="2398554"/>
            <a:ext cx="2468280"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a:spcAft>
                <a:spcPts val="600"/>
              </a:spcAft>
              <a:buBlip>
                <a:blip r:embed="rId6"/>
              </a:buBlip>
            </a:pPr>
            <a:r>
              <a:rPr lang="lv-LV" sz="1400">
                <a:solidFill>
                  <a:schemeClr val="tx1"/>
                </a:solidFill>
              </a:rPr>
              <a:t>Ieteicamie dzērieni - minerālūdens, ūdens, sula, piens ar samazinātu tauku saturu. Ja pieejami, vēlams lietot ogļhidrātu/elektrolītu dzērienus.</a:t>
            </a:r>
          </a:p>
          <a:p>
            <a:pPr marL="285750" indent="-285750">
              <a:spcAft>
                <a:spcPts val="600"/>
              </a:spcAft>
              <a:buBlip>
                <a:blip r:embed="rId6"/>
              </a:buBlip>
            </a:pPr>
            <a:r>
              <a:rPr lang="lv-LV" sz="1400">
                <a:solidFill>
                  <a:schemeClr val="tx1"/>
                </a:solidFill>
              </a:rPr>
              <a:t>Dzesēšanai var izmantot arī vēsa dzēriena pudeles, audumā ietītu ledu.</a:t>
            </a:r>
          </a:p>
          <a:p>
            <a:pPr marL="285750" indent="-285750">
              <a:spcAft>
                <a:spcPts val="600"/>
              </a:spcAft>
              <a:buBlip>
                <a:blip r:embed="rId6"/>
              </a:buBlip>
            </a:pPr>
            <a:r>
              <a:rPr lang="lv-LV" sz="1400">
                <a:solidFill>
                  <a:schemeClr val="tx1"/>
                </a:solidFill>
              </a:rPr>
              <a:t>Nelietot alkoholu vai kofeīnu saturošus dzērienus, enerģijas dzērienus. </a:t>
            </a:r>
          </a:p>
        </p:txBody>
      </p:sp>
      <p:sp>
        <p:nvSpPr>
          <p:cNvPr id="26" name="Rectangle 25">
            <a:extLst>
              <a:ext uri="{FF2B5EF4-FFF2-40B4-BE49-F238E27FC236}">
                <a16:creationId xmlns:a16="http://schemas.microsoft.com/office/drawing/2014/main" id="{515B18CF-E56A-6B40-4A0F-0EAA1C8F56C7}"/>
              </a:ext>
            </a:extLst>
          </p:cNvPr>
          <p:cNvSpPr/>
          <p:nvPr/>
        </p:nvSpPr>
        <p:spPr>
          <a:xfrm>
            <a:off x="9280808" y="1822554"/>
            <a:ext cx="2468280"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27" name="Content Placeholder 1">
            <a:extLst>
              <a:ext uri="{FF2B5EF4-FFF2-40B4-BE49-F238E27FC236}">
                <a16:creationId xmlns:a16="http://schemas.microsoft.com/office/drawing/2014/main" id="{DB25174A-0656-78A0-0079-8CF72BC6431E}"/>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28" name="Content Placeholder 1">
            <a:extLst>
              <a:ext uri="{FF2B5EF4-FFF2-40B4-BE49-F238E27FC236}">
                <a16:creationId xmlns:a16="http://schemas.microsoft.com/office/drawing/2014/main" id="{E26856B4-6C3C-09CB-5094-5D5C14CB617C}"/>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29" name="Google Shape;794;p79">
            <a:extLst>
              <a:ext uri="{FF2B5EF4-FFF2-40B4-BE49-F238E27FC236}">
                <a16:creationId xmlns:a16="http://schemas.microsoft.com/office/drawing/2014/main" id="{D24D2039-8EB4-6BDE-56F6-C1CF4E0BD27B}"/>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34" name="Content Placeholder 1">
            <a:extLst>
              <a:ext uri="{FF2B5EF4-FFF2-40B4-BE49-F238E27FC236}">
                <a16:creationId xmlns:a16="http://schemas.microsoft.com/office/drawing/2014/main" id="{AC027842-8E0B-F976-084E-7FD104C43A84}"/>
              </a:ext>
            </a:extLst>
          </p:cNvPr>
          <p:cNvSpPr txBox="1">
            <a:spLocks/>
          </p:cNvSpPr>
          <p:nvPr/>
        </p:nvSpPr>
        <p:spPr>
          <a:xfrm>
            <a:off x="3272618" y="5794201"/>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600">
                <a:solidFill>
                  <a:schemeClr val="bg1"/>
                </a:solidFill>
              </a:rPr>
              <a:t>9</a:t>
            </a:r>
          </a:p>
        </p:txBody>
      </p:sp>
      <p:sp>
        <p:nvSpPr>
          <p:cNvPr id="35" name="TextBox 34">
            <a:extLst>
              <a:ext uri="{FF2B5EF4-FFF2-40B4-BE49-F238E27FC236}">
                <a16:creationId xmlns:a16="http://schemas.microsoft.com/office/drawing/2014/main" id="{432C5712-D5AD-47F7-FC20-0EB40EAFE2D2}"/>
              </a:ext>
            </a:extLst>
          </p:cNvPr>
          <p:cNvSpPr txBox="1"/>
          <p:nvPr/>
        </p:nvSpPr>
        <p:spPr>
          <a:xfrm>
            <a:off x="4129246" y="2531791"/>
            <a:ext cx="4784310" cy="377825"/>
          </a:xfrm>
          <a:prstGeom prst="rect">
            <a:avLst/>
          </a:prstGeom>
          <a:noFill/>
        </p:spPr>
        <p:txBody>
          <a:bodyPr wrap="square" anchor="ctr">
            <a:noAutofit/>
          </a:bodyPr>
          <a:lstStyle/>
          <a:p>
            <a:pPr>
              <a:spcAft>
                <a:spcPts val="0"/>
              </a:spcAft>
            </a:pPr>
            <a:r>
              <a:rPr lang="lv-LV" sz="1400">
                <a:solidFill>
                  <a:schemeClr val="tx1"/>
                </a:solidFill>
              </a:rPr>
              <a:t>Gādājiet, lai cietušais pārtrauc jebkādu fizisku slodzi.</a:t>
            </a:r>
          </a:p>
        </p:txBody>
      </p:sp>
      <p:sp>
        <p:nvSpPr>
          <p:cNvPr id="36" name="Content Placeholder 1">
            <a:extLst>
              <a:ext uri="{FF2B5EF4-FFF2-40B4-BE49-F238E27FC236}">
                <a16:creationId xmlns:a16="http://schemas.microsoft.com/office/drawing/2014/main" id="{1A91B8D2-3367-8EC1-1639-E51629AF1E93}"/>
              </a:ext>
            </a:extLst>
          </p:cNvPr>
          <p:cNvSpPr txBox="1">
            <a:spLocks/>
          </p:cNvSpPr>
          <p:nvPr/>
        </p:nvSpPr>
        <p:spPr>
          <a:xfrm>
            <a:off x="3272618" y="2939592"/>
            <a:ext cx="630238" cy="37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600">
                <a:solidFill>
                  <a:schemeClr val="bg1"/>
                </a:solidFill>
              </a:rPr>
              <a:t>2</a:t>
            </a:r>
          </a:p>
        </p:txBody>
      </p:sp>
      <p:sp>
        <p:nvSpPr>
          <p:cNvPr id="37" name="Content Placeholder 1">
            <a:extLst>
              <a:ext uri="{FF2B5EF4-FFF2-40B4-BE49-F238E27FC236}">
                <a16:creationId xmlns:a16="http://schemas.microsoft.com/office/drawing/2014/main" id="{43ADB3DB-3BA4-7C31-08CB-601A2D7BCC02}"/>
              </a:ext>
            </a:extLst>
          </p:cNvPr>
          <p:cNvSpPr txBox="1">
            <a:spLocks/>
          </p:cNvSpPr>
          <p:nvPr/>
        </p:nvSpPr>
        <p:spPr>
          <a:xfrm>
            <a:off x="3272618" y="3347393"/>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600">
                <a:solidFill>
                  <a:schemeClr val="bg1"/>
                </a:solidFill>
              </a:rPr>
              <a:t>3</a:t>
            </a:r>
          </a:p>
        </p:txBody>
      </p:sp>
      <p:sp>
        <p:nvSpPr>
          <p:cNvPr id="38" name="Content Placeholder 1">
            <a:extLst>
              <a:ext uri="{FF2B5EF4-FFF2-40B4-BE49-F238E27FC236}">
                <a16:creationId xmlns:a16="http://schemas.microsoft.com/office/drawing/2014/main" id="{BD7935CE-15D8-1811-94CE-B987A34E5FB0}"/>
              </a:ext>
            </a:extLst>
          </p:cNvPr>
          <p:cNvSpPr txBox="1">
            <a:spLocks/>
          </p:cNvSpPr>
          <p:nvPr/>
        </p:nvSpPr>
        <p:spPr>
          <a:xfrm>
            <a:off x="3272618" y="3755194"/>
            <a:ext cx="630238" cy="37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600">
                <a:solidFill>
                  <a:schemeClr val="bg1"/>
                </a:solidFill>
              </a:rPr>
              <a:t>4</a:t>
            </a:r>
          </a:p>
        </p:txBody>
      </p:sp>
      <p:sp>
        <p:nvSpPr>
          <p:cNvPr id="39" name="Content Placeholder 1">
            <a:extLst>
              <a:ext uri="{FF2B5EF4-FFF2-40B4-BE49-F238E27FC236}">
                <a16:creationId xmlns:a16="http://schemas.microsoft.com/office/drawing/2014/main" id="{B6D3ACFB-DDDC-6CAA-D35D-49EA05634711}"/>
              </a:ext>
            </a:extLst>
          </p:cNvPr>
          <p:cNvSpPr txBox="1">
            <a:spLocks/>
          </p:cNvSpPr>
          <p:nvPr/>
        </p:nvSpPr>
        <p:spPr>
          <a:xfrm>
            <a:off x="3272618" y="4162995"/>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600">
                <a:solidFill>
                  <a:schemeClr val="bg1"/>
                </a:solidFill>
              </a:rPr>
              <a:t>5</a:t>
            </a:r>
          </a:p>
        </p:txBody>
      </p:sp>
      <p:sp>
        <p:nvSpPr>
          <p:cNvPr id="40" name="Content Placeholder 1">
            <a:extLst>
              <a:ext uri="{FF2B5EF4-FFF2-40B4-BE49-F238E27FC236}">
                <a16:creationId xmlns:a16="http://schemas.microsoft.com/office/drawing/2014/main" id="{7EBB5C10-CFEF-60B6-E81C-B496F1A52649}"/>
              </a:ext>
            </a:extLst>
          </p:cNvPr>
          <p:cNvSpPr txBox="1">
            <a:spLocks/>
          </p:cNvSpPr>
          <p:nvPr/>
        </p:nvSpPr>
        <p:spPr>
          <a:xfrm>
            <a:off x="3272618" y="4570796"/>
            <a:ext cx="630238" cy="37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600">
                <a:solidFill>
                  <a:schemeClr val="bg1"/>
                </a:solidFill>
              </a:rPr>
              <a:t>6</a:t>
            </a:r>
          </a:p>
        </p:txBody>
      </p:sp>
      <p:sp>
        <p:nvSpPr>
          <p:cNvPr id="41" name="Content Placeholder 1">
            <a:extLst>
              <a:ext uri="{FF2B5EF4-FFF2-40B4-BE49-F238E27FC236}">
                <a16:creationId xmlns:a16="http://schemas.microsoft.com/office/drawing/2014/main" id="{985E6054-94C7-8CF3-851D-FD85DE2F92CB}"/>
              </a:ext>
            </a:extLst>
          </p:cNvPr>
          <p:cNvSpPr txBox="1">
            <a:spLocks/>
          </p:cNvSpPr>
          <p:nvPr/>
        </p:nvSpPr>
        <p:spPr>
          <a:xfrm>
            <a:off x="3272618" y="4978597"/>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600">
                <a:solidFill>
                  <a:schemeClr val="bg1"/>
                </a:solidFill>
              </a:rPr>
              <a:t>7</a:t>
            </a:r>
          </a:p>
        </p:txBody>
      </p:sp>
      <p:sp>
        <p:nvSpPr>
          <p:cNvPr id="42" name="Content Placeholder 1">
            <a:extLst>
              <a:ext uri="{FF2B5EF4-FFF2-40B4-BE49-F238E27FC236}">
                <a16:creationId xmlns:a16="http://schemas.microsoft.com/office/drawing/2014/main" id="{554E30E1-83B8-7761-D567-A1C24032F242}"/>
              </a:ext>
            </a:extLst>
          </p:cNvPr>
          <p:cNvSpPr txBox="1">
            <a:spLocks/>
          </p:cNvSpPr>
          <p:nvPr/>
        </p:nvSpPr>
        <p:spPr>
          <a:xfrm>
            <a:off x="3272618" y="5386398"/>
            <a:ext cx="630238" cy="37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600">
                <a:solidFill>
                  <a:schemeClr val="bg1"/>
                </a:solidFill>
              </a:rPr>
              <a:t>8</a:t>
            </a:r>
          </a:p>
        </p:txBody>
      </p:sp>
      <p:sp>
        <p:nvSpPr>
          <p:cNvPr id="43" name="TextBox 42">
            <a:extLst>
              <a:ext uri="{FF2B5EF4-FFF2-40B4-BE49-F238E27FC236}">
                <a16:creationId xmlns:a16="http://schemas.microsoft.com/office/drawing/2014/main" id="{B59B899D-1483-7DB7-884C-1BF5BB66EEF8}"/>
              </a:ext>
            </a:extLst>
          </p:cNvPr>
          <p:cNvSpPr txBox="1"/>
          <p:nvPr/>
        </p:nvSpPr>
        <p:spPr>
          <a:xfrm>
            <a:off x="4129246" y="2939592"/>
            <a:ext cx="4784310" cy="377825"/>
          </a:xfrm>
          <a:prstGeom prst="rect">
            <a:avLst/>
          </a:prstGeom>
          <a:noFill/>
        </p:spPr>
        <p:txBody>
          <a:bodyPr wrap="square" anchor="ctr">
            <a:noAutofit/>
          </a:bodyPr>
          <a:lstStyle/>
          <a:p>
            <a:pPr>
              <a:spcAft>
                <a:spcPts val="0"/>
              </a:spcAft>
            </a:pPr>
            <a:r>
              <a:rPr lang="lv-LV" sz="1400">
                <a:solidFill>
                  <a:schemeClr val="tx1"/>
                </a:solidFill>
              </a:rPr>
              <a:t>Nekavējoties pārvietojiet cietušo iespējami vēsākā vietā vai ēnā, novietojiet pusguļus.</a:t>
            </a:r>
          </a:p>
        </p:txBody>
      </p:sp>
      <p:sp>
        <p:nvSpPr>
          <p:cNvPr id="44" name="TextBox 43">
            <a:extLst>
              <a:ext uri="{FF2B5EF4-FFF2-40B4-BE49-F238E27FC236}">
                <a16:creationId xmlns:a16="http://schemas.microsoft.com/office/drawing/2014/main" id="{94871D9B-9CA0-96F3-8E39-FD36C686E5B2}"/>
              </a:ext>
            </a:extLst>
          </p:cNvPr>
          <p:cNvSpPr txBox="1"/>
          <p:nvPr/>
        </p:nvSpPr>
        <p:spPr>
          <a:xfrm>
            <a:off x="4129246" y="3755194"/>
            <a:ext cx="4784310" cy="377825"/>
          </a:xfrm>
          <a:prstGeom prst="rect">
            <a:avLst/>
          </a:prstGeom>
          <a:noFill/>
        </p:spPr>
        <p:txBody>
          <a:bodyPr wrap="square" anchor="ctr">
            <a:noAutofit/>
          </a:bodyPr>
          <a:lstStyle/>
          <a:p>
            <a:pPr>
              <a:spcAft>
                <a:spcPts val="0"/>
              </a:spcAft>
            </a:pPr>
            <a:r>
              <a:rPr lang="lv-LV" sz="1400">
                <a:solidFill>
                  <a:schemeClr val="tx1"/>
                </a:solidFill>
              </a:rPr>
              <a:t>Atkārtoti mitriniet ar vēsu ūdeni cietušā galvu, kaklu, krūtis.</a:t>
            </a:r>
          </a:p>
        </p:txBody>
      </p:sp>
      <p:sp>
        <p:nvSpPr>
          <p:cNvPr id="45" name="TextBox 44">
            <a:extLst>
              <a:ext uri="{FF2B5EF4-FFF2-40B4-BE49-F238E27FC236}">
                <a16:creationId xmlns:a16="http://schemas.microsoft.com/office/drawing/2014/main" id="{8D71FF02-0232-FA91-F9B2-51C5765FD1F0}"/>
              </a:ext>
            </a:extLst>
          </p:cNvPr>
          <p:cNvSpPr txBox="1"/>
          <p:nvPr/>
        </p:nvSpPr>
        <p:spPr>
          <a:xfrm>
            <a:off x="4129246" y="4162995"/>
            <a:ext cx="4784310" cy="377825"/>
          </a:xfrm>
          <a:prstGeom prst="rect">
            <a:avLst/>
          </a:prstGeom>
          <a:noFill/>
        </p:spPr>
        <p:txBody>
          <a:bodyPr wrap="square" anchor="ctr">
            <a:noAutofit/>
          </a:bodyPr>
          <a:lstStyle/>
          <a:p>
            <a:pPr>
              <a:spcAft>
                <a:spcPts val="0"/>
              </a:spcAft>
            </a:pPr>
            <a:r>
              <a:rPr lang="lv-LV" sz="1400">
                <a:solidFill>
                  <a:schemeClr val="tx1"/>
                </a:solidFill>
              </a:rPr>
              <a:t>Dzesēšanai izmantojiet aukstus priekšmetus.</a:t>
            </a:r>
          </a:p>
        </p:txBody>
      </p:sp>
      <p:sp>
        <p:nvSpPr>
          <p:cNvPr id="46" name="TextBox 45">
            <a:extLst>
              <a:ext uri="{FF2B5EF4-FFF2-40B4-BE49-F238E27FC236}">
                <a16:creationId xmlns:a16="http://schemas.microsoft.com/office/drawing/2014/main" id="{AA6DDFE9-80E6-B7F6-FB38-9917BC91B4D2}"/>
              </a:ext>
            </a:extLst>
          </p:cNvPr>
          <p:cNvSpPr txBox="1"/>
          <p:nvPr/>
        </p:nvSpPr>
        <p:spPr>
          <a:xfrm>
            <a:off x="4129246" y="4978597"/>
            <a:ext cx="4784310" cy="377825"/>
          </a:xfrm>
          <a:prstGeom prst="rect">
            <a:avLst/>
          </a:prstGeom>
          <a:noFill/>
        </p:spPr>
        <p:txBody>
          <a:bodyPr wrap="square" anchor="ctr">
            <a:noAutofit/>
          </a:bodyPr>
          <a:lstStyle/>
          <a:p>
            <a:pPr>
              <a:spcAft>
                <a:spcPts val="0"/>
              </a:spcAft>
            </a:pPr>
            <a:r>
              <a:rPr lang="lv-LV" sz="1400">
                <a:solidFill>
                  <a:schemeClr val="tx1"/>
                </a:solidFill>
              </a:rPr>
              <a:t>Vēdiniet, dzesējiet, radiet gaisa plūsmu.</a:t>
            </a:r>
          </a:p>
        </p:txBody>
      </p:sp>
      <p:sp>
        <p:nvSpPr>
          <p:cNvPr id="47" name="TextBox 46">
            <a:extLst>
              <a:ext uri="{FF2B5EF4-FFF2-40B4-BE49-F238E27FC236}">
                <a16:creationId xmlns:a16="http://schemas.microsoft.com/office/drawing/2014/main" id="{115D63E8-2A8B-9CF7-1918-27AD2BA124D4}"/>
              </a:ext>
            </a:extLst>
          </p:cNvPr>
          <p:cNvSpPr txBox="1"/>
          <p:nvPr/>
        </p:nvSpPr>
        <p:spPr>
          <a:xfrm>
            <a:off x="4129246" y="5386398"/>
            <a:ext cx="4784310" cy="377825"/>
          </a:xfrm>
          <a:prstGeom prst="rect">
            <a:avLst/>
          </a:prstGeom>
          <a:noFill/>
        </p:spPr>
        <p:txBody>
          <a:bodyPr wrap="square" anchor="ctr">
            <a:noAutofit/>
          </a:bodyPr>
          <a:lstStyle/>
          <a:p>
            <a:pPr>
              <a:spcAft>
                <a:spcPts val="0"/>
              </a:spcAft>
            </a:pPr>
            <a:r>
              <a:rPr lang="lv-LV" sz="1400">
                <a:solidFill>
                  <a:schemeClr val="tx1"/>
                </a:solidFill>
              </a:rPr>
              <a:t>Izsauciet Neatliekamo palīdzību.</a:t>
            </a:r>
          </a:p>
        </p:txBody>
      </p:sp>
      <p:sp>
        <p:nvSpPr>
          <p:cNvPr id="48" name="TextBox 47">
            <a:extLst>
              <a:ext uri="{FF2B5EF4-FFF2-40B4-BE49-F238E27FC236}">
                <a16:creationId xmlns:a16="http://schemas.microsoft.com/office/drawing/2014/main" id="{45C97A8C-D8E3-502E-7F55-E280CB660E7E}"/>
              </a:ext>
            </a:extLst>
          </p:cNvPr>
          <p:cNvSpPr txBox="1"/>
          <p:nvPr/>
        </p:nvSpPr>
        <p:spPr>
          <a:xfrm>
            <a:off x="4129246" y="3347393"/>
            <a:ext cx="4784310" cy="377825"/>
          </a:xfrm>
          <a:prstGeom prst="rect">
            <a:avLst/>
          </a:prstGeom>
          <a:noFill/>
        </p:spPr>
        <p:txBody>
          <a:bodyPr wrap="square" anchor="ctr">
            <a:noAutofit/>
          </a:bodyPr>
          <a:lstStyle/>
          <a:p>
            <a:pPr>
              <a:spcAft>
                <a:spcPts val="0"/>
              </a:spcAft>
            </a:pPr>
            <a:r>
              <a:rPr lang="lv-LV" sz="1400">
                <a:solidFill>
                  <a:schemeClr val="tx1"/>
                </a:solidFill>
              </a:rPr>
              <a:t>Atģērbiet cietušo.</a:t>
            </a:r>
          </a:p>
        </p:txBody>
      </p:sp>
      <p:sp>
        <p:nvSpPr>
          <p:cNvPr id="49" name="TextBox 48">
            <a:extLst>
              <a:ext uri="{FF2B5EF4-FFF2-40B4-BE49-F238E27FC236}">
                <a16:creationId xmlns:a16="http://schemas.microsoft.com/office/drawing/2014/main" id="{1D2FF4CB-94E6-2366-A7D2-CA1C854C04A2}"/>
              </a:ext>
            </a:extLst>
          </p:cNvPr>
          <p:cNvSpPr txBox="1"/>
          <p:nvPr/>
        </p:nvSpPr>
        <p:spPr>
          <a:xfrm>
            <a:off x="4129246" y="4570796"/>
            <a:ext cx="4784310" cy="377825"/>
          </a:xfrm>
          <a:prstGeom prst="rect">
            <a:avLst/>
          </a:prstGeom>
          <a:noFill/>
        </p:spPr>
        <p:txBody>
          <a:bodyPr wrap="square" anchor="ctr">
            <a:noAutofit/>
          </a:bodyPr>
          <a:lstStyle/>
          <a:p>
            <a:pPr>
              <a:spcAft>
                <a:spcPts val="0"/>
              </a:spcAft>
            </a:pPr>
            <a:r>
              <a:rPr lang="lv-LV" sz="1400">
                <a:solidFill>
                  <a:schemeClr val="tx1"/>
                </a:solidFill>
              </a:rPr>
              <a:t>Dodiet dzert vēsu dzērienu.</a:t>
            </a:r>
          </a:p>
        </p:txBody>
      </p:sp>
      <p:cxnSp>
        <p:nvCxnSpPr>
          <p:cNvPr id="50" name="Straight Connector 49">
            <a:extLst>
              <a:ext uri="{FF2B5EF4-FFF2-40B4-BE49-F238E27FC236}">
                <a16:creationId xmlns:a16="http://schemas.microsoft.com/office/drawing/2014/main" id="{17653C16-CA97-6000-D7DD-7E037FD85C05}"/>
              </a:ext>
            </a:extLst>
          </p:cNvPr>
          <p:cNvCxnSpPr>
            <a:cxnSpLocks/>
          </p:cNvCxnSpPr>
          <p:nvPr/>
        </p:nvCxnSpPr>
        <p:spPr>
          <a:xfrm>
            <a:off x="4129246" y="2923413"/>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1" name="Straight Connector 50">
            <a:extLst>
              <a:ext uri="{FF2B5EF4-FFF2-40B4-BE49-F238E27FC236}">
                <a16:creationId xmlns:a16="http://schemas.microsoft.com/office/drawing/2014/main" id="{537A688A-62B8-6587-C298-654E7B6FDBF3}"/>
              </a:ext>
            </a:extLst>
          </p:cNvPr>
          <p:cNvCxnSpPr>
            <a:cxnSpLocks/>
          </p:cNvCxnSpPr>
          <p:nvPr/>
        </p:nvCxnSpPr>
        <p:spPr>
          <a:xfrm>
            <a:off x="4129246" y="3331214"/>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2" name="Straight Connector 51">
            <a:extLst>
              <a:ext uri="{FF2B5EF4-FFF2-40B4-BE49-F238E27FC236}">
                <a16:creationId xmlns:a16="http://schemas.microsoft.com/office/drawing/2014/main" id="{F4C3403E-2696-D97B-0B87-BE29207A69F6}"/>
              </a:ext>
            </a:extLst>
          </p:cNvPr>
          <p:cNvCxnSpPr>
            <a:cxnSpLocks/>
          </p:cNvCxnSpPr>
          <p:nvPr/>
        </p:nvCxnSpPr>
        <p:spPr>
          <a:xfrm>
            <a:off x="4129246" y="3739015"/>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3" name="Straight Connector 52">
            <a:extLst>
              <a:ext uri="{FF2B5EF4-FFF2-40B4-BE49-F238E27FC236}">
                <a16:creationId xmlns:a16="http://schemas.microsoft.com/office/drawing/2014/main" id="{FD46ACCE-2596-0F71-8814-2633D9B4F1BE}"/>
              </a:ext>
            </a:extLst>
          </p:cNvPr>
          <p:cNvCxnSpPr>
            <a:cxnSpLocks/>
          </p:cNvCxnSpPr>
          <p:nvPr/>
        </p:nvCxnSpPr>
        <p:spPr>
          <a:xfrm>
            <a:off x="4129246" y="4146816"/>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4" name="Straight Connector 53">
            <a:extLst>
              <a:ext uri="{FF2B5EF4-FFF2-40B4-BE49-F238E27FC236}">
                <a16:creationId xmlns:a16="http://schemas.microsoft.com/office/drawing/2014/main" id="{AC8294AA-CBC2-5CBD-9450-3317CF937180}"/>
              </a:ext>
            </a:extLst>
          </p:cNvPr>
          <p:cNvCxnSpPr>
            <a:cxnSpLocks/>
          </p:cNvCxnSpPr>
          <p:nvPr/>
        </p:nvCxnSpPr>
        <p:spPr>
          <a:xfrm>
            <a:off x="4129246" y="4554617"/>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5" name="Straight Connector 54">
            <a:extLst>
              <a:ext uri="{FF2B5EF4-FFF2-40B4-BE49-F238E27FC236}">
                <a16:creationId xmlns:a16="http://schemas.microsoft.com/office/drawing/2014/main" id="{9A3968C7-859E-E0DE-F046-98C0A6D07AE5}"/>
              </a:ext>
            </a:extLst>
          </p:cNvPr>
          <p:cNvCxnSpPr>
            <a:cxnSpLocks/>
          </p:cNvCxnSpPr>
          <p:nvPr/>
        </p:nvCxnSpPr>
        <p:spPr>
          <a:xfrm>
            <a:off x="4129246" y="4962418"/>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6" name="Straight Connector 55">
            <a:extLst>
              <a:ext uri="{FF2B5EF4-FFF2-40B4-BE49-F238E27FC236}">
                <a16:creationId xmlns:a16="http://schemas.microsoft.com/office/drawing/2014/main" id="{7964D58B-981E-A694-5D12-09F59079F6DE}"/>
              </a:ext>
            </a:extLst>
          </p:cNvPr>
          <p:cNvCxnSpPr>
            <a:cxnSpLocks/>
          </p:cNvCxnSpPr>
          <p:nvPr/>
        </p:nvCxnSpPr>
        <p:spPr>
          <a:xfrm>
            <a:off x="4129246" y="5370219"/>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57" name="Content Placeholder 1">
            <a:extLst>
              <a:ext uri="{FF2B5EF4-FFF2-40B4-BE49-F238E27FC236}">
                <a16:creationId xmlns:a16="http://schemas.microsoft.com/office/drawing/2014/main" id="{35163424-634C-D958-12E3-B664D6A7060F}"/>
              </a:ext>
            </a:extLst>
          </p:cNvPr>
          <p:cNvSpPr txBox="1">
            <a:spLocks/>
          </p:cNvSpPr>
          <p:nvPr/>
        </p:nvSpPr>
        <p:spPr>
          <a:xfrm>
            <a:off x="3272618" y="2531791"/>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600">
                <a:solidFill>
                  <a:schemeClr val="bg1"/>
                </a:solidFill>
              </a:rPr>
              <a:t>1</a:t>
            </a:r>
          </a:p>
        </p:txBody>
      </p:sp>
      <p:cxnSp>
        <p:nvCxnSpPr>
          <p:cNvPr id="58" name="Straight Connector 57">
            <a:extLst>
              <a:ext uri="{FF2B5EF4-FFF2-40B4-BE49-F238E27FC236}">
                <a16:creationId xmlns:a16="http://schemas.microsoft.com/office/drawing/2014/main" id="{2198E519-68F7-63B8-1155-0724B785D3FE}"/>
              </a:ext>
            </a:extLst>
          </p:cNvPr>
          <p:cNvCxnSpPr>
            <a:cxnSpLocks/>
            <a:stCxn id="59" idx="4"/>
            <a:endCxn id="65" idx="3"/>
          </p:cNvCxnSpPr>
          <p:nvPr/>
        </p:nvCxnSpPr>
        <p:spPr>
          <a:xfrm>
            <a:off x="3695295" y="2793181"/>
            <a:ext cx="0" cy="3235886"/>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59" name="Oval 58">
            <a:extLst>
              <a:ext uri="{FF2B5EF4-FFF2-40B4-BE49-F238E27FC236}">
                <a16:creationId xmlns:a16="http://schemas.microsoft.com/office/drawing/2014/main" id="{240305AB-D314-184B-8241-309CAA3C49C9}"/>
              </a:ext>
            </a:extLst>
          </p:cNvPr>
          <p:cNvSpPr/>
          <p:nvPr/>
        </p:nvSpPr>
        <p:spPr>
          <a:xfrm>
            <a:off x="3622905" y="2648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60" name="Isosceles Triangle 59">
            <a:extLst>
              <a:ext uri="{FF2B5EF4-FFF2-40B4-BE49-F238E27FC236}">
                <a16:creationId xmlns:a16="http://schemas.microsoft.com/office/drawing/2014/main" id="{39B1999B-DA2B-AEF1-F527-5B55E3A4F6D3}"/>
              </a:ext>
            </a:extLst>
          </p:cNvPr>
          <p:cNvSpPr/>
          <p:nvPr/>
        </p:nvSpPr>
        <p:spPr>
          <a:xfrm flipV="1">
            <a:off x="3521464" y="3724685"/>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lv-LV" sz="1600"/>
          </a:p>
        </p:txBody>
      </p:sp>
      <p:sp>
        <p:nvSpPr>
          <p:cNvPr id="61" name="Isosceles Triangle 60">
            <a:extLst>
              <a:ext uri="{FF2B5EF4-FFF2-40B4-BE49-F238E27FC236}">
                <a16:creationId xmlns:a16="http://schemas.microsoft.com/office/drawing/2014/main" id="{C89C6CFF-F3F8-4409-558D-AB15D4B22B52}"/>
              </a:ext>
            </a:extLst>
          </p:cNvPr>
          <p:cNvSpPr/>
          <p:nvPr/>
        </p:nvSpPr>
        <p:spPr>
          <a:xfrm flipV="1">
            <a:off x="3521464" y="4132593"/>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lv-LV" sz="1600"/>
          </a:p>
        </p:txBody>
      </p:sp>
      <p:sp>
        <p:nvSpPr>
          <p:cNvPr id="62" name="Isosceles Triangle 61">
            <a:extLst>
              <a:ext uri="{FF2B5EF4-FFF2-40B4-BE49-F238E27FC236}">
                <a16:creationId xmlns:a16="http://schemas.microsoft.com/office/drawing/2014/main" id="{D6533196-5085-05A8-2364-DAC27889663F}"/>
              </a:ext>
            </a:extLst>
          </p:cNvPr>
          <p:cNvSpPr/>
          <p:nvPr/>
        </p:nvSpPr>
        <p:spPr>
          <a:xfrm flipV="1">
            <a:off x="3521464" y="4540501"/>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lv-LV" sz="1600"/>
          </a:p>
        </p:txBody>
      </p:sp>
      <p:sp>
        <p:nvSpPr>
          <p:cNvPr id="63" name="Isosceles Triangle 62">
            <a:extLst>
              <a:ext uri="{FF2B5EF4-FFF2-40B4-BE49-F238E27FC236}">
                <a16:creationId xmlns:a16="http://schemas.microsoft.com/office/drawing/2014/main" id="{B0F6447E-D4BB-398C-BA99-969BA786C7C5}"/>
              </a:ext>
            </a:extLst>
          </p:cNvPr>
          <p:cNvSpPr/>
          <p:nvPr/>
        </p:nvSpPr>
        <p:spPr>
          <a:xfrm flipV="1">
            <a:off x="3521464" y="4948409"/>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lv-LV" sz="1600"/>
          </a:p>
        </p:txBody>
      </p:sp>
      <p:sp>
        <p:nvSpPr>
          <p:cNvPr id="64" name="Isosceles Triangle 63">
            <a:extLst>
              <a:ext uri="{FF2B5EF4-FFF2-40B4-BE49-F238E27FC236}">
                <a16:creationId xmlns:a16="http://schemas.microsoft.com/office/drawing/2014/main" id="{84B6B728-C388-AF06-A34F-8B985415F504}"/>
              </a:ext>
            </a:extLst>
          </p:cNvPr>
          <p:cNvSpPr/>
          <p:nvPr/>
        </p:nvSpPr>
        <p:spPr>
          <a:xfrm flipV="1">
            <a:off x="3521464" y="5356317"/>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lv-LV" sz="1600"/>
          </a:p>
        </p:txBody>
      </p:sp>
      <p:sp>
        <p:nvSpPr>
          <p:cNvPr id="65" name="Isosceles Triangle 64">
            <a:extLst>
              <a:ext uri="{FF2B5EF4-FFF2-40B4-BE49-F238E27FC236}">
                <a16:creationId xmlns:a16="http://schemas.microsoft.com/office/drawing/2014/main" id="{DE4C2663-EB37-60FA-2D68-70149F921862}"/>
              </a:ext>
            </a:extLst>
          </p:cNvPr>
          <p:cNvSpPr/>
          <p:nvPr/>
        </p:nvSpPr>
        <p:spPr>
          <a:xfrm flipV="1">
            <a:off x="3640526" y="6029067"/>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lv-LV" sz="1600"/>
          </a:p>
        </p:txBody>
      </p:sp>
      <p:sp>
        <p:nvSpPr>
          <p:cNvPr id="66" name="Isosceles Triangle 65">
            <a:extLst>
              <a:ext uri="{FF2B5EF4-FFF2-40B4-BE49-F238E27FC236}">
                <a16:creationId xmlns:a16="http://schemas.microsoft.com/office/drawing/2014/main" id="{889CCFBC-A6F2-A8F7-79F0-D31DB6126C09}"/>
              </a:ext>
            </a:extLst>
          </p:cNvPr>
          <p:cNvSpPr/>
          <p:nvPr/>
        </p:nvSpPr>
        <p:spPr>
          <a:xfrm flipV="1">
            <a:off x="3521464" y="290886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lv-LV" sz="1600"/>
          </a:p>
        </p:txBody>
      </p:sp>
      <p:sp>
        <p:nvSpPr>
          <p:cNvPr id="67" name="Isosceles Triangle 66">
            <a:extLst>
              <a:ext uri="{FF2B5EF4-FFF2-40B4-BE49-F238E27FC236}">
                <a16:creationId xmlns:a16="http://schemas.microsoft.com/office/drawing/2014/main" id="{694D06CB-4FD9-F8F4-87A6-52624FE80486}"/>
              </a:ext>
            </a:extLst>
          </p:cNvPr>
          <p:cNvSpPr/>
          <p:nvPr/>
        </p:nvSpPr>
        <p:spPr>
          <a:xfrm flipV="1">
            <a:off x="3521464" y="3316777"/>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lv-LV" sz="1600"/>
          </a:p>
        </p:txBody>
      </p:sp>
      <p:sp>
        <p:nvSpPr>
          <p:cNvPr id="68" name="Isosceles Triangle 67">
            <a:extLst>
              <a:ext uri="{FF2B5EF4-FFF2-40B4-BE49-F238E27FC236}">
                <a16:creationId xmlns:a16="http://schemas.microsoft.com/office/drawing/2014/main" id="{F301D25A-DA36-DB7B-23E6-238516D081C8}"/>
              </a:ext>
            </a:extLst>
          </p:cNvPr>
          <p:cNvSpPr/>
          <p:nvPr/>
        </p:nvSpPr>
        <p:spPr>
          <a:xfrm flipV="1">
            <a:off x="3521464" y="5764223"/>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lv-LV" sz="1600"/>
          </a:p>
        </p:txBody>
      </p:sp>
      <p:cxnSp>
        <p:nvCxnSpPr>
          <p:cNvPr id="69" name="Straight Connector 68">
            <a:extLst>
              <a:ext uri="{FF2B5EF4-FFF2-40B4-BE49-F238E27FC236}">
                <a16:creationId xmlns:a16="http://schemas.microsoft.com/office/drawing/2014/main" id="{822E8826-40ED-42E9-6EB5-CAEA9A5D9E75}"/>
              </a:ext>
            </a:extLst>
          </p:cNvPr>
          <p:cNvCxnSpPr>
            <a:cxnSpLocks/>
          </p:cNvCxnSpPr>
          <p:nvPr/>
        </p:nvCxnSpPr>
        <p:spPr>
          <a:xfrm>
            <a:off x="4129246" y="5778020"/>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70" name="TextBox 69">
            <a:extLst>
              <a:ext uri="{FF2B5EF4-FFF2-40B4-BE49-F238E27FC236}">
                <a16:creationId xmlns:a16="http://schemas.microsoft.com/office/drawing/2014/main" id="{715CB4D8-B109-4E3E-BFCE-C99080E076DC}"/>
              </a:ext>
            </a:extLst>
          </p:cNvPr>
          <p:cNvSpPr txBox="1"/>
          <p:nvPr/>
        </p:nvSpPr>
        <p:spPr>
          <a:xfrm>
            <a:off x="4129246" y="5794201"/>
            <a:ext cx="4784310" cy="377825"/>
          </a:xfrm>
          <a:prstGeom prst="rect">
            <a:avLst/>
          </a:prstGeom>
          <a:noFill/>
        </p:spPr>
        <p:txBody>
          <a:bodyPr wrap="square" anchor="ctr">
            <a:noAutofit/>
          </a:bodyPr>
          <a:lstStyle/>
          <a:p>
            <a:pPr>
              <a:spcAft>
                <a:spcPts val="0"/>
              </a:spcAft>
            </a:pPr>
            <a:r>
              <a:rPr lang="lv-LV" sz="1400">
                <a:solidFill>
                  <a:schemeClr val="tx1"/>
                </a:solidFill>
              </a:rPr>
              <a:t>Veiciet atdzīvināšanas pasākumus, ja nepieciešams.</a:t>
            </a:r>
          </a:p>
        </p:txBody>
      </p:sp>
      <p:sp>
        <p:nvSpPr>
          <p:cNvPr id="71" name="Rectangle 70">
            <a:extLst>
              <a:ext uri="{FF2B5EF4-FFF2-40B4-BE49-F238E27FC236}">
                <a16:creationId xmlns:a16="http://schemas.microsoft.com/office/drawing/2014/main" id="{D177213A-A08F-109F-C321-81C74500428F}"/>
              </a:ext>
            </a:extLst>
          </p:cNvPr>
          <p:cNvSpPr/>
          <p:nvPr/>
        </p:nvSpPr>
        <p:spPr>
          <a:xfrm>
            <a:off x="3272618" y="1822554"/>
            <a:ext cx="5640938"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grpSp>
        <p:nvGrpSpPr>
          <p:cNvPr id="95" name="Group 94">
            <a:extLst>
              <a:ext uri="{FF2B5EF4-FFF2-40B4-BE49-F238E27FC236}">
                <a16:creationId xmlns:a16="http://schemas.microsoft.com/office/drawing/2014/main" id="{E56160CB-407D-C18B-F89E-976411FAF04D}"/>
              </a:ext>
            </a:extLst>
          </p:cNvPr>
          <p:cNvGrpSpPr/>
          <p:nvPr/>
        </p:nvGrpSpPr>
        <p:grpSpPr>
          <a:xfrm>
            <a:off x="8266168" y="1822554"/>
            <a:ext cx="647388" cy="576000"/>
            <a:chOff x="7212125" y="1822554"/>
            <a:chExt cx="647388" cy="576000"/>
          </a:xfrm>
        </p:grpSpPr>
        <p:sp>
          <p:nvSpPr>
            <p:cNvPr id="72" name="Content Placeholder 1">
              <a:extLst>
                <a:ext uri="{FF2B5EF4-FFF2-40B4-BE49-F238E27FC236}">
                  <a16:creationId xmlns:a16="http://schemas.microsoft.com/office/drawing/2014/main" id="{97B86F27-97BF-A053-40CF-13B6F7A90C0B}"/>
                </a:ext>
              </a:extLst>
            </p:cNvPr>
            <p:cNvSpPr txBox="1">
              <a:spLocks/>
            </p:cNvSpPr>
            <p:nvPr/>
          </p:nvSpPr>
          <p:spPr>
            <a:xfrm>
              <a:off x="7283513"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73" name="Content Placeholder 1">
              <a:extLst>
                <a:ext uri="{FF2B5EF4-FFF2-40B4-BE49-F238E27FC236}">
                  <a16:creationId xmlns:a16="http://schemas.microsoft.com/office/drawing/2014/main" id="{097C697C-20DC-498D-E06D-AE4A61FACDF5}"/>
                </a:ext>
              </a:extLst>
            </p:cNvPr>
            <p:cNvSpPr txBox="1">
              <a:spLocks/>
            </p:cNvSpPr>
            <p:nvPr/>
          </p:nvSpPr>
          <p:spPr>
            <a:xfrm>
              <a:off x="7212125"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74" name="Google Shape;760;p79">
              <a:extLst>
                <a:ext uri="{FF2B5EF4-FFF2-40B4-BE49-F238E27FC236}">
                  <a16:creationId xmlns:a16="http://schemas.microsoft.com/office/drawing/2014/main" id="{604C031C-FBD8-99DD-C008-0B6D6174CE10}"/>
                </a:ext>
              </a:extLst>
            </p:cNvPr>
            <p:cNvSpPr/>
            <p:nvPr/>
          </p:nvSpPr>
          <p:spPr>
            <a:xfrm>
              <a:off x="7391513"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grpSp>
      <p:sp>
        <p:nvSpPr>
          <p:cNvPr id="76" name="Rectangle 75">
            <a:extLst>
              <a:ext uri="{FF2B5EF4-FFF2-40B4-BE49-F238E27FC236}">
                <a16:creationId xmlns:a16="http://schemas.microsoft.com/office/drawing/2014/main" id="{749FF834-8FDC-D7F2-E12F-D667F2758F1D}"/>
              </a:ext>
            </a:extLst>
          </p:cNvPr>
          <p:cNvSpPr/>
          <p:nvPr/>
        </p:nvSpPr>
        <p:spPr>
          <a:xfrm>
            <a:off x="442913" y="1822554"/>
            <a:ext cx="2468356" cy="576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Veicinošie apstākļi</a:t>
            </a:r>
          </a:p>
        </p:txBody>
      </p:sp>
      <p:sp>
        <p:nvSpPr>
          <p:cNvPr id="77" name="Content Placeholder 1">
            <a:extLst>
              <a:ext uri="{FF2B5EF4-FFF2-40B4-BE49-F238E27FC236}">
                <a16:creationId xmlns:a16="http://schemas.microsoft.com/office/drawing/2014/main" id="{500B9E5D-04F9-8EC8-DB30-15926D654D38}"/>
              </a:ext>
            </a:extLst>
          </p:cNvPr>
          <p:cNvSpPr txBox="1">
            <a:spLocks/>
          </p:cNvSpPr>
          <p:nvPr/>
        </p:nvSpPr>
        <p:spPr>
          <a:xfrm>
            <a:off x="2335269" y="1822554"/>
            <a:ext cx="576000" cy="576000"/>
          </a:xfrm>
          <a:prstGeom prst="rect">
            <a:avLst/>
          </a:prstGeom>
          <a:solidFill>
            <a:schemeClr val="accent3"/>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78" name="Content Placeholder 1">
            <a:extLst>
              <a:ext uri="{FF2B5EF4-FFF2-40B4-BE49-F238E27FC236}">
                <a16:creationId xmlns:a16="http://schemas.microsoft.com/office/drawing/2014/main" id="{67F23E57-E858-E4CF-4200-B52A6C07C68B}"/>
              </a:ext>
            </a:extLst>
          </p:cNvPr>
          <p:cNvSpPr txBox="1">
            <a:spLocks/>
          </p:cNvSpPr>
          <p:nvPr/>
        </p:nvSpPr>
        <p:spPr>
          <a:xfrm>
            <a:off x="2263881"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88" name="Rectangle 87">
            <a:extLst>
              <a:ext uri="{FF2B5EF4-FFF2-40B4-BE49-F238E27FC236}">
                <a16:creationId xmlns:a16="http://schemas.microsoft.com/office/drawing/2014/main" id="{FAE4F479-75A7-AEA5-4879-7B116D34F1DF}"/>
              </a:ext>
            </a:extLst>
          </p:cNvPr>
          <p:cNvSpPr/>
          <p:nvPr/>
        </p:nvSpPr>
        <p:spPr>
          <a:xfrm>
            <a:off x="442913" y="2398554"/>
            <a:ext cx="2468280"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a:spcAft>
                <a:spcPts val="600"/>
              </a:spcAft>
              <a:buBlip>
                <a:blip r:embed="rId6"/>
              </a:buBlip>
            </a:pPr>
            <a:r>
              <a:rPr lang="lv-LV" sz="1400">
                <a:solidFill>
                  <a:schemeClr val="tx1"/>
                </a:solidFill>
              </a:rPr>
              <a:t>Karstums</a:t>
            </a:r>
          </a:p>
          <a:p>
            <a:pPr marL="285750" indent="-285750">
              <a:spcAft>
                <a:spcPts val="600"/>
              </a:spcAft>
              <a:buBlip>
                <a:blip r:embed="rId6"/>
              </a:buBlip>
            </a:pPr>
            <a:r>
              <a:rPr lang="lv-LV" sz="1400">
                <a:solidFill>
                  <a:schemeClr val="tx1"/>
                </a:solidFill>
              </a:rPr>
              <a:t>Mitrums</a:t>
            </a:r>
          </a:p>
          <a:p>
            <a:pPr marL="285750" indent="-285750">
              <a:spcAft>
                <a:spcPts val="600"/>
              </a:spcAft>
              <a:buBlip>
                <a:blip r:embed="rId6"/>
              </a:buBlip>
            </a:pPr>
            <a:r>
              <a:rPr lang="lv-LV" sz="1400">
                <a:solidFill>
                  <a:schemeClr val="tx1"/>
                </a:solidFill>
              </a:rPr>
              <a:t>Nepietiekama šķidruma uzņemšana</a:t>
            </a:r>
          </a:p>
          <a:p>
            <a:pPr marL="285750" indent="-285750">
              <a:spcAft>
                <a:spcPts val="600"/>
              </a:spcAft>
              <a:buBlip>
                <a:blip r:embed="rId6"/>
              </a:buBlip>
            </a:pPr>
            <a:r>
              <a:rPr lang="lv-LV" sz="1400">
                <a:solidFill>
                  <a:schemeClr val="tx1"/>
                </a:solidFill>
              </a:rPr>
              <a:t>Bezvējš</a:t>
            </a:r>
          </a:p>
          <a:p>
            <a:pPr marL="285750" indent="-285750">
              <a:spcAft>
                <a:spcPts val="600"/>
              </a:spcAft>
              <a:buBlip>
                <a:blip r:embed="rId6"/>
              </a:buBlip>
            </a:pPr>
            <a:r>
              <a:rPr lang="lv-LV" sz="1400">
                <a:solidFill>
                  <a:schemeClr val="tx1"/>
                </a:solidFill>
              </a:rPr>
              <a:t>Neatbilstošs apģērbs</a:t>
            </a:r>
          </a:p>
          <a:p>
            <a:pPr marL="285750" indent="-285750">
              <a:spcAft>
                <a:spcPts val="600"/>
              </a:spcAft>
              <a:buBlip>
                <a:blip r:embed="rId6"/>
              </a:buBlip>
            </a:pPr>
            <a:r>
              <a:rPr lang="lv-LV" sz="1400">
                <a:solidFill>
                  <a:schemeClr val="tx1"/>
                </a:solidFill>
              </a:rPr>
              <a:t>Fiziska slodze</a:t>
            </a:r>
          </a:p>
          <a:p>
            <a:pPr marL="285750" indent="-285750">
              <a:spcAft>
                <a:spcPts val="600"/>
              </a:spcAft>
              <a:buBlip>
                <a:blip r:embed="rId6"/>
              </a:buBlip>
            </a:pPr>
            <a:endParaRPr lang="lv-LV" sz="1400">
              <a:solidFill>
                <a:schemeClr val="tx1"/>
              </a:solidFill>
            </a:endParaRPr>
          </a:p>
        </p:txBody>
      </p:sp>
      <p:grpSp>
        <p:nvGrpSpPr>
          <p:cNvPr id="2" name="Google Shape;1364;p89">
            <a:extLst>
              <a:ext uri="{FF2B5EF4-FFF2-40B4-BE49-F238E27FC236}">
                <a16:creationId xmlns:a16="http://schemas.microsoft.com/office/drawing/2014/main" id="{05FA1246-3867-2443-FF59-A381162CA3D4}"/>
              </a:ext>
            </a:extLst>
          </p:cNvPr>
          <p:cNvGrpSpPr/>
          <p:nvPr/>
        </p:nvGrpSpPr>
        <p:grpSpPr>
          <a:xfrm>
            <a:off x="2443269" y="1930554"/>
            <a:ext cx="360000" cy="360000"/>
            <a:chOff x="2546009" y="5322517"/>
            <a:chExt cx="457200" cy="457200"/>
          </a:xfrm>
          <a:solidFill>
            <a:schemeClr val="bg1"/>
          </a:solidFill>
        </p:grpSpPr>
        <p:sp>
          <p:nvSpPr>
            <p:cNvPr id="5" name="Google Shape;1365;p89">
              <a:extLst>
                <a:ext uri="{FF2B5EF4-FFF2-40B4-BE49-F238E27FC236}">
                  <a16:creationId xmlns:a16="http://schemas.microsoft.com/office/drawing/2014/main" id="{65B20DBA-A0B6-DD32-19D6-76C7062D9658}"/>
                </a:ext>
              </a:extLst>
            </p:cNvPr>
            <p:cNvSpPr/>
            <p:nvPr/>
          </p:nvSpPr>
          <p:spPr>
            <a:xfrm>
              <a:off x="2546009" y="5322517"/>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6" name="Google Shape;1366;p89">
              <a:extLst>
                <a:ext uri="{FF2B5EF4-FFF2-40B4-BE49-F238E27FC236}">
                  <a16:creationId xmlns:a16="http://schemas.microsoft.com/office/drawing/2014/main" id="{A0E793E7-427C-3E34-E013-FCACBB48F56B}"/>
                </a:ext>
              </a:extLst>
            </p:cNvPr>
            <p:cNvSpPr/>
            <p:nvPr/>
          </p:nvSpPr>
          <p:spPr>
            <a:xfrm>
              <a:off x="2588877" y="5373570"/>
              <a:ext cx="116612" cy="358965"/>
            </a:xfrm>
            <a:custGeom>
              <a:avLst/>
              <a:gdLst/>
              <a:ahLst/>
              <a:cxnLst/>
              <a:rect l="l" t="t" r="r" b="b"/>
              <a:pathLst>
                <a:path w="116612" h="358965" extrusionOk="0">
                  <a:moveTo>
                    <a:pt x="116612" y="231966"/>
                  </a:moveTo>
                  <a:cubicBezTo>
                    <a:pt x="116721" y="259877"/>
                    <a:pt x="96916" y="283899"/>
                    <a:pt x="69495" y="289116"/>
                  </a:cubicBezTo>
                  <a:lnTo>
                    <a:pt x="69495" y="358966"/>
                  </a:lnTo>
                  <a:lnTo>
                    <a:pt x="47492" y="358966"/>
                  </a:lnTo>
                  <a:lnTo>
                    <a:pt x="47492" y="289116"/>
                  </a:lnTo>
                  <a:cubicBezTo>
                    <a:pt x="15929" y="283232"/>
                    <a:pt x="-4888" y="252876"/>
                    <a:pt x="995" y="221313"/>
                  </a:cubicBezTo>
                  <a:cubicBezTo>
                    <a:pt x="5397" y="197695"/>
                    <a:pt x="23874" y="179218"/>
                    <a:pt x="47492" y="174816"/>
                  </a:cubicBezTo>
                  <a:lnTo>
                    <a:pt x="47492" y="0"/>
                  </a:lnTo>
                  <a:lnTo>
                    <a:pt x="69495" y="0"/>
                  </a:lnTo>
                  <a:lnTo>
                    <a:pt x="69495" y="174879"/>
                  </a:lnTo>
                  <a:cubicBezTo>
                    <a:pt x="96892" y="180090"/>
                    <a:pt x="116691" y="204078"/>
                    <a:pt x="116612" y="231966"/>
                  </a:cubicBezTo>
                  <a:close/>
                  <a:moveTo>
                    <a:pt x="22346" y="231966"/>
                  </a:moveTo>
                  <a:cubicBezTo>
                    <a:pt x="22329" y="251920"/>
                    <a:pt x="38491" y="268110"/>
                    <a:pt x="58446" y="268129"/>
                  </a:cubicBezTo>
                  <a:cubicBezTo>
                    <a:pt x="78401" y="268148"/>
                    <a:pt x="94592" y="251984"/>
                    <a:pt x="94609" y="232029"/>
                  </a:cubicBezTo>
                  <a:cubicBezTo>
                    <a:pt x="94627" y="212074"/>
                    <a:pt x="78465" y="195883"/>
                    <a:pt x="58510" y="195866"/>
                  </a:cubicBezTo>
                  <a:cubicBezTo>
                    <a:pt x="38569" y="195883"/>
                    <a:pt x="22399" y="212025"/>
                    <a:pt x="22346" y="231966"/>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 name="Google Shape;1367;p89">
              <a:extLst>
                <a:ext uri="{FF2B5EF4-FFF2-40B4-BE49-F238E27FC236}">
                  <a16:creationId xmlns:a16="http://schemas.microsoft.com/office/drawing/2014/main" id="{E886C7A7-47C5-E0CB-C923-882EDC64C19E}"/>
                </a:ext>
              </a:extLst>
            </p:cNvPr>
            <p:cNvSpPr/>
            <p:nvPr/>
          </p:nvSpPr>
          <p:spPr>
            <a:xfrm>
              <a:off x="2715985" y="5373570"/>
              <a:ext cx="116535" cy="358997"/>
            </a:xfrm>
            <a:custGeom>
              <a:avLst/>
              <a:gdLst/>
              <a:ahLst/>
              <a:cxnLst/>
              <a:rect l="l" t="t" r="r" b="b"/>
              <a:pathLst>
                <a:path w="116535" h="358997" extrusionOk="0">
                  <a:moveTo>
                    <a:pt x="116536" y="110363"/>
                  </a:moveTo>
                  <a:cubicBezTo>
                    <a:pt x="116626" y="138290"/>
                    <a:pt x="96794" y="162313"/>
                    <a:pt x="69355" y="167513"/>
                  </a:cubicBezTo>
                  <a:lnTo>
                    <a:pt x="69355" y="358997"/>
                  </a:lnTo>
                  <a:lnTo>
                    <a:pt x="47352" y="358997"/>
                  </a:lnTo>
                  <a:lnTo>
                    <a:pt x="47352" y="167481"/>
                  </a:lnTo>
                  <a:cubicBezTo>
                    <a:pt x="15789" y="161503"/>
                    <a:pt x="-4952" y="131070"/>
                    <a:pt x="1027" y="99507"/>
                  </a:cubicBezTo>
                  <a:cubicBezTo>
                    <a:pt x="5477" y="76010"/>
                    <a:pt x="23856" y="57632"/>
                    <a:pt x="47352" y="53181"/>
                  </a:cubicBezTo>
                  <a:lnTo>
                    <a:pt x="47352" y="0"/>
                  </a:lnTo>
                  <a:lnTo>
                    <a:pt x="69355" y="0"/>
                  </a:lnTo>
                  <a:lnTo>
                    <a:pt x="69355" y="53277"/>
                  </a:lnTo>
                  <a:cubicBezTo>
                    <a:pt x="96770" y="58472"/>
                    <a:pt x="116596" y="82460"/>
                    <a:pt x="116536" y="110363"/>
                  </a:cubicBezTo>
                  <a:close/>
                  <a:moveTo>
                    <a:pt x="22206" y="110363"/>
                  </a:moveTo>
                  <a:cubicBezTo>
                    <a:pt x="22189" y="130335"/>
                    <a:pt x="38366" y="146541"/>
                    <a:pt x="58338" y="146558"/>
                  </a:cubicBezTo>
                  <a:cubicBezTo>
                    <a:pt x="78310" y="146575"/>
                    <a:pt x="94515" y="130399"/>
                    <a:pt x="94533" y="110427"/>
                  </a:cubicBezTo>
                  <a:cubicBezTo>
                    <a:pt x="94550" y="90454"/>
                    <a:pt x="78374" y="74249"/>
                    <a:pt x="58401" y="74232"/>
                  </a:cubicBezTo>
                  <a:cubicBezTo>
                    <a:pt x="58391" y="74232"/>
                    <a:pt x="58380" y="74232"/>
                    <a:pt x="58370" y="74232"/>
                  </a:cubicBezTo>
                  <a:cubicBezTo>
                    <a:pt x="38417" y="74249"/>
                    <a:pt x="22241" y="90410"/>
                    <a:pt x="22206" y="110363"/>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 name="Google Shape;1368;p89">
              <a:extLst>
                <a:ext uri="{FF2B5EF4-FFF2-40B4-BE49-F238E27FC236}">
                  <a16:creationId xmlns:a16="http://schemas.microsoft.com/office/drawing/2014/main" id="{24E79FE6-0994-3470-48D1-FB7ACEF10549}"/>
                </a:ext>
              </a:extLst>
            </p:cNvPr>
            <p:cNvSpPr/>
            <p:nvPr/>
          </p:nvSpPr>
          <p:spPr>
            <a:xfrm>
              <a:off x="2842953" y="5373570"/>
              <a:ext cx="116535" cy="358997"/>
            </a:xfrm>
            <a:custGeom>
              <a:avLst/>
              <a:gdLst/>
              <a:ahLst/>
              <a:cxnLst/>
              <a:rect l="l" t="t" r="r" b="b"/>
              <a:pathLst>
                <a:path w="116535" h="358997" extrusionOk="0">
                  <a:moveTo>
                    <a:pt x="116536" y="194215"/>
                  </a:moveTo>
                  <a:cubicBezTo>
                    <a:pt x="116628" y="222132"/>
                    <a:pt x="96813" y="246151"/>
                    <a:pt x="69387" y="251365"/>
                  </a:cubicBezTo>
                  <a:lnTo>
                    <a:pt x="69387" y="358997"/>
                  </a:lnTo>
                  <a:lnTo>
                    <a:pt x="47352" y="358997"/>
                  </a:lnTo>
                  <a:lnTo>
                    <a:pt x="47352" y="251333"/>
                  </a:lnTo>
                  <a:cubicBezTo>
                    <a:pt x="15789" y="245355"/>
                    <a:pt x="-4952" y="214922"/>
                    <a:pt x="1027" y="183359"/>
                  </a:cubicBezTo>
                  <a:cubicBezTo>
                    <a:pt x="5477" y="159862"/>
                    <a:pt x="23854" y="141483"/>
                    <a:pt x="47352" y="137033"/>
                  </a:cubicBezTo>
                  <a:lnTo>
                    <a:pt x="47352" y="0"/>
                  </a:lnTo>
                  <a:lnTo>
                    <a:pt x="69387" y="0"/>
                  </a:lnTo>
                  <a:lnTo>
                    <a:pt x="69387" y="137128"/>
                  </a:lnTo>
                  <a:cubicBezTo>
                    <a:pt x="96797" y="142326"/>
                    <a:pt x="116612" y="166317"/>
                    <a:pt x="116536" y="194215"/>
                  </a:cubicBezTo>
                  <a:close/>
                  <a:moveTo>
                    <a:pt x="22238" y="194215"/>
                  </a:moveTo>
                  <a:cubicBezTo>
                    <a:pt x="22219" y="214187"/>
                    <a:pt x="38396" y="230392"/>
                    <a:pt x="58370" y="230410"/>
                  </a:cubicBezTo>
                  <a:cubicBezTo>
                    <a:pt x="78344" y="230427"/>
                    <a:pt x="94546" y="214251"/>
                    <a:pt x="94565" y="194278"/>
                  </a:cubicBezTo>
                  <a:cubicBezTo>
                    <a:pt x="94584" y="174306"/>
                    <a:pt x="78407" y="158101"/>
                    <a:pt x="58433" y="158083"/>
                  </a:cubicBezTo>
                  <a:cubicBezTo>
                    <a:pt x="58411" y="158083"/>
                    <a:pt x="58392" y="158083"/>
                    <a:pt x="58370" y="158083"/>
                  </a:cubicBezTo>
                  <a:cubicBezTo>
                    <a:pt x="38421" y="158101"/>
                    <a:pt x="22257" y="174267"/>
                    <a:pt x="22238" y="194215"/>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grpSp>
      <p:sp>
        <p:nvSpPr>
          <p:cNvPr id="20" name="Rectangle 19">
            <a:extLst>
              <a:ext uri="{FF2B5EF4-FFF2-40B4-BE49-F238E27FC236}">
                <a16:creationId xmlns:a16="http://schemas.microsoft.com/office/drawing/2014/main" id="{54EC1F61-FF16-1408-F9A0-76C3203F84CA}"/>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18" name="Group 17">
            <a:extLst>
              <a:ext uri="{FF2B5EF4-FFF2-40B4-BE49-F238E27FC236}">
                <a16:creationId xmlns:a16="http://schemas.microsoft.com/office/drawing/2014/main" id="{A7C8EFEA-D6C4-50B6-1BCE-1647D16AF1EA}"/>
              </a:ext>
            </a:extLst>
          </p:cNvPr>
          <p:cNvGrpSpPr/>
          <p:nvPr/>
        </p:nvGrpSpPr>
        <p:grpSpPr>
          <a:xfrm>
            <a:off x="9842140" y="372216"/>
            <a:ext cx="1667215" cy="217488"/>
            <a:chOff x="9842140" y="372216"/>
            <a:chExt cx="1667215" cy="217488"/>
          </a:xfrm>
        </p:grpSpPr>
        <p:sp>
          <p:nvSpPr>
            <p:cNvPr id="19" name="TextBox 18">
              <a:extLst>
                <a:ext uri="{FF2B5EF4-FFF2-40B4-BE49-F238E27FC236}">
                  <a16:creationId xmlns:a16="http://schemas.microsoft.com/office/drawing/2014/main" id="{99BB40C4-C854-EF5A-02F1-3DC939BEE066}"/>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Termiskie bojājumi</a:t>
              </a:r>
            </a:p>
          </p:txBody>
        </p:sp>
        <p:sp>
          <p:nvSpPr>
            <p:cNvPr id="21" name="Freeform 49">
              <a:extLst>
                <a:ext uri="{FF2B5EF4-FFF2-40B4-BE49-F238E27FC236}">
                  <a16:creationId xmlns:a16="http://schemas.microsoft.com/office/drawing/2014/main" id="{A897BD00-067D-8E02-2B06-3551DAD35FE1}"/>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9" name="Group 8">
            <a:extLst>
              <a:ext uri="{FF2B5EF4-FFF2-40B4-BE49-F238E27FC236}">
                <a16:creationId xmlns:a16="http://schemas.microsoft.com/office/drawing/2014/main" id="{540EF730-41B6-E8D7-0D13-EB3F748BA4BA}"/>
              </a:ext>
            </a:extLst>
          </p:cNvPr>
          <p:cNvGrpSpPr/>
          <p:nvPr/>
        </p:nvGrpSpPr>
        <p:grpSpPr>
          <a:xfrm>
            <a:off x="9122935" y="126781"/>
            <a:ext cx="2626153" cy="217488"/>
            <a:chOff x="9122935" y="126781"/>
            <a:chExt cx="2626153" cy="217488"/>
          </a:xfrm>
        </p:grpSpPr>
        <p:sp>
          <p:nvSpPr>
            <p:cNvPr id="22" name="Rectangle 21">
              <a:extLst>
                <a:ext uri="{FF2B5EF4-FFF2-40B4-BE49-F238E27FC236}">
                  <a16:creationId xmlns:a16="http://schemas.microsoft.com/office/drawing/2014/main" id="{61BF4F23-4BF7-3396-AAE2-64CFA9AF1B14}"/>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23" name="Rectangle 22">
              <a:extLst>
                <a:ext uri="{FF2B5EF4-FFF2-40B4-BE49-F238E27FC236}">
                  <a16:creationId xmlns:a16="http://schemas.microsoft.com/office/drawing/2014/main" id="{2DA044E2-07EC-7D6F-9D52-F400EB5FA50F}"/>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03F0B6EA-1C6B-3E0F-45BD-6F2F70666571}"/>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0" name="Rectangle 29">
              <a:extLst>
                <a:ext uri="{FF2B5EF4-FFF2-40B4-BE49-F238E27FC236}">
                  <a16:creationId xmlns:a16="http://schemas.microsoft.com/office/drawing/2014/main" id="{A28C515C-5DF7-2E0E-00C7-91B893B535D1}"/>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BFB90A7F-87AB-9BD2-AA8D-8C1F147C9E28}"/>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32" name="Rectangle 31">
              <a:extLst>
                <a:ext uri="{FF2B5EF4-FFF2-40B4-BE49-F238E27FC236}">
                  <a16:creationId xmlns:a16="http://schemas.microsoft.com/office/drawing/2014/main" id="{7C06E624-B10D-961E-BF22-38973AA0DA67}"/>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648558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666C9E8-6DFD-D4D1-8102-E97D69DD7F8B}"/>
              </a:ext>
            </a:extLst>
          </p:cNvPr>
          <p:cNvGraphicFramePr>
            <a:graphicFrameLocks noChangeAspect="1"/>
          </p:cNvGraphicFramePr>
          <p:nvPr>
            <p:custDataLst>
              <p:tags r:id="rId1"/>
            </p:custDataLst>
            <p:extLst>
              <p:ext uri="{D42A27DB-BD31-4B8C-83A1-F6EECF244321}">
                <p14:modId xmlns:p14="http://schemas.microsoft.com/office/powerpoint/2010/main" val="3704456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D666C9E8-6DFD-D4D1-8102-E97D69DD7F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a:lstStyle/>
          <a:p>
            <a:r>
              <a:rPr lang="lv-LV"/>
              <a:t>Kā rīkoties atdzišanas gadījum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24</a:t>
            </a:fld>
            <a:endParaRPr lang="en-GB"/>
          </a:p>
        </p:txBody>
      </p:sp>
      <p:sp>
        <p:nvSpPr>
          <p:cNvPr id="19" name="Rectangle 18">
            <a:extLst>
              <a:ext uri="{FF2B5EF4-FFF2-40B4-BE49-F238E27FC236}">
                <a16:creationId xmlns:a16="http://schemas.microsoft.com/office/drawing/2014/main" id="{827EABF6-479E-1D54-0AC1-0797AA292992}"/>
              </a:ext>
            </a:extLst>
          </p:cNvPr>
          <p:cNvSpPr/>
          <p:nvPr/>
        </p:nvSpPr>
        <p:spPr>
          <a:xfrm>
            <a:off x="9280808" y="2398554"/>
            <a:ext cx="2468280"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a:spcAft>
                <a:spcPts val="600"/>
              </a:spcAft>
              <a:buBlip>
                <a:blip r:embed="rId6"/>
              </a:buBlip>
            </a:pPr>
            <a:r>
              <a:rPr lang="lv-LV" sz="1400">
                <a:solidFill>
                  <a:schemeClr val="tx1"/>
                </a:solidFill>
              </a:rPr>
              <a:t>Nedodiet cietušajam alkoholu.</a:t>
            </a:r>
          </a:p>
          <a:p>
            <a:pPr marL="285750" indent="-285750">
              <a:spcAft>
                <a:spcPts val="600"/>
              </a:spcAft>
              <a:buBlip>
                <a:blip r:embed="rId6"/>
              </a:buBlip>
            </a:pPr>
            <a:r>
              <a:rPr lang="lv-LV" sz="1400">
                <a:solidFill>
                  <a:schemeClr val="tx1"/>
                </a:solidFill>
              </a:rPr>
              <a:t>Cietušo ar traucētu apziņu lieki nekustiniet, neberzējiet rokas un kājas, nesēdiniet, neceliet stāvus.</a:t>
            </a:r>
          </a:p>
          <a:p>
            <a:pPr marL="285750" indent="-285750">
              <a:spcAft>
                <a:spcPts val="600"/>
              </a:spcAft>
              <a:buBlip>
                <a:blip r:embed="rId6"/>
              </a:buBlip>
            </a:pPr>
            <a:r>
              <a:rPr lang="lv-LV" sz="1400">
                <a:solidFill>
                  <a:schemeClr val="tx1"/>
                </a:solidFill>
              </a:rPr>
              <a:t>Nemasējiet, neberzējiet un nesildiet apsaldētās vietas.</a:t>
            </a:r>
          </a:p>
        </p:txBody>
      </p:sp>
      <p:sp>
        <p:nvSpPr>
          <p:cNvPr id="20" name="Rectangle 19">
            <a:extLst>
              <a:ext uri="{FF2B5EF4-FFF2-40B4-BE49-F238E27FC236}">
                <a16:creationId xmlns:a16="http://schemas.microsoft.com/office/drawing/2014/main" id="{847D706E-F710-03AC-BCF0-D538BE2E2785}"/>
              </a:ext>
            </a:extLst>
          </p:cNvPr>
          <p:cNvSpPr/>
          <p:nvPr/>
        </p:nvSpPr>
        <p:spPr>
          <a:xfrm>
            <a:off x="9280808" y="1822554"/>
            <a:ext cx="2468280"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21" name="Content Placeholder 1">
            <a:extLst>
              <a:ext uri="{FF2B5EF4-FFF2-40B4-BE49-F238E27FC236}">
                <a16:creationId xmlns:a16="http://schemas.microsoft.com/office/drawing/2014/main" id="{61C8033F-9026-6947-7EE6-397F054EE5E9}"/>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22" name="Content Placeholder 1">
            <a:extLst>
              <a:ext uri="{FF2B5EF4-FFF2-40B4-BE49-F238E27FC236}">
                <a16:creationId xmlns:a16="http://schemas.microsoft.com/office/drawing/2014/main" id="{B09E11E2-8AE6-0A0F-4A94-E932ABB73C99}"/>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23" name="Google Shape;794;p79">
            <a:extLst>
              <a:ext uri="{FF2B5EF4-FFF2-40B4-BE49-F238E27FC236}">
                <a16:creationId xmlns:a16="http://schemas.microsoft.com/office/drawing/2014/main" id="{BE5CF2FF-6329-BA97-D895-B7D9631A9ED4}"/>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4" name="Rectangle 23">
            <a:extLst>
              <a:ext uri="{FF2B5EF4-FFF2-40B4-BE49-F238E27FC236}">
                <a16:creationId xmlns:a16="http://schemas.microsoft.com/office/drawing/2014/main" id="{626CA42B-7CD9-E034-925C-318DE6B1B621}"/>
              </a:ext>
            </a:extLst>
          </p:cNvPr>
          <p:cNvSpPr/>
          <p:nvPr/>
        </p:nvSpPr>
        <p:spPr>
          <a:xfrm>
            <a:off x="3272618" y="1822554"/>
            <a:ext cx="5640938"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grpSp>
        <p:nvGrpSpPr>
          <p:cNvPr id="25" name="Group 24">
            <a:extLst>
              <a:ext uri="{FF2B5EF4-FFF2-40B4-BE49-F238E27FC236}">
                <a16:creationId xmlns:a16="http://schemas.microsoft.com/office/drawing/2014/main" id="{8EEEE7BA-6741-828E-2C36-7DB0A2110164}"/>
              </a:ext>
            </a:extLst>
          </p:cNvPr>
          <p:cNvGrpSpPr/>
          <p:nvPr/>
        </p:nvGrpSpPr>
        <p:grpSpPr>
          <a:xfrm>
            <a:off x="8266168" y="1822554"/>
            <a:ext cx="647388" cy="576000"/>
            <a:chOff x="7212125" y="1822554"/>
            <a:chExt cx="647388" cy="576000"/>
          </a:xfrm>
        </p:grpSpPr>
        <p:sp>
          <p:nvSpPr>
            <p:cNvPr id="26" name="Content Placeholder 1">
              <a:extLst>
                <a:ext uri="{FF2B5EF4-FFF2-40B4-BE49-F238E27FC236}">
                  <a16:creationId xmlns:a16="http://schemas.microsoft.com/office/drawing/2014/main" id="{1D5CC5FA-E4E2-B6C1-ED9E-17D84C8C96B1}"/>
                </a:ext>
              </a:extLst>
            </p:cNvPr>
            <p:cNvSpPr txBox="1">
              <a:spLocks/>
            </p:cNvSpPr>
            <p:nvPr/>
          </p:nvSpPr>
          <p:spPr>
            <a:xfrm>
              <a:off x="7283513"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27" name="Content Placeholder 1">
              <a:extLst>
                <a:ext uri="{FF2B5EF4-FFF2-40B4-BE49-F238E27FC236}">
                  <a16:creationId xmlns:a16="http://schemas.microsoft.com/office/drawing/2014/main" id="{092277DB-BA50-6537-4310-BF69D5C5B122}"/>
                </a:ext>
              </a:extLst>
            </p:cNvPr>
            <p:cNvSpPr txBox="1">
              <a:spLocks/>
            </p:cNvSpPr>
            <p:nvPr/>
          </p:nvSpPr>
          <p:spPr>
            <a:xfrm>
              <a:off x="7212125"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28" name="Google Shape;760;p79">
              <a:extLst>
                <a:ext uri="{FF2B5EF4-FFF2-40B4-BE49-F238E27FC236}">
                  <a16:creationId xmlns:a16="http://schemas.microsoft.com/office/drawing/2014/main" id="{4EE197B0-8DE5-F0F1-FF3C-F17D1EDE6597}"/>
                </a:ext>
              </a:extLst>
            </p:cNvPr>
            <p:cNvSpPr/>
            <p:nvPr/>
          </p:nvSpPr>
          <p:spPr>
            <a:xfrm>
              <a:off x="7391513"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sp>
        <p:nvSpPr>
          <p:cNvPr id="29" name="Rectangle 28">
            <a:extLst>
              <a:ext uri="{FF2B5EF4-FFF2-40B4-BE49-F238E27FC236}">
                <a16:creationId xmlns:a16="http://schemas.microsoft.com/office/drawing/2014/main" id="{EAD00C83-2924-49D8-CEA1-9E5AB7ED0D17}"/>
              </a:ext>
            </a:extLst>
          </p:cNvPr>
          <p:cNvSpPr/>
          <p:nvPr/>
        </p:nvSpPr>
        <p:spPr>
          <a:xfrm>
            <a:off x="442913" y="1822554"/>
            <a:ext cx="2468356" cy="576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Veicinošie apstākļi</a:t>
            </a:r>
          </a:p>
        </p:txBody>
      </p:sp>
      <p:sp>
        <p:nvSpPr>
          <p:cNvPr id="30" name="Content Placeholder 1">
            <a:extLst>
              <a:ext uri="{FF2B5EF4-FFF2-40B4-BE49-F238E27FC236}">
                <a16:creationId xmlns:a16="http://schemas.microsoft.com/office/drawing/2014/main" id="{EE8F8324-6D8B-6B2B-257E-B0AD4FD556D2}"/>
              </a:ext>
            </a:extLst>
          </p:cNvPr>
          <p:cNvSpPr txBox="1">
            <a:spLocks/>
          </p:cNvSpPr>
          <p:nvPr/>
        </p:nvSpPr>
        <p:spPr>
          <a:xfrm>
            <a:off x="2335269" y="1822554"/>
            <a:ext cx="576000" cy="576000"/>
          </a:xfrm>
          <a:prstGeom prst="rect">
            <a:avLst/>
          </a:prstGeom>
          <a:solidFill>
            <a:schemeClr val="accent3"/>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1" name="Content Placeholder 1">
            <a:extLst>
              <a:ext uri="{FF2B5EF4-FFF2-40B4-BE49-F238E27FC236}">
                <a16:creationId xmlns:a16="http://schemas.microsoft.com/office/drawing/2014/main" id="{6E059F87-0DD1-5DD0-DFE1-EAFE24644414}"/>
              </a:ext>
            </a:extLst>
          </p:cNvPr>
          <p:cNvSpPr txBox="1">
            <a:spLocks/>
          </p:cNvSpPr>
          <p:nvPr/>
        </p:nvSpPr>
        <p:spPr>
          <a:xfrm>
            <a:off x="2263881"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2" name="Rectangle 31">
            <a:extLst>
              <a:ext uri="{FF2B5EF4-FFF2-40B4-BE49-F238E27FC236}">
                <a16:creationId xmlns:a16="http://schemas.microsoft.com/office/drawing/2014/main" id="{498DF9C8-E99C-2B4F-A3C1-C58A792C99F7}"/>
              </a:ext>
            </a:extLst>
          </p:cNvPr>
          <p:cNvSpPr/>
          <p:nvPr/>
        </p:nvSpPr>
        <p:spPr>
          <a:xfrm>
            <a:off x="442913" y="2398554"/>
            <a:ext cx="2468280"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a:spcAft>
                <a:spcPts val="600"/>
              </a:spcAft>
              <a:buBlip>
                <a:blip r:embed="rId6"/>
              </a:buBlip>
            </a:pPr>
            <a:r>
              <a:rPr lang="lv-LV" sz="1400">
                <a:solidFill>
                  <a:schemeClr val="tx1"/>
                </a:solidFill>
              </a:rPr>
              <a:t>Aukstums</a:t>
            </a:r>
          </a:p>
          <a:p>
            <a:pPr marL="285750" indent="-285750">
              <a:spcAft>
                <a:spcPts val="600"/>
              </a:spcAft>
              <a:buBlip>
                <a:blip r:embed="rId6"/>
              </a:buBlip>
            </a:pPr>
            <a:r>
              <a:rPr lang="lv-LV" sz="1400">
                <a:solidFill>
                  <a:schemeClr val="tx1"/>
                </a:solidFill>
              </a:rPr>
              <a:t>Mitrums</a:t>
            </a:r>
          </a:p>
          <a:p>
            <a:pPr marL="285750" indent="-285750">
              <a:spcAft>
                <a:spcPts val="600"/>
              </a:spcAft>
              <a:buBlip>
                <a:blip r:embed="rId6"/>
              </a:buBlip>
            </a:pPr>
            <a:r>
              <a:rPr lang="lv-LV" sz="1400">
                <a:solidFill>
                  <a:schemeClr val="tx1"/>
                </a:solidFill>
              </a:rPr>
              <a:t>Vējš</a:t>
            </a:r>
          </a:p>
          <a:p>
            <a:pPr marL="285750" indent="-285750">
              <a:spcAft>
                <a:spcPts val="600"/>
              </a:spcAft>
              <a:buBlip>
                <a:blip r:embed="rId6"/>
              </a:buBlip>
            </a:pPr>
            <a:r>
              <a:rPr lang="lv-LV" sz="1400">
                <a:solidFill>
                  <a:schemeClr val="tx1"/>
                </a:solidFill>
              </a:rPr>
              <a:t>Alkohols</a:t>
            </a:r>
          </a:p>
          <a:p>
            <a:pPr marL="285750" indent="-285750">
              <a:spcAft>
                <a:spcPts val="600"/>
              </a:spcAft>
              <a:buBlip>
                <a:blip r:embed="rId6"/>
              </a:buBlip>
            </a:pPr>
            <a:r>
              <a:rPr lang="lv-LV" sz="1400">
                <a:solidFill>
                  <a:schemeClr val="tx1"/>
                </a:solidFill>
              </a:rPr>
              <a:t>Neatbilstošs apģērbs</a:t>
            </a:r>
          </a:p>
          <a:p>
            <a:pPr marL="285750" indent="-285750">
              <a:spcAft>
                <a:spcPts val="600"/>
              </a:spcAft>
              <a:buBlip>
                <a:blip r:embed="rId6"/>
              </a:buBlip>
            </a:pPr>
            <a:r>
              <a:rPr lang="lv-LV" sz="1400">
                <a:solidFill>
                  <a:schemeClr val="tx1"/>
                </a:solidFill>
              </a:rPr>
              <a:t>Nespēja kustēties</a:t>
            </a:r>
          </a:p>
        </p:txBody>
      </p:sp>
      <p:sp>
        <p:nvSpPr>
          <p:cNvPr id="40" name="Content Placeholder 1">
            <a:extLst>
              <a:ext uri="{FF2B5EF4-FFF2-40B4-BE49-F238E27FC236}">
                <a16:creationId xmlns:a16="http://schemas.microsoft.com/office/drawing/2014/main" id="{E7DFDF9F-592A-F0CA-2966-D927B82170D7}"/>
              </a:ext>
            </a:extLst>
          </p:cNvPr>
          <p:cNvSpPr txBox="1">
            <a:spLocks/>
          </p:cNvSpPr>
          <p:nvPr/>
        </p:nvSpPr>
        <p:spPr>
          <a:xfrm>
            <a:off x="3272618" y="3144673"/>
            <a:ext cx="630238"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2</a:t>
            </a:r>
          </a:p>
        </p:txBody>
      </p:sp>
      <p:sp>
        <p:nvSpPr>
          <p:cNvPr id="41" name="Content Placeholder 1">
            <a:extLst>
              <a:ext uri="{FF2B5EF4-FFF2-40B4-BE49-F238E27FC236}">
                <a16:creationId xmlns:a16="http://schemas.microsoft.com/office/drawing/2014/main" id="{948C0DCA-7348-FCD6-02E7-70F96CB85371}"/>
              </a:ext>
            </a:extLst>
          </p:cNvPr>
          <p:cNvSpPr txBox="1">
            <a:spLocks/>
          </p:cNvSpPr>
          <p:nvPr/>
        </p:nvSpPr>
        <p:spPr>
          <a:xfrm>
            <a:off x="3272618" y="3757555"/>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3</a:t>
            </a:r>
          </a:p>
        </p:txBody>
      </p:sp>
      <p:sp>
        <p:nvSpPr>
          <p:cNvPr id="42" name="Content Placeholder 1">
            <a:extLst>
              <a:ext uri="{FF2B5EF4-FFF2-40B4-BE49-F238E27FC236}">
                <a16:creationId xmlns:a16="http://schemas.microsoft.com/office/drawing/2014/main" id="{D0960EB4-A2F3-DA4E-033D-4FC6F9827739}"/>
              </a:ext>
            </a:extLst>
          </p:cNvPr>
          <p:cNvSpPr txBox="1">
            <a:spLocks/>
          </p:cNvSpPr>
          <p:nvPr/>
        </p:nvSpPr>
        <p:spPr>
          <a:xfrm>
            <a:off x="3272618" y="4370437"/>
            <a:ext cx="630238"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4</a:t>
            </a:r>
          </a:p>
        </p:txBody>
      </p:sp>
      <p:sp>
        <p:nvSpPr>
          <p:cNvPr id="43" name="Content Placeholder 1">
            <a:extLst>
              <a:ext uri="{FF2B5EF4-FFF2-40B4-BE49-F238E27FC236}">
                <a16:creationId xmlns:a16="http://schemas.microsoft.com/office/drawing/2014/main" id="{5E8528F0-B4BD-7341-A99F-8A53E01D7F5D}"/>
              </a:ext>
            </a:extLst>
          </p:cNvPr>
          <p:cNvSpPr txBox="1">
            <a:spLocks/>
          </p:cNvSpPr>
          <p:nvPr/>
        </p:nvSpPr>
        <p:spPr>
          <a:xfrm>
            <a:off x="3272618" y="4983319"/>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5</a:t>
            </a:r>
          </a:p>
        </p:txBody>
      </p:sp>
      <p:sp>
        <p:nvSpPr>
          <p:cNvPr id="44" name="Content Placeholder 1">
            <a:extLst>
              <a:ext uri="{FF2B5EF4-FFF2-40B4-BE49-F238E27FC236}">
                <a16:creationId xmlns:a16="http://schemas.microsoft.com/office/drawing/2014/main" id="{9F357977-85D3-0A26-C484-1D746BE796D3}"/>
              </a:ext>
            </a:extLst>
          </p:cNvPr>
          <p:cNvSpPr txBox="1">
            <a:spLocks/>
          </p:cNvSpPr>
          <p:nvPr/>
        </p:nvSpPr>
        <p:spPr>
          <a:xfrm>
            <a:off x="3272618" y="5596201"/>
            <a:ext cx="630238"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6</a:t>
            </a:r>
          </a:p>
        </p:txBody>
      </p:sp>
      <p:sp>
        <p:nvSpPr>
          <p:cNvPr id="45" name="Content Placeholder 1">
            <a:extLst>
              <a:ext uri="{FF2B5EF4-FFF2-40B4-BE49-F238E27FC236}">
                <a16:creationId xmlns:a16="http://schemas.microsoft.com/office/drawing/2014/main" id="{F17A6BB1-ABB8-2B7A-05AC-E37C9BF8E581}"/>
              </a:ext>
            </a:extLst>
          </p:cNvPr>
          <p:cNvSpPr txBox="1">
            <a:spLocks/>
          </p:cNvSpPr>
          <p:nvPr/>
        </p:nvSpPr>
        <p:spPr>
          <a:xfrm>
            <a:off x="3272618" y="2531791"/>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1</a:t>
            </a:r>
          </a:p>
        </p:txBody>
      </p:sp>
      <p:cxnSp>
        <p:nvCxnSpPr>
          <p:cNvPr id="46" name="Straight Connector 45">
            <a:extLst>
              <a:ext uri="{FF2B5EF4-FFF2-40B4-BE49-F238E27FC236}">
                <a16:creationId xmlns:a16="http://schemas.microsoft.com/office/drawing/2014/main" id="{27AFD618-7ECB-3F0F-6F2E-55DBF37153BC}"/>
              </a:ext>
            </a:extLst>
          </p:cNvPr>
          <p:cNvCxnSpPr>
            <a:cxnSpLocks/>
            <a:stCxn id="47" idx="4"/>
            <a:endCxn id="53" idx="3"/>
          </p:cNvCxnSpPr>
          <p:nvPr/>
        </p:nvCxnSpPr>
        <p:spPr>
          <a:xfrm>
            <a:off x="3695295" y="2793181"/>
            <a:ext cx="0" cy="3129936"/>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47" name="Oval 46">
            <a:extLst>
              <a:ext uri="{FF2B5EF4-FFF2-40B4-BE49-F238E27FC236}">
                <a16:creationId xmlns:a16="http://schemas.microsoft.com/office/drawing/2014/main" id="{085AB03D-1000-EACA-A2C3-56C47B409C5B}"/>
              </a:ext>
            </a:extLst>
          </p:cNvPr>
          <p:cNvSpPr/>
          <p:nvPr/>
        </p:nvSpPr>
        <p:spPr>
          <a:xfrm>
            <a:off x="3622905" y="2648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48" name="Isosceles Triangle 47">
            <a:extLst>
              <a:ext uri="{FF2B5EF4-FFF2-40B4-BE49-F238E27FC236}">
                <a16:creationId xmlns:a16="http://schemas.microsoft.com/office/drawing/2014/main" id="{AB2CB7B3-00A8-4BDF-F99B-904321C2FB7F}"/>
              </a:ext>
            </a:extLst>
          </p:cNvPr>
          <p:cNvSpPr/>
          <p:nvPr/>
        </p:nvSpPr>
        <p:spPr>
          <a:xfrm flipV="1">
            <a:off x="3521464" y="310745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49" name="Isosceles Triangle 48">
            <a:extLst>
              <a:ext uri="{FF2B5EF4-FFF2-40B4-BE49-F238E27FC236}">
                <a16:creationId xmlns:a16="http://schemas.microsoft.com/office/drawing/2014/main" id="{345770BF-53B5-8752-0746-7658F0373CD7}"/>
              </a:ext>
            </a:extLst>
          </p:cNvPr>
          <p:cNvSpPr/>
          <p:nvPr/>
        </p:nvSpPr>
        <p:spPr>
          <a:xfrm flipV="1">
            <a:off x="3521464" y="4947392"/>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0" name="Isosceles Triangle 49">
            <a:extLst>
              <a:ext uri="{FF2B5EF4-FFF2-40B4-BE49-F238E27FC236}">
                <a16:creationId xmlns:a16="http://schemas.microsoft.com/office/drawing/2014/main" id="{7F881EA9-8822-B77F-AFA9-7F65F90F62C7}"/>
              </a:ext>
            </a:extLst>
          </p:cNvPr>
          <p:cNvSpPr/>
          <p:nvPr/>
        </p:nvSpPr>
        <p:spPr>
          <a:xfrm flipV="1">
            <a:off x="3521464" y="5554267"/>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1" name="Isosceles Triangle 50">
            <a:extLst>
              <a:ext uri="{FF2B5EF4-FFF2-40B4-BE49-F238E27FC236}">
                <a16:creationId xmlns:a16="http://schemas.microsoft.com/office/drawing/2014/main" id="{A8A06EA0-CE73-3CAC-664B-15CD52DDE7C1}"/>
              </a:ext>
            </a:extLst>
          </p:cNvPr>
          <p:cNvSpPr/>
          <p:nvPr/>
        </p:nvSpPr>
        <p:spPr>
          <a:xfrm flipV="1">
            <a:off x="3521464" y="433365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2" name="Isosceles Triangle 51">
            <a:extLst>
              <a:ext uri="{FF2B5EF4-FFF2-40B4-BE49-F238E27FC236}">
                <a16:creationId xmlns:a16="http://schemas.microsoft.com/office/drawing/2014/main" id="{E0491BA6-4EAC-C6A2-0710-B8EBE4271701}"/>
              </a:ext>
            </a:extLst>
          </p:cNvPr>
          <p:cNvSpPr/>
          <p:nvPr/>
        </p:nvSpPr>
        <p:spPr>
          <a:xfrm flipV="1">
            <a:off x="3521464" y="3720556"/>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3" name="Isosceles Triangle 52">
            <a:extLst>
              <a:ext uri="{FF2B5EF4-FFF2-40B4-BE49-F238E27FC236}">
                <a16:creationId xmlns:a16="http://schemas.microsoft.com/office/drawing/2014/main" id="{BE991518-07C2-B796-3C8E-E23AB9701B79}"/>
              </a:ext>
            </a:extLst>
          </p:cNvPr>
          <p:cNvSpPr/>
          <p:nvPr/>
        </p:nvSpPr>
        <p:spPr>
          <a:xfrm flipV="1">
            <a:off x="3640526" y="5923117"/>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5" name="TextBox 54">
            <a:extLst>
              <a:ext uri="{FF2B5EF4-FFF2-40B4-BE49-F238E27FC236}">
                <a16:creationId xmlns:a16="http://schemas.microsoft.com/office/drawing/2014/main" id="{0AC02ECA-987D-40AF-BE7A-B239872F0524}"/>
              </a:ext>
            </a:extLst>
          </p:cNvPr>
          <p:cNvSpPr txBox="1"/>
          <p:nvPr/>
        </p:nvSpPr>
        <p:spPr>
          <a:xfrm>
            <a:off x="4129246" y="2532063"/>
            <a:ext cx="4784310" cy="727075"/>
          </a:xfrm>
          <a:prstGeom prst="rect">
            <a:avLst/>
          </a:prstGeom>
          <a:noFill/>
        </p:spPr>
        <p:txBody>
          <a:bodyPr wrap="square" anchor="ctr">
            <a:noAutofit/>
          </a:bodyPr>
          <a:lstStyle/>
          <a:p>
            <a:pPr>
              <a:spcAft>
                <a:spcPts val="0"/>
              </a:spcAft>
            </a:pPr>
            <a:r>
              <a:rPr lang="lv-LV" sz="1400">
                <a:solidFill>
                  <a:schemeClr val="tx1"/>
                </a:solidFill>
              </a:rPr>
              <a:t>Izsauciet Neatliekamo palīdzību.</a:t>
            </a:r>
          </a:p>
        </p:txBody>
      </p:sp>
      <p:sp>
        <p:nvSpPr>
          <p:cNvPr id="56" name="TextBox 55">
            <a:extLst>
              <a:ext uri="{FF2B5EF4-FFF2-40B4-BE49-F238E27FC236}">
                <a16:creationId xmlns:a16="http://schemas.microsoft.com/office/drawing/2014/main" id="{C3C28A52-D275-6E2C-BE22-283C8364819D}"/>
              </a:ext>
            </a:extLst>
          </p:cNvPr>
          <p:cNvSpPr txBox="1"/>
          <p:nvPr/>
        </p:nvSpPr>
        <p:spPr>
          <a:xfrm>
            <a:off x="4129246" y="3114676"/>
            <a:ext cx="4784310" cy="727075"/>
          </a:xfrm>
          <a:prstGeom prst="rect">
            <a:avLst/>
          </a:prstGeom>
          <a:noFill/>
        </p:spPr>
        <p:txBody>
          <a:bodyPr wrap="square" anchor="ctr">
            <a:noAutofit/>
          </a:bodyPr>
          <a:lstStyle/>
          <a:p>
            <a:pPr>
              <a:spcAft>
                <a:spcPts val="0"/>
              </a:spcAft>
            </a:pPr>
            <a:r>
              <a:rPr lang="lv-LV" sz="1400">
                <a:solidFill>
                  <a:schemeClr val="tx1"/>
                </a:solidFill>
              </a:rPr>
              <a:t>Novietojiet cietušo siltā telpā vai vismaz aizvējā.</a:t>
            </a:r>
          </a:p>
        </p:txBody>
      </p:sp>
      <p:sp>
        <p:nvSpPr>
          <p:cNvPr id="57" name="TextBox 56">
            <a:extLst>
              <a:ext uri="{FF2B5EF4-FFF2-40B4-BE49-F238E27FC236}">
                <a16:creationId xmlns:a16="http://schemas.microsoft.com/office/drawing/2014/main" id="{B157BBC1-EAD4-45A3-5D5A-DD3191AD5488}"/>
              </a:ext>
            </a:extLst>
          </p:cNvPr>
          <p:cNvSpPr txBox="1"/>
          <p:nvPr/>
        </p:nvSpPr>
        <p:spPr>
          <a:xfrm>
            <a:off x="4129246" y="4279902"/>
            <a:ext cx="4784310" cy="727075"/>
          </a:xfrm>
          <a:prstGeom prst="rect">
            <a:avLst/>
          </a:prstGeom>
          <a:noFill/>
        </p:spPr>
        <p:txBody>
          <a:bodyPr wrap="square" anchor="ctr">
            <a:noAutofit/>
          </a:bodyPr>
          <a:lstStyle/>
          <a:p>
            <a:pPr>
              <a:spcAft>
                <a:spcPts val="0"/>
              </a:spcAft>
            </a:pPr>
            <a:r>
              <a:rPr lang="lv-LV" sz="1400">
                <a:solidFill>
                  <a:schemeClr val="tx1"/>
                </a:solidFill>
              </a:rPr>
              <a:t>Sasedziet ar siltām, sausām drēbēm, un tad ietiniet folijas segā.</a:t>
            </a:r>
          </a:p>
        </p:txBody>
      </p:sp>
      <p:sp>
        <p:nvSpPr>
          <p:cNvPr id="58" name="TextBox 57">
            <a:extLst>
              <a:ext uri="{FF2B5EF4-FFF2-40B4-BE49-F238E27FC236}">
                <a16:creationId xmlns:a16="http://schemas.microsoft.com/office/drawing/2014/main" id="{2BCD24FF-F127-6E9F-1E4E-2363B2E8176F}"/>
              </a:ext>
            </a:extLst>
          </p:cNvPr>
          <p:cNvSpPr txBox="1"/>
          <p:nvPr/>
        </p:nvSpPr>
        <p:spPr>
          <a:xfrm>
            <a:off x="4129246" y="4862515"/>
            <a:ext cx="4784310" cy="727075"/>
          </a:xfrm>
          <a:prstGeom prst="rect">
            <a:avLst/>
          </a:prstGeom>
          <a:noFill/>
        </p:spPr>
        <p:txBody>
          <a:bodyPr wrap="square" anchor="ctr">
            <a:noAutofit/>
          </a:bodyPr>
          <a:lstStyle/>
          <a:p>
            <a:pPr>
              <a:spcAft>
                <a:spcPts val="0"/>
              </a:spcAft>
            </a:pPr>
            <a:r>
              <a:rPr lang="lv-LV" sz="1400">
                <a:solidFill>
                  <a:schemeClr val="tx1"/>
                </a:solidFill>
              </a:rPr>
              <a:t>Ja cietušajam nav traucēta apziņa, dodiet siltus, cukurotus dzērienus.</a:t>
            </a:r>
          </a:p>
        </p:txBody>
      </p:sp>
      <p:sp>
        <p:nvSpPr>
          <p:cNvPr id="61" name="TextBox 60">
            <a:extLst>
              <a:ext uri="{FF2B5EF4-FFF2-40B4-BE49-F238E27FC236}">
                <a16:creationId xmlns:a16="http://schemas.microsoft.com/office/drawing/2014/main" id="{E5F98DAA-B86C-DE09-039A-F11E1F0780A4}"/>
              </a:ext>
            </a:extLst>
          </p:cNvPr>
          <p:cNvSpPr txBox="1"/>
          <p:nvPr/>
        </p:nvSpPr>
        <p:spPr>
          <a:xfrm>
            <a:off x="4129246" y="3697289"/>
            <a:ext cx="4784310" cy="727075"/>
          </a:xfrm>
          <a:prstGeom prst="rect">
            <a:avLst/>
          </a:prstGeom>
          <a:noFill/>
        </p:spPr>
        <p:txBody>
          <a:bodyPr wrap="square" anchor="ctr">
            <a:noAutofit/>
          </a:bodyPr>
          <a:lstStyle/>
          <a:p>
            <a:pPr>
              <a:spcAft>
                <a:spcPts val="0"/>
              </a:spcAft>
            </a:pPr>
            <a:r>
              <a:rPr lang="lv-LV" sz="1400">
                <a:solidFill>
                  <a:schemeClr val="tx1"/>
                </a:solidFill>
              </a:rPr>
              <a:t>Ja iespējams, atbrīvojiet cietušo no mitrām drēbēm, apaviem.</a:t>
            </a:r>
          </a:p>
        </p:txBody>
      </p:sp>
      <p:sp>
        <p:nvSpPr>
          <p:cNvPr id="62" name="TextBox 61">
            <a:extLst>
              <a:ext uri="{FF2B5EF4-FFF2-40B4-BE49-F238E27FC236}">
                <a16:creationId xmlns:a16="http://schemas.microsoft.com/office/drawing/2014/main" id="{D4227107-781D-25F3-67A7-75215C978573}"/>
              </a:ext>
            </a:extLst>
          </p:cNvPr>
          <p:cNvSpPr txBox="1"/>
          <p:nvPr/>
        </p:nvSpPr>
        <p:spPr>
          <a:xfrm>
            <a:off x="4129246" y="5445126"/>
            <a:ext cx="4784310" cy="727075"/>
          </a:xfrm>
          <a:prstGeom prst="rect">
            <a:avLst/>
          </a:prstGeom>
          <a:noFill/>
        </p:spPr>
        <p:txBody>
          <a:bodyPr wrap="square" anchor="ctr">
            <a:noAutofit/>
          </a:bodyPr>
          <a:lstStyle/>
          <a:p>
            <a:pPr>
              <a:spcAft>
                <a:spcPts val="0"/>
              </a:spcAft>
            </a:pPr>
            <a:r>
              <a:rPr lang="lv-LV" sz="1400">
                <a:solidFill>
                  <a:schemeClr val="tx1"/>
                </a:solidFill>
              </a:rPr>
              <a:t>Veiciet atdzīvināšanas pasākumus, ja nepieciešams.</a:t>
            </a:r>
          </a:p>
        </p:txBody>
      </p:sp>
      <p:cxnSp>
        <p:nvCxnSpPr>
          <p:cNvPr id="63" name="Straight Connector 62">
            <a:extLst>
              <a:ext uri="{FF2B5EF4-FFF2-40B4-BE49-F238E27FC236}">
                <a16:creationId xmlns:a16="http://schemas.microsoft.com/office/drawing/2014/main" id="{31B040CF-6540-E531-4FCB-56B59B80EB7F}"/>
              </a:ext>
            </a:extLst>
          </p:cNvPr>
          <p:cNvCxnSpPr>
            <a:cxnSpLocks/>
          </p:cNvCxnSpPr>
          <p:nvPr/>
        </p:nvCxnSpPr>
        <p:spPr>
          <a:xfrm>
            <a:off x="4129246" y="3182868"/>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4" name="Straight Connector 63">
            <a:extLst>
              <a:ext uri="{FF2B5EF4-FFF2-40B4-BE49-F238E27FC236}">
                <a16:creationId xmlns:a16="http://schemas.microsoft.com/office/drawing/2014/main" id="{96AF9122-AE78-ECF6-9687-CBD7365E3A59}"/>
              </a:ext>
            </a:extLst>
          </p:cNvPr>
          <p:cNvCxnSpPr>
            <a:cxnSpLocks/>
          </p:cNvCxnSpPr>
          <p:nvPr/>
        </p:nvCxnSpPr>
        <p:spPr>
          <a:xfrm>
            <a:off x="4129246" y="3765481"/>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5" name="Straight Connector 64">
            <a:extLst>
              <a:ext uri="{FF2B5EF4-FFF2-40B4-BE49-F238E27FC236}">
                <a16:creationId xmlns:a16="http://schemas.microsoft.com/office/drawing/2014/main" id="{8579AF8C-577F-0814-EFD6-67A60D929ED2}"/>
              </a:ext>
            </a:extLst>
          </p:cNvPr>
          <p:cNvCxnSpPr>
            <a:cxnSpLocks/>
          </p:cNvCxnSpPr>
          <p:nvPr/>
        </p:nvCxnSpPr>
        <p:spPr>
          <a:xfrm>
            <a:off x="4129246" y="4348094"/>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6" name="Straight Connector 65">
            <a:extLst>
              <a:ext uri="{FF2B5EF4-FFF2-40B4-BE49-F238E27FC236}">
                <a16:creationId xmlns:a16="http://schemas.microsoft.com/office/drawing/2014/main" id="{73045070-3E8B-1D35-97F3-7226B0B5550A}"/>
              </a:ext>
            </a:extLst>
          </p:cNvPr>
          <p:cNvCxnSpPr>
            <a:cxnSpLocks/>
          </p:cNvCxnSpPr>
          <p:nvPr/>
        </p:nvCxnSpPr>
        <p:spPr>
          <a:xfrm>
            <a:off x="4129246" y="4930707"/>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7" name="Straight Connector 66">
            <a:extLst>
              <a:ext uri="{FF2B5EF4-FFF2-40B4-BE49-F238E27FC236}">
                <a16:creationId xmlns:a16="http://schemas.microsoft.com/office/drawing/2014/main" id="{8303DD6B-855C-69D1-AA97-9B41427E38B6}"/>
              </a:ext>
            </a:extLst>
          </p:cNvPr>
          <p:cNvCxnSpPr>
            <a:cxnSpLocks/>
          </p:cNvCxnSpPr>
          <p:nvPr/>
        </p:nvCxnSpPr>
        <p:spPr>
          <a:xfrm>
            <a:off x="4129246" y="5513320"/>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grpSp>
        <p:nvGrpSpPr>
          <p:cNvPr id="2" name="Google Shape;1364;p89">
            <a:extLst>
              <a:ext uri="{FF2B5EF4-FFF2-40B4-BE49-F238E27FC236}">
                <a16:creationId xmlns:a16="http://schemas.microsoft.com/office/drawing/2014/main" id="{8F0CE6DF-CA25-0F5B-805D-A9F9AE65047A}"/>
              </a:ext>
            </a:extLst>
          </p:cNvPr>
          <p:cNvGrpSpPr/>
          <p:nvPr/>
        </p:nvGrpSpPr>
        <p:grpSpPr>
          <a:xfrm>
            <a:off x="2443269" y="1930554"/>
            <a:ext cx="360000" cy="360000"/>
            <a:chOff x="2546009" y="5322517"/>
            <a:chExt cx="457200" cy="457200"/>
          </a:xfrm>
          <a:solidFill>
            <a:schemeClr val="bg1"/>
          </a:solidFill>
        </p:grpSpPr>
        <p:sp>
          <p:nvSpPr>
            <p:cNvPr id="5" name="Google Shape;1365;p89">
              <a:extLst>
                <a:ext uri="{FF2B5EF4-FFF2-40B4-BE49-F238E27FC236}">
                  <a16:creationId xmlns:a16="http://schemas.microsoft.com/office/drawing/2014/main" id="{E11A9D5A-8E51-59DF-2E6E-3D637E7AA57E}"/>
                </a:ext>
              </a:extLst>
            </p:cNvPr>
            <p:cNvSpPr/>
            <p:nvPr/>
          </p:nvSpPr>
          <p:spPr>
            <a:xfrm>
              <a:off x="2546009" y="5322517"/>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6" name="Google Shape;1366;p89">
              <a:extLst>
                <a:ext uri="{FF2B5EF4-FFF2-40B4-BE49-F238E27FC236}">
                  <a16:creationId xmlns:a16="http://schemas.microsoft.com/office/drawing/2014/main" id="{6307E12D-8818-3ECA-6181-7E94A3D6C8D0}"/>
                </a:ext>
              </a:extLst>
            </p:cNvPr>
            <p:cNvSpPr/>
            <p:nvPr/>
          </p:nvSpPr>
          <p:spPr>
            <a:xfrm>
              <a:off x="2588877" y="5373570"/>
              <a:ext cx="116612" cy="358965"/>
            </a:xfrm>
            <a:custGeom>
              <a:avLst/>
              <a:gdLst/>
              <a:ahLst/>
              <a:cxnLst/>
              <a:rect l="l" t="t" r="r" b="b"/>
              <a:pathLst>
                <a:path w="116612" h="358965" extrusionOk="0">
                  <a:moveTo>
                    <a:pt x="116612" y="231966"/>
                  </a:moveTo>
                  <a:cubicBezTo>
                    <a:pt x="116721" y="259877"/>
                    <a:pt x="96916" y="283899"/>
                    <a:pt x="69495" y="289116"/>
                  </a:cubicBezTo>
                  <a:lnTo>
                    <a:pt x="69495" y="358966"/>
                  </a:lnTo>
                  <a:lnTo>
                    <a:pt x="47492" y="358966"/>
                  </a:lnTo>
                  <a:lnTo>
                    <a:pt x="47492" y="289116"/>
                  </a:lnTo>
                  <a:cubicBezTo>
                    <a:pt x="15929" y="283232"/>
                    <a:pt x="-4888" y="252876"/>
                    <a:pt x="995" y="221313"/>
                  </a:cubicBezTo>
                  <a:cubicBezTo>
                    <a:pt x="5397" y="197695"/>
                    <a:pt x="23874" y="179218"/>
                    <a:pt x="47492" y="174816"/>
                  </a:cubicBezTo>
                  <a:lnTo>
                    <a:pt x="47492" y="0"/>
                  </a:lnTo>
                  <a:lnTo>
                    <a:pt x="69495" y="0"/>
                  </a:lnTo>
                  <a:lnTo>
                    <a:pt x="69495" y="174879"/>
                  </a:lnTo>
                  <a:cubicBezTo>
                    <a:pt x="96892" y="180090"/>
                    <a:pt x="116691" y="204078"/>
                    <a:pt x="116612" y="231966"/>
                  </a:cubicBezTo>
                  <a:close/>
                  <a:moveTo>
                    <a:pt x="22346" y="231966"/>
                  </a:moveTo>
                  <a:cubicBezTo>
                    <a:pt x="22329" y="251920"/>
                    <a:pt x="38491" y="268110"/>
                    <a:pt x="58446" y="268129"/>
                  </a:cubicBezTo>
                  <a:cubicBezTo>
                    <a:pt x="78401" y="268148"/>
                    <a:pt x="94592" y="251984"/>
                    <a:pt x="94609" y="232029"/>
                  </a:cubicBezTo>
                  <a:cubicBezTo>
                    <a:pt x="94627" y="212074"/>
                    <a:pt x="78465" y="195883"/>
                    <a:pt x="58510" y="195866"/>
                  </a:cubicBezTo>
                  <a:cubicBezTo>
                    <a:pt x="38569" y="195883"/>
                    <a:pt x="22399" y="212025"/>
                    <a:pt x="22346" y="231966"/>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7" name="Google Shape;1367;p89">
              <a:extLst>
                <a:ext uri="{FF2B5EF4-FFF2-40B4-BE49-F238E27FC236}">
                  <a16:creationId xmlns:a16="http://schemas.microsoft.com/office/drawing/2014/main" id="{47D87D78-B0B4-1ED8-A0B0-A0CE22744212}"/>
                </a:ext>
              </a:extLst>
            </p:cNvPr>
            <p:cNvSpPr/>
            <p:nvPr/>
          </p:nvSpPr>
          <p:spPr>
            <a:xfrm>
              <a:off x="2715985" y="5373570"/>
              <a:ext cx="116535" cy="358997"/>
            </a:xfrm>
            <a:custGeom>
              <a:avLst/>
              <a:gdLst/>
              <a:ahLst/>
              <a:cxnLst/>
              <a:rect l="l" t="t" r="r" b="b"/>
              <a:pathLst>
                <a:path w="116535" h="358997" extrusionOk="0">
                  <a:moveTo>
                    <a:pt x="116536" y="110363"/>
                  </a:moveTo>
                  <a:cubicBezTo>
                    <a:pt x="116626" y="138290"/>
                    <a:pt x="96794" y="162313"/>
                    <a:pt x="69355" y="167513"/>
                  </a:cubicBezTo>
                  <a:lnTo>
                    <a:pt x="69355" y="358997"/>
                  </a:lnTo>
                  <a:lnTo>
                    <a:pt x="47352" y="358997"/>
                  </a:lnTo>
                  <a:lnTo>
                    <a:pt x="47352" y="167481"/>
                  </a:lnTo>
                  <a:cubicBezTo>
                    <a:pt x="15789" y="161503"/>
                    <a:pt x="-4952" y="131070"/>
                    <a:pt x="1027" y="99507"/>
                  </a:cubicBezTo>
                  <a:cubicBezTo>
                    <a:pt x="5477" y="76010"/>
                    <a:pt x="23856" y="57632"/>
                    <a:pt x="47352" y="53181"/>
                  </a:cubicBezTo>
                  <a:lnTo>
                    <a:pt x="47352" y="0"/>
                  </a:lnTo>
                  <a:lnTo>
                    <a:pt x="69355" y="0"/>
                  </a:lnTo>
                  <a:lnTo>
                    <a:pt x="69355" y="53277"/>
                  </a:lnTo>
                  <a:cubicBezTo>
                    <a:pt x="96770" y="58472"/>
                    <a:pt x="116596" y="82460"/>
                    <a:pt x="116536" y="110363"/>
                  </a:cubicBezTo>
                  <a:close/>
                  <a:moveTo>
                    <a:pt x="22206" y="110363"/>
                  </a:moveTo>
                  <a:cubicBezTo>
                    <a:pt x="22189" y="130335"/>
                    <a:pt x="38366" y="146541"/>
                    <a:pt x="58338" y="146558"/>
                  </a:cubicBezTo>
                  <a:cubicBezTo>
                    <a:pt x="78310" y="146575"/>
                    <a:pt x="94515" y="130399"/>
                    <a:pt x="94533" y="110427"/>
                  </a:cubicBezTo>
                  <a:cubicBezTo>
                    <a:pt x="94550" y="90454"/>
                    <a:pt x="78374" y="74249"/>
                    <a:pt x="58401" y="74232"/>
                  </a:cubicBezTo>
                  <a:cubicBezTo>
                    <a:pt x="58391" y="74232"/>
                    <a:pt x="58380" y="74232"/>
                    <a:pt x="58370" y="74232"/>
                  </a:cubicBezTo>
                  <a:cubicBezTo>
                    <a:pt x="38417" y="74249"/>
                    <a:pt x="22241" y="90410"/>
                    <a:pt x="22206" y="110363"/>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8" name="Google Shape;1368;p89">
              <a:extLst>
                <a:ext uri="{FF2B5EF4-FFF2-40B4-BE49-F238E27FC236}">
                  <a16:creationId xmlns:a16="http://schemas.microsoft.com/office/drawing/2014/main" id="{0639B4B7-C04C-3972-0434-7F6234C301E2}"/>
                </a:ext>
              </a:extLst>
            </p:cNvPr>
            <p:cNvSpPr/>
            <p:nvPr/>
          </p:nvSpPr>
          <p:spPr>
            <a:xfrm>
              <a:off x="2842953" y="5373570"/>
              <a:ext cx="116535" cy="358997"/>
            </a:xfrm>
            <a:custGeom>
              <a:avLst/>
              <a:gdLst/>
              <a:ahLst/>
              <a:cxnLst/>
              <a:rect l="l" t="t" r="r" b="b"/>
              <a:pathLst>
                <a:path w="116535" h="358997" extrusionOk="0">
                  <a:moveTo>
                    <a:pt x="116536" y="194215"/>
                  </a:moveTo>
                  <a:cubicBezTo>
                    <a:pt x="116628" y="222132"/>
                    <a:pt x="96813" y="246151"/>
                    <a:pt x="69387" y="251365"/>
                  </a:cubicBezTo>
                  <a:lnTo>
                    <a:pt x="69387" y="358997"/>
                  </a:lnTo>
                  <a:lnTo>
                    <a:pt x="47352" y="358997"/>
                  </a:lnTo>
                  <a:lnTo>
                    <a:pt x="47352" y="251333"/>
                  </a:lnTo>
                  <a:cubicBezTo>
                    <a:pt x="15789" y="245355"/>
                    <a:pt x="-4952" y="214922"/>
                    <a:pt x="1027" y="183359"/>
                  </a:cubicBezTo>
                  <a:cubicBezTo>
                    <a:pt x="5477" y="159862"/>
                    <a:pt x="23854" y="141483"/>
                    <a:pt x="47352" y="137033"/>
                  </a:cubicBezTo>
                  <a:lnTo>
                    <a:pt x="47352" y="0"/>
                  </a:lnTo>
                  <a:lnTo>
                    <a:pt x="69387" y="0"/>
                  </a:lnTo>
                  <a:lnTo>
                    <a:pt x="69387" y="137128"/>
                  </a:lnTo>
                  <a:cubicBezTo>
                    <a:pt x="96797" y="142326"/>
                    <a:pt x="116612" y="166317"/>
                    <a:pt x="116536" y="194215"/>
                  </a:cubicBezTo>
                  <a:close/>
                  <a:moveTo>
                    <a:pt x="22238" y="194215"/>
                  </a:moveTo>
                  <a:cubicBezTo>
                    <a:pt x="22219" y="214187"/>
                    <a:pt x="38396" y="230392"/>
                    <a:pt x="58370" y="230410"/>
                  </a:cubicBezTo>
                  <a:cubicBezTo>
                    <a:pt x="78344" y="230427"/>
                    <a:pt x="94546" y="214251"/>
                    <a:pt x="94565" y="194278"/>
                  </a:cubicBezTo>
                  <a:cubicBezTo>
                    <a:pt x="94584" y="174306"/>
                    <a:pt x="78407" y="158101"/>
                    <a:pt x="58433" y="158083"/>
                  </a:cubicBezTo>
                  <a:cubicBezTo>
                    <a:pt x="58411" y="158083"/>
                    <a:pt x="58392" y="158083"/>
                    <a:pt x="58370" y="158083"/>
                  </a:cubicBezTo>
                  <a:cubicBezTo>
                    <a:pt x="38421" y="158101"/>
                    <a:pt x="22257" y="174267"/>
                    <a:pt x="22238" y="194215"/>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sp>
        <p:nvSpPr>
          <p:cNvPr id="18" name="Rectangle 17">
            <a:extLst>
              <a:ext uri="{FF2B5EF4-FFF2-40B4-BE49-F238E27FC236}">
                <a16:creationId xmlns:a16="http://schemas.microsoft.com/office/drawing/2014/main" id="{8718CE4C-95ED-99AC-270C-360B29FB6AD4}"/>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33" name="Group 32">
            <a:extLst>
              <a:ext uri="{FF2B5EF4-FFF2-40B4-BE49-F238E27FC236}">
                <a16:creationId xmlns:a16="http://schemas.microsoft.com/office/drawing/2014/main" id="{0E1E50A3-2B0B-2403-ED72-97408228FBA9}"/>
              </a:ext>
            </a:extLst>
          </p:cNvPr>
          <p:cNvGrpSpPr/>
          <p:nvPr/>
        </p:nvGrpSpPr>
        <p:grpSpPr>
          <a:xfrm>
            <a:off x="9842140" y="372216"/>
            <a:ext cx="1667215" cy="217488"/>
            <a:chOff x="9842140" y="372216"/>
            <a:chExt cx="1667215" cy="217488"/>
          </a:xfrm>
        </p:grpSpPr>
        <p:sp>
          <p:nvSpPr>
            <p:cNvPr id="34" name="TextBox 33">
              <a:extLst>
                <a:ext uri="{FF2B5EF4-FFF2-40B4-BE49-F238E27FC236}">
                  <a16:creationId xmlns:a16="http://schemas.microsoft.com/office/drawing/2014/main" id="{C87FCEB5-73C2-4FBE-4A19-EA996E36EE39}"/>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Termiskie bojājumi</a:t>
              </a:r>
            </a:p>
          </p:txBody>
        </p:sp>
        <p:sp>
          <p:nvSpPr>
            <p:cNvPr id="35" name="Freeform 49">
              <a:extLst>
                <a:ext uri="{FF2B5EF4-FFF2-40B4-BE49-F238E27FC236}">
                  <a16:creationId xmlns:a16="http://schemas.microsoft.com/office/drawing/2014/main" id="{89F13B56-964C-87A2-18FB-B820270895D4}"/>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9" name="Group 8">
            <a:extLst>
              <a:ext uri="{FF2B5EF4-FFF2-40B4-BE49-F238E27FC236}">
                <a16:creationId xmlns:a16="http://schemas.microsoft.com/office/drawing/2014/main" id="{1B34D71C-D43B-FCFC-9A2F-61ADCF605046}"/>
              </a:ext>
            </a:extLst>
          </p:cNvPr>
          <p:cNvGrpSpPr/>
          <p:nvPr/>
        </p:nvGrpSpPr>
        <p:grpSpPr>
          <a:xfrm>
            <a:off x="9122935" y="126781"/>
            <a:ext cx="2626153" cy="217488"/>
            <a:chOff x="9122935" y="126781"/>
            <a:chExt cx="2626153" cy="217488"/>
          </a:xfrm>
        </p:grpSpPr>
        <p:sp>
          <p:nvSpPr>
            <p:cNvPr id="36" name="Rectangle 35">
              <a:extLst>
                <a:ext uri="{FF2B5EF4-FFF2-40B4-BE49-F238E27FC236}">
                  <a16:creationId xmlns:a16="http://schemas.microsoft.com/office/drawing/2014/main" id="{42F10A0A-7B59-68DD-5B50-9DB700FCB6FE}"/>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37" name="Rectangle 36">
              <a:extLst>
                <a:ext uri="{FF2B5EF4-FFF2-40B4-BE49-F238E27FC236}">
                  <a16:creationId xmlns:a16="http://schemas.microsoft.com/office/drawing/2014/main" id="{41FA3FE3-0466-5CEF-4F7D-5A7C22A93AFD}"/>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8" name="Rectangle 37">
              <a:extLst>
                <a:ext uri="{FF2B5EF4-FFF2-40B4-BE49-F238E27FC236}">
                  <a16:creationId xmlns:a16="http://schemas.microsoft.com/office/drawing/2014/main" id="{A4A6DDC8-482C-6A00-A247-FB0FFE612012}"/>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9" name="Rectangle 38">
              <a:extLst>
                <a:ext uri="{FF2B5EF4-FFF2-40B4-BE49-F238E27FC236}">
                  <a16:creationId xmlns:a16="http://schemas.microsoft.com/office/drawing/2014/main" id="{CFBF7985-97DB-8C91-5E9D-2BC067C64486}"/>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54" name="Rectangle 53">
              <a:extLst>
                <a:ext uri="{FF2B5EF4-FFF2-40B4-BE49-F238E27FC236}">
                  <a16:creationId xmlns:a16="http://schemas.microsoft.com/office/drawing/2014/main" id="{A8D6DF6B-56B5-21FF-E211-1DB8960C3ED2}"/>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59" name="Rectangle 58">
              <a:extLst>
                <a:ext uri="{FF2B5EF4-FFF2-40B4-BE49-F238E27FC236}">
                  <a16:creationId xmlns:a16="http://schemas.microsoft.com/office/drawing/2014/main" id="{BB31CF24-FC59-16DB-B5B3-227C95C64065}"/>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7852210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E94DAC8-1E8F-3291-FA16-E6E35EB47422}"/>
              </a:ext>
            </a:extLst>
          </p:cNvPr>
          <p:cNvGraphicFramePr>
            <a:graphicFrameLocks noChangeAspect="1"/>
          </p:cNvGraphicFramePr>
          <p:nvPr>
            <p:custDataLst>
              <p:tags r:id="rId1"/>
            </p:custDataLst>
            <p:extLst>
              <p:ext uri="{D42A27DB-BD31-4B8C-83A1-F6EECF244321}">
                <p14:modId xmlns:p14="http://schemas.microsoft.com/office/powerpoint/2010/main" val="2276178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4E94DAC8-1E8F-3291-FA16-E6E35EB474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a:lstStyle/>
          <a:p>
            <a:r>
              <a:rPr lang="lv-LV"/>
              <a:t>Kā rīkoties apdegumu gadījum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25</a:t>
            </a:fld>
            <a:endParaRPr lang="en-GB"/>
          </a:p>
        </p:txBody>
      </p:sp>
      <p:sp>
        <p:nvSpPr>
          <p:cNvPr id="20" name="Rectangle 19">
            <a:extLst>
              <a:ext uri="{FF2B5EF4-FFF2-40B4-BE49-F238E27FC236}">
                <a16:creationId xmlns:a16="http://schemas.microsoft.com/office/drawing/2014/main" id="{71A7C7C0-2A0C-7790-FB11-2C935A397516}"/>
              </a:ext>
            </a:extLst>
          </p:cNvPr>
          <p:cNvSpPr/>
          <p:nvPr/>
        </p:nvSpPr>
        <p:spPr>
          <a:xfrm>
            <a:off x="6331926" y="2398554"/>
            <a:ext cx="5417162"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a:spcAft>
                <a:spcPts val="600"/>
              </a:spcAft>
              <a:buBlip>
                <a:blip r:embed="rId6"/>
              </a:buBlip>
            </a:pPr>
            <a:r>
              <a:rPr lang="lv-LV" sz="1400">
                <a:solidFill>
                  <a:schemeClr val="tx1"/>
                </a:solidFill>
              </a:rPr>
              <a:t>Plašu apdeguma laukumu dzesēšana var izraisīt ķermeņa atdzišanu. Šādā gadījumā samaziniet dzesēšanas ilgumu vai lietojiet vēsu, bet ne aukstu ūdeni.</a:t>
            </a:r>
          </a:p>
          <a:p>
            <a:pPr marL="285750" indent="-285750">
              <a:spcAft>
                <a:spcPts val="600"/>
              </a:spcAft>
              <a:buBlip>
                <a:blip r:embed="rId6"/>
              </a:buBlip>
            </a:pPr>
            <a:r>
              <a:rPr lang="lv-LV" sz="1400">
                <a:solidFill>
                  <a:schemeClr val="tx1"/>
                </a:solidFill>
              </a:rPr>
              <a:t>Elpceļu apdegumu gadījumā vienmēr izsauciet Neatliekamo palīdzību, jo draud smakšana. Sejas apdegumu gadījumā vienmēr apdeg elpceļi.</a:t>
            </a:r>
          </a:p>
          <a:p>
            <a:pPr marL="285750" indent="-285750">
              <a:spcAft>
                <a:spcPts val="600"/>
              </a:spcAft>
              <a:buBlip>
                <a:blip r:embed="rId6"/>
              </a:buBlip>
            </a:pPr>
            <a:r>
              <a:rPr lang="lv-LV" sz="1400">
                <a:solidFill>
                  <a:schemeClr val="tx1"/>
                </a:solidFill>
              </a:rPr>
              <a:t>Ja aizdedzies apģērbs, cietušais pēc iespējas ātrāk jādabū guļus. Degošu apģērbu nodzēsiet, noslāpējot liesmu ar segu, vārtot cietušo pa zemi vai aplejot ar ūdeni. Apģērba dzēšanai varat lietot arī ugunsdzēšanas aparātus, bet, darot to, saudzējiet cietušā seju.</a:t>
            </a:r>
          </a:p>
          <a:p>
            <a:pPr marL="285750" indent="-285750">
              <a:spcAft>
                <a:spcPts val="600"/>
              </a:spcAft>
              <a:buBlip>
                <a:blip r:embed="rId6"/>
              </a:buBlip>
            </a:pPr>
            <a:r>
              <a:rPr lang="lv-LV" sz="1400">
                <a:solidFill>
                  <a:schemeClr val="tx1"/>
                </a:solidFill>
              </a:rPr>
              <a:t>Neplēsiet nost no ķermeņa piedegušos apģērba gabalus.</a:t>
            </a:r>
          </a:p>
          <a:p>
            <a:pPr marL="285750" indent="-285750">
              <a:spcAft>
                <a:spcPts val="600"/>
              </a:spcAft>
              <a:buBlip>
                <a:blip r:embed="rId6"/>
              </a:buBlip>
            </a:pPr>
            <a:r>
              <a:rPr lang="lv-LV" sz="1400">
                <a:solidFill>
                  <a:schemeClr val="tx1"/>
                </a:solidFill>
              </a:rPr>
              <a:t>Neatveriet apdeguma radītos pūšļus.</a:t>
            </a:r>
          </a:p>
          <a:p>
            <a:pPr marL="285750" indent="-285750">
              <a:spcAft>
                <a:spcPts val="600"/>
              </a:spcAft>
              <a:buBlip>
                <a:blip r:embed="rId6"/>
              </a:buBlip>
            </a:pPr>
            <a:r>
              <a:rPr lang="lv-LV" sz="1400">
                <a:solidFill>
                  <a:schemeClr val="tx1"/>
                </a:solidFill>
              </a:rPr>
              <a:t>Sniedzot pirmo palīdzību, nelietojiet ziedes, pūderus, dezinfekcijas līdzekļus.</a:t>
            </a:r>
          </a:p>
        </p:txBody>
      </p:sp>
      <p:sp>
        <p:nvSpPr>
          <p:cNvPr id="21" name="Rectangle 20">
            <a:extLst>
              <a:ext uri="{FF2B5EF4-FFF2-40B4-BE49-F238E27FC236}">
                <a16:creationId xmlns:a16="http://schemas.microsoft.com/office/drawing/2014/main" id="{2AE882DB-6A87-19F7-49D2-A2C7AF5D76FD}"/>
              </a:ext>
            </a:extLst>
          </p:cNvPr>
          <p:cNvSpPr/>
          <p:nvPr/>
        </p:nvSpPr>
        <p:spPr>
          <a:xfrm>
            <a:off x="6331926" y="1835254"/>
            <a:ext cx="5417162"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22" name="Content Placeholder 1">
            <a:extLst>
              <a:ext uri="{FF2B5EF4-FFF2-40B4-BE49-F238E27FC236}">
                <a16:creationId xmlns:a16="http://schemas.microsoft.com/office/drawing/2014/main" id="{D512C8CC-021C-3D02-627D-E9AFCCFA9CAF}"/>
              </a:ext>
            </a:extLst>
          </p:cNvPr>
          <p:cNvSpPr txBox="1">
            <a:spLocks/>
          </p:cNvSpPr>
          <p:nvPr/>
        </p:nvSpPr>
        <p:spPr>
          <a:xfrm>
            <a:off x="11173087" y="18352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23" name="Content Placeholder 1">
            <a:extLst>
              <a:ext uri="{FF2B5EF4-FFF2-40B4-BE49-F238E27FC236}">
                <a16:creationId xmlns:a16="http://schemas.microsoft.com/office/drawing/2014/main" id="{5365EF17-B219-A2D9-E9C0-8D98FAFA07D9}"/>
              </a:ext>
            </a:extLst>
          </p:cNvPr>
          <p:cNvSpPr txBox="1">
            <a:spLocks/>
          </p:cNvSpPr>
          <p:nvPr/>
        </p:nvSpPr>
        <p:spPr>
          <a:xfrm>
            <a:off x="11101699" y="18352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24" name="Google Shape;794;p79">
            <a:extLst>
              <a:ext uri="{FF2B5EF4-FFF2-40B4-BE49-F238E27FC236}">
                <a16:creationId xmlns:a16="http://schemas.microsoft.com/office/drawing/2014/main" id="{EDAAB878-3F85-4CF2-D593-26F5C6B40D68}"/>
              </a:ext>
            </a:extLst>
          </p:cNvPr>
          <p:cNvSpPr/>
          <p:nvPr/>
        </p:nvSpPr>
        <p:spPr>
          <a:xfrm>
            <a:off x="11281087" y="19432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5" name="Rectangle 24">
            <a:extLst>
              <a:ext uri="{FF2B5EF4-FFF2-40B4-BE49-F238E27FC236}">
                <a16:creationId xmlns:a16="http://schemas.microsoft.com/office/drawing/2014/main" id="{F25DA104-C4AB-B1D2-2A0D-66C0FB817D87}"/>
              </a:ext>
            </a:extLst>
          </p:cNvPr>
          <p:cNvSpPr/>
          <p:nvPr/>
        </p:nvSpPr>
        <p:spPr>
          <a:xfrm>
            <a:off x="455061" y="1835254"/>
            <a:ext cx="4901014"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grpSp>
        <p:nvGrpSpPr>
          <p:cNvPr id="26" name="Group 25">
            <a:extLst>
              <a:ext uri="{FF2B5EF4-FFF2-40B4-BE49-F238E27FC236}">
                <a16:creationId xmlns:a16="http://schemas.microsoft.com/office/drawing/2014/main" id="{E3370077-1573-2794-544A-AE97973345F5}"/>
              </a:ext>
            </a:extLst>
          </p:cNvPr>
          <p:cNvGrpSpPr/>
          <p:nvPr/>
        </p:nvGrpSpPr>
        <p:grpSpPr>
          <a:xfrm>
            <a:off x="5284688" y="1837690"/>
            <a:ext cx="647388" cy="576000"/>
            <a:chOff x="7212125" y="1822554"/>
            <a:chExt cx="647388" cy="576000"/>
          </a:xfrm>
        </p:grpSpPr>
        <p:sp>
          <p:nvSpPr>
            <p:cNvPr id="27" name="Content Placeholder 1">
              <a:extLst>
                <a:ext uri="{FF2B5EF4-FFF2-40B4-BE49-F238E27FC236}">
                  <a16:creationId xmlns:a16="http://schemas.microsoft.com/office/drawing/2014/main" id="{92B45411-117E-3A9B-8D05-A274C276C732}"/>
                </a:ext>
              </a:extLst>
            </p:cNvPr>
            <p:cNvSpPr txBox="1">
              <a:spLocks/>
            </p:cNvSpPr>
            <p:nvPr/>
          </p:nvSpPr>
          <p:spPr>
            <a:xfrm>
              <a:off x="7283513"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28" name="Content Placeholder 1">
              <a:extLst>
                <a:ext uri="{FF2B5EF4-FFF2-40B4-BE49-F238E27FC236}">
                  <a16:creationId xmlns:a16="http://schemas.microsoft.com/office/drawing/2014/main" id="{118C0778-7C73-7259-A140-8702FEA7D408}"/>
                </a:ext>
              </a:extLst>
            </p:cNvPr>
            <p:cNvSpPr txBox="1">
              <a:spLocks/>
            </p:cNvSpPr>
            <p:nvPr/>
          </p:nvSpPr>
          <p:spPr>
            <a:xfrm>
              <a:off x="7212125"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29" name="Google Shape;760;p79">
              <a:extLst>
                <a:ext uri="{FF2B5EF4-FFF2-40B4-BE49-F238E27FC236}">
                  <a16:creationId xmlns:a16="http://schemas.microsoft.com/office/drawing/2014/main" id="{D0BBF4F3-2759-9647-C8BA-1EDB4EBC21E7}"/>
                </a:ext>
              </a:extLst>
            </p:cNvPr>
            <p:cNvSpPr/>
            <p:nvPr/>
          </p:nvSpPr>
          <p:spPr>
            <a:xfrm>
              <a:off x="7391513"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sp>
        <p:nvSpPr>
          <p:cNvPr id="34" name="Content Placeholder 1">
            <a:extLst>
              <a:ext uri="{FF2B5EF4-FFF2-40B4-BE49-F238E27FC236}">
                <a16:creationId xmlns:a16="http://schemas.microsoft.com/office/drawing/2014/main" id="{30F86F50-8DB0-02A8-CC78-51DDA84DE4AD}"/>
              </a:ext>
            </a:extLst>
          </p:cNvPr>
          <p:cNvSpPr txBox="1">
            <a:spLocks/>
          </p:cNvSpPr>
          <p:nvPr/>
        </p:nvSpPr>
        <p:spPr>
          <a:xfrm>
            <a:off x="455062" y="3144673"/>
            <a:ext cx="630238" cy="64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2</a:t>
            </a:r>
          </a:p>
        </p:txBody>
      </p:sp>
      <p:sp>
        <p:nvSpPr>
          <p:cNvPr id="35" name="Content Placeholder 1">
            <a:extLst>
              <a:ext uri="{FF2B5EF4-FFF2-40B4-BE49-F238E27FC236}">
                <a16:creationId xmlns:a16="http://schemas.microsoft.com/office/drawing/2014/main" id="{C2AF3EEF-18F4-C17A-DE3C-2AC17A224682}"/>
              </a:ext>
            </a:extLst>
          </p:cNvPr>
          <p:cNvSpPr txBox="1">
            <a:spLocks/>
          </p:cNvSpPr>
          <p:nvPr/>
        </p:nvSpPr>
        <p:spPr>
          <a:xfrm>
            <a:off x="455062" y="3829555"/>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3</a:t>
            </a:r>
          </a:p>
        </p:txBody>
      </p:sp>
      <p:sp>
        <p:nvSpPr>
          <p:cNvPr id="36" name="Content Placeholder 1">
            <a:extLst>
              <a:ext uri="{FF2B5EF4-FFF2-40B4-BE49-F238E27FC236}">
                <a16:creationId xmlns:a16="http://schemas.microsoft.com/office/drawing/2014/main" id="{204DB6A7-E2DC-AA3D-E581-AA339DD36342}"/>
              </a:ext>
            </a:extLst>
          </p:cNvPr>
          <p:cNvSpPr txBox="1">
            <a:spLocks/>
          </p:cNvSpPr>
          <p:nvPr/>
        </p:nvSpPr>
        <p:spPr>
          <a:xfrm>
            <a:off x="455062" y="4442437"/>
            <a:ext cx="630238"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4</a:t>
            </a:r>
          </a:p>
        </p:txBody>
      </p:sp>
      <p:sp>
        <p:nvSpPr>
          <p:cNvPr id="37" name="Content Placeholder 1">
            <a:extLst>
              <a:ext uri="{FF2B5EF4-FFF2-40B4-BE49-F238E27FC236}">
                <a16:creationId xmlns:a16="http://schemas.microsoft.com/office/drawing/2014/main" id="{26DBADC2-4B76-14EA-99C9-12C38A242436}"/>
              </a:ext>
            </a:extLst>
          </p:cNvPr>
          <p:cNvSpPr txBox="1">
            <a:spLocks/>
          </p:cNvSpPr>
          <p:nvPr/>
        </p:nvSpPr>
        <p:spPr>
          <a:xfrm>
            <a:off x="455062" y="5055319"/>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5</a:t>
            </a:r>
          </a:p>
        </p:txBody>
      </p:sp>
      <p:sp>
        <p:nvSpPr>
          <p:cNvPr id="38" name="Content Placeholder 1">
            <a:extLst>
              <a:ext uri="{FF2B5EF4-FFF2-40B4-BE49-F238E27FC236}">
                <a16:creationId xmlns:a16="http://schemas.microsoft.com/office/drawing/2014/main" id="{FDC03DDD-26FD-DD24-F947-CB586C9EFB29}"/>
              </a:ext>
            </a:extLst>
          </p:cNvPr>
          <p:cNvSpPr txBox="1">
            <a:spLocks/>
          </p:cNvSpPr>
          <p:nvPr/>
        </p:nvSpPr>
        <p:spPr>
          <a:xfrm>
            <a:off x="455062" y="5668201"/>
            <a:ext cx="630238" cy="504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6</a:t>
            </a:r>
          </a:p>
        </p:txBody>
      </p:sp>
      <p:sp>
        <p:nvSpPr>
          <p:cNvPr id="39" name="Content Placeholder 1">
            <a:extLst>
              <a:ext uri="{FF2B5EF4-FFF2-40B4-BE49-F238E27FC236}">
                <a16:creationId xmlns:a16="http://schemas.microsoft.com/office/drawing/2014/main" id="{A60821DC-9E63-C7BD-AA14-946E64DA12AA}"/>
              </a:ext>
            </a:extLst>
          </p:cNvPr>
          <p:cNvSpPr txBox="1">
            <a:spLocks/>
          </p:cNvSpPr>
          <p:nvPr/>
        </p:nvSpPr>
        <p:spPr>
          <a:xfrm>
            <a:off x="455062" y="2531791"/>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1</a:t>
            </a:r>
          </a:p>
        </p:txBody>
      </p:sp>
      <p:cxnSp>
        <p:nvCxnSpPr>
          <p:cNvPr id="40" name="Straight Connector 39">
            <a:extLst>
              <a:ext uri="{FF2B5EF4-FFF2-40B4-BE49-F238E27FC236}">
                <a16:creationId xmlns:a16="http://schemas.microsoft.com/office/drawing/2014/main" id="{AEA46143-65A0-F604-7AFA-8190A092D080}"/>
              </a:ext>
            </a:extLst>
          </p:cNvPr>
          <p:cNvCxnSpPr>
            <a:cxnSpLocks/>
            <a:stCxn id="41" idx="4"/>
            <a:endCxn id="47" idx="3"/>
          </p:cNvCxnSpPr>
          <p:nvPr/>
        </p:nvCxnSpPr>
        <p:spPr>
          <a:xfrm>
            <a:off x="877739" y="2793181"/>
            <a:ext cx="0" cy="3129936"/>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41" name="Oval 40">
            <a:extLst>
              <a:ext uri="{FF2B5EF4-FFF2-40B4-BE49-F238E27FC236}">
                <a16:creationId xmlns:a16="http://schemas.microsoft.com/office/drawing/2014/main" id="{03DE8749-C6D4-08C9-5257-31FFAF66E74C}"/>
              </a:ext>
            </a:extLst>
          </p:cNvPr>
          <p:cNvSpPr/>
          <p:nvPr/>
        </p:nvSpPr>
        <p:spPr>
          <a:xfrm>
            <a:off x="805349" y="2648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42" name="Isosceles Triangle 41">
            <a:extLst>
              <a:ext uri="{FF2B5EF4-FFF2-40B4-BE49-F238E27FC236}">
                <a16:creationId xmlns:a16="http://schemas.microsoft.com/office/drawing/2014/main" id="{CFB3B2CE-10DB-C325-3DCB-865DCD72D32E}"/>
              </a:ext>
            </a:extLst>
          </p:cNvPr>
          <p:cNvSpPr/>
          <p:nvPr/>
        </p:nvSpPr>
        <p:spPr>
          <a:xfrm flipV="1">
            <a:off x="703908" y="310745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43" name="Isosceles Triangle 42">
            <a:extLst>
              <a:ext uri="{FF2B5EF4-FFF2-40B4-BE49-F238E27FC236}">
                <a16:creationId xmlns:a16="http://schemas.microsoft.com/office/drawing/2014/main" id="{8D33C578-FD40-5DAA-B6FF-379DD51EC137}"/>
              </a:ext>
            </a:extLst>
          </p:cNvPr>
          <p:cNvSpPr/>
          <p:nvPr/>
        </p:nvSpPr>
        <p:spPr>
          <a:xfrm flipV="1">
            <a:off x="703908" y="5015022"/>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44" name="Isosceles Triangle 43">
            <a:extLst>
              <a:ext uri="{FF2B5EF4-FFF2-40B4-BE49-F238E27FC236}">
                <a16:creationId xmlns:a16="http://schemas.microsoft.com/office/drawing/2014/main" id="{82C87D7B-B0FE-FFE8-F8A9-03FD9DC7F2C5}"/>
              </a:ext>
            </a:extLst>
          </p:cNvPr>
          <p:cNvSpPr/>
          <p:nvPr/>
        </p:nvSpPr>
        <p:spPr>
          <a:xfrm flipV="1">
            <a:off x="703908" y="563131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45" name="Isosceles Triangle 44">
            <a:extLst>
              <a:ext uri="{FF2B5EF4-FFF2-40B4-BE49-F238E27FC236}">
                <a16:creationId xmlns:a16="http://schemas.microsoft.com/office/drawing/2014/main" id="{FA7526CE-0059-8849-9B87-5C05050F5DDD}"/>
              </a:ext>
            </a:extLst>
          </p:cNvPr>
          <p:cNvSpPr/>
          <p:nvPr/>
        </p:nvSpPr>
        <p:spPr>
          <a:xfrm flipV="1">
            <a:off x="703908" y="440110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46" name="Isosceles Triangle 45">
            <a:extLst>
              <a:ext uri="{FF2B5EF4-FFF2-40B4-BE49-F238E27FC236}">
                <a16:creationId xmlns:a16="http://schemas.microsoft.com/office/drawing/2014/main" id="{881A65C4-F5CF-91F1-3868-BF33E25C5686}"/>
              </a:ext>
            </a:extLst>
          </p:cNvPr>
          <p:cNvSpPr/>
          <p:nvPr/>
        </p:nvSpPr>
        <p:spPr>
          <a:xfrm flipV="1">
            <a:off x="703908" y="3792673"/>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47" name="Isosceles Triangle 46">
            <a:extLst>
              <a:ext uri="{FF2B5EF4-FFF2-40B4-BE49-F238E27FC236}">
                <a16:creationId xmlns:a16="http://schemas.microsoft.com/office/drawing/2014/main" id="{8954E102-9C1D-455C-0923-C45A01B097F0}"/>
              </a:ext>
            </a:extLst>
          </p:cNvPr>
          <p:cNvSpPr/>
          <p:nvPr/>
        </p:nvSpPr>
        <p:spPr>
          <a:xfrm flipV="1">
            <a:off x="822970" y="5923117"/>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48" name="TextBox 47">
            <a:extLst>
              <a:ext uri="{FF2B5EF4-FFF2-40B4-BE49-F238E27FC236}">
                <a16:creationId xmlns:a16="http://schemas.microsoft.com/office/drawing/2014/main" id="{EBAA83D0-B767-9E96-1B47-C078CEEE614B}"/>
              </a:ext>
            </a:extLst>
          </p:cNvPr>
          <p:cNvSpPr txBox="1"/>
          <p:nvPr/>
        </p:nvSpPr>
        <p:spPr>
          <a:xfrm>
            <a:off x="1311690" y="2532063"/>
            <a:ext cx="4619210" cy="576000"/>
          </a:xfrm>
          <a:prstGeom prst="rect">
            <a:avLst/>
          </a:prstGeom>
          <a:noFill/>
        </p:spPr>
        <p:txBody>
          <a:bodyPr wrap="square" anchor="ctr">
            <a:noAutofit/>
          </a:bodyPr>
          <a:lstStyle/>
          <a:p>
            <a:pPr>
              <a:spcAft>
                <a:spcPts val="0"/>
              </a:spcAft>
            </a:pPr>
            <a:r>
              <a:rPr lang="lv-LV" sz="1400">
                <a:solidFill>
                  <a:schemeClr val="tx1"/>
                </a:solidFill>
              </a:rPr>
              <a:t>Ja aizdedzies apģērbs, nodzēsiet liesmu.</a:t>
            </a:r>
          </a:p>
        </p:txBody>
      </p:sp>
      <p:sp>
        <p:nvSpPr>
          <p:cNvPr id="49" name="TextBox 48">
            <a:extLst>
              <a:ext uri="{FF2B5EF4-FFF2-40B4-BE49-F238E27FC236}">
                <a16:creationId xmlns:a16="http://schemas.microsoft.com/office/drawing/2014/main" id="{61741A74-5C7B-7766-FAC2-162B3E3B5946}"/>
              </a:ext>
            </a:extLst>
          </p:cNvPr>
          <p:cNvSpPr txBox="1"/>
          <p:nvPr/>
        </p:nvSpPr>
        <p:spPr>
          <a:xfrm>
            <a:off x="1311690" y="3144891"/>
            <a:ext cx="4619210" cy="648000"/>
          </a:xfrm>
          <a:prstGeom prst="rect">
            <a:avLst/>
          </a:prstGeom>
          <a:noFill/>
        </p:spPr>
        <p:txBody>
          <a:bodyPr wrap="square" anchor="ctr">
            <a:noAutofit/>
          </a:bodyPr>
          <a:lstStyle/>
          <a:p>
            <a:pPr>
              <a:spcAft>
                <a:spcPts val="0"/>
              </a:spcAft>
            </a:pPr>
            <a:r>
              <a:rPr lang="lv-LV" sz="1400">
                <a:solidFill>
                  <a:schemeClr val="tx1"/>
                </a:solidFill>
              </a:rPr>
              <a:t>Pēc iespējas ātrāk apdegušo vietu dzesējiet ar vēsu vai aukstu (ne ledainu) ūdeni vismaz 20 minūtes. Ja iespējams, lejiet ūdeni starp apģērbu un ādu.</a:t>
            </a:r>
          </a:p>
        </p:txBody>
      </p:sp>
      <p:sp>
        <p:nvSpPr>
          <p:cNvPr id="50" name="TextBox 49">
            <a:extLst>
              <a:ext uri="{FF2B5EF4-FFF2-40B4-BE49-F238E27FC236}">
                <a16:creationId xmlns:a16="http://schemas.microsoft.com/office/drawing/2014/main" id="{A0C0290C-4BE9-3776-4546-3DEF56D11991}"/>
              </a:ext>
            </a:extLst>
          </p:cNvPr>
          <p:cNvSpPr txBox="1"/>
          <p:nvPr/>
        </p:nvSpPr>
        <p:spPr>
          <a:xfrm>
            <a:off x="1311690" y="4442547"/>
            <a:ext cx="4619210" cy="576000"/>
          </a:xfrm>
          <a:prstGeom prst="rect">
            <a:avLst/>
          </a:prstGeom>
          <a:noFill/>
        </p:spPr>
        <p:txBody>
          <a:bodyPr wrap="square" anchor="ctr">
            <a:noAutofit/>
          </a:bodyPr>
          <a:lstStyle/>
          <a:p>
            <a:pPr>
              <a:spcAft>
                <a:spcPts val="0"/>
              </a:spcAft>
            </a:pPr>
            <a:r>
              <a:rPr lang="lv-LV" sz="1400">
                <a:solidFill>
                  <a:schemeClr val="tx1"/>
                </a:solidFill>
              </a:rPr>
              <a:t>Ja apdegums lielāks par cietušā plaukstu, izsauciet Neatliekamo palīdzību.</a:t>
            </a:r>
          </a:p>
        </p:txBody>
      </p:sp>
      <p:sp>
        <p:nvSpPr>
          <p:cNvPr id="51" name="TextBox 50">
            <a:extLst>
              <a:ext uri="{FF2B5EF4-FFF2-40B4-BE49-F238E27FC236}">
                <a16:creationId xmlns:a16="http://schemas.microsoft.com/office/drawing/2014/main" id="{BAB0F656-869B-B0AF-322D-5E8BBB041A61}"/>
              </a:ext>
            </a:extLst>
          </p:cNvPr>
          <p:cNvSpPr txBox="1"/>
          <p:nvPr/>
        </p:nvSpPr>
        <p:spPr>
          <a:xfrm>
            <a:off x="1311690" y="5055375"/>
            <a:ext cx="4619210" cy="576000"/>
          </a:xfrm>
          <a:prstGeom prst="rect">
            <a:avLst/>
          </a:prstGeom>
          <a:noFill/>
        </p:spPr>
        <p:txBody>
          <a:bodyPr wrap="square" anchor="ctr">
            <a:noAutofit/>
          </a:bodyPr>
          <a:lstStyle/>
          <a:p>
            <a:pPr>
              <a:spcAft>
                <a:spcPts val="0"/>
              </a:spcAft>
            </a:pPr>
            <a:r>
              <a:rPr lang="lv-LV" sz="1400">
                <a:solidFill>
                  <a:schemeClr val="tx1"/>
                </a:solidFill>
              </a:rPr>
              <a:t>Apdegumu brīvi pārklājiet ar marles salveti, pārtikas plēvi vai folijas segu.</a:t>
            </a:r>
          </a:p>
        </p:txBody>
      </p:sp>
      <p:sp>
        <p:nvSpPr>
          <p:cNvPr id="52" name="TextBox 51">
            <a:extLst>
              <a:ext uri="{FF2B5EF4-FFF2-40B4-BE49-F238E27FC236}">
                <a16:creationId xmlns:a16="http://schemas.microsoft.com/office/drawing/2014/main" id="{DAED98C7-E0EF-C092-E3F8-D2FBD65700E3}"/>
              </a:ext>
            </a:extLst>
          </p:cNvPr>
          <p:cNvSpPr txBox="1"/>
          <p:nvPr/>
        </p:nvSpPr>
        <p:spPr>
          <a:xfrm>
            <a:off x="1311690" y="3829719"/>
            <a:ext cx="4619210" cy="576000"/>
          </a:xfrm>
          <a:prstGeom prst="rect">
            <a:avLst/>
          </a:prstGeom>
          <a:noFill/>
        </p:spPr>
        <p:txBody>
          <a:bodyPr wrap="square" anchor="ctr">
            <a:noAutofit/>
          </a:bodyPr>
          <a:lstStyle/>
          <a:p>
            <a:pPr>
              <a:spcAft>
                <a:spcPts val="0"/>
              </a:spcAft>
            </a:pPr>
            <a:r>
              <a:rPr lang="lv-LV" sz="1400">
                <a:solidFill>
                  <a:schemeClr val="tx1"/>
                </a:solidFill>
              </a:rPr>
              <a:t>Dzesēšanas laikā uzmanīgi novelciet no traumētās ķermeņa daļas apģērbu, apavus, gredzenus.</a:t>
            </a:r>
          </a:p>
        </p:txBody>
      </p:sp>
      <p:sp>
        <p:nvSpPr>
          <p:cNvPr id="53" name="TextBox 52">
            <a:extLst>
              <a:ext uri="{FF2B5EF4-FFF2-40B4-BE49-F238E27FC236}">
                <a16:creationId xmlns:a16="http://schemas.microsoft.com/office/drawing/2014/main" id="{18418CB4-C7BA-DDC9-0605-BD3AD04DF988}"/>
              </a:ext>
            </a:extLst>
          </p:cNvPr>
          <p:cNvSpPr txBox="1"/>
          <p:nvPr/>
        </p:nvSpPr>
        <p:spPr>
          <a:xfrm>
            <a:off x="1311690" y="5668201"/>
            <a:ext cx="4619210" cy="504000"/>
          </a:xfrm>
          <a:prstGeom prst="rect">
            <a:avLst/>
          </a:prstGeom>
          <a:noFill/>
        </p:spPr>
        <p:txBody>
          <a:bodyPr wrap="square" anchor="ctr">
            <a:noAutofit/>
          </a:bodyPr>
          <a:lstStyle/>
          <a:p>
            <a:pPr>
              <a:spcAft>
                <a:spcPts val="0"/>
              </a:spcAft>
            </a:pPr>
            <a:r>
              <a:rPr lang="lv-LV" sz="1400">
                <a:solidFill>
                  <a:schemeClr val="tx1"/>
                </a:solidFill>
              </a:rPr>
              <a:t>Aprūpējiet, nomieriniet cietušo.</a:t>
            </a:r>
          </a:p>
        </p:txBody>
      </p:sp>
      <p:cxnSp>
        <p:nvCxnSpPr>
          <p:cNvPr id="54" name="Straight Connector 53">
            <a:extLst>
              <a:ext uri="{FF2B5EF4-FFF2-40B4-BE49-F238E27FC236}">
                <a16:creationId xmlns:a16="http://schemas.microsoft.com/office/drawing/2014/main" id="{4281C6C9-CAE5-FE3D-692E-4632AFDD42D6}"/>
              </a:ext>
            </a:extLst>
          </p:cNvPr>
          <p:cNvCxnSpPr>
            <a:cxnSpLocks/>
          </p:cNvCxnSpPr>
          <p:nvPr/>
        </p:nvCxnSpPr>
        <p:spPr>
          <a:xfrm>
            <a:off x="1311690" y="3122438"/>
            <a:ext cx="4619211" cy="18413"/>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5" name="Straight Connector 54">
            <a:extLst>
              <a:ext uri="{FF2B5EF4-FFF2-40B4-BE49-F238E27FC236}">
                <a16:creationId xmlns:a16="http://schemas.microsoft.com/office/drawing/2014/main" id="{C204DE99-827A-F3C1-EF6A-10E3F0F8DA85}"/>
              </a:ext>
            </a:extLst>
          </p:cNvPr>
          <p:cNvCxnSpPr>
            <a:cxnSpLocks/>
          </p:cNvCxnSpPr>
          <p:nvPr/>
        </p:nvCxnSpPr>
        <p:spPr>
          <a:xfrm>
            <a:off x="1311690" y="3807266"/>
            <a:ext cx="4619211" cy="18413"/>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6" name="Straight Connector 55">
            <a:extLst>
              <a:ext uri="{FF2B5EF4-FFF2-40B4-BE49-F238E27FC236}">
                <a16:creationId xmlns:a16="http://schemas.microsoft.com/office/drawing/2014/main" id="{3747D388-5C9D-8CB8-22C8-4081EA6BC8AE}"/>
              </a:ext>
            </a:extLst>
          </p:cNvPr>
          <p:cNvCxnSpPr>
            <a:cxnSpLocks/>
          </p:cNvCxnSpPr>
          <p:nvPr/>
        </p:nvCxnSpPr>
        <p:spPr>
          <a:xfrm>
            <a:off x="1311690" y="4420094"/>
            <a:ext cx="4619211" cy="18413"/>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7" name="Straight Connector 56">
            <a:extLst>
              <a:ext uri="{FF2B5EF4-FFF2-40B4-BE49-F238E27FC236}">
                <a16:creationId xmlns:a16="http://schemas.microsoft.com/office/drawing/2014/main" id="{3756723B-C315-85E8-1B45-2DA50AA203A1}"/>
              </a:ext>
            </a:extLst>
          </p:cNvPr>
          <p:cNvCxnSpPr>
            <a:cxnSpLocks/>
          </p:cNvCxnSpPr>
          <p:nvPr/>
        </p:nvCxnSpPr>
        <p:spPr>
          <a:xfrm>
            <a:off x="1311690" y="5032922"/>
            <a:ext cx="4619211" cy="18413"/>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8" name="Straight Connector 57">
            <a:extLst>
              <a:ext uri="{FF2B5EF4-FFF2-40B4-BE49-F238E27FC236}">
                <a16:creationId xmlns:a16="http://schemas.microsoft.com/office/drawing/2014/main" id="{BBCE494F-89AF-8E94-59B9-02836329B37E}"/>
              </a:ext>
            </a:extLst>
          </p:cNvPr>
          <p:cNvCxnSpPr>
            <a:cxnSpLocks/>
          </p:cNvCxnSpPr>
          <p:nvPr/>
        </p:nvCxnSpPr>
        <p:spPr>
          <a:xfrm>
            <a:off x="1311690" y="5645750"/>
            <a:ext cx="4619211" cy="18413"/>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2" name="Rectangle 1">
            <a:extLst>
              <a:ext uri="{FF2B5EF4-FFF2-40B4-BE49-F238E27FC236}">
                <a16:creationId xmlns:a16="http://schemas.microsoft.com/office/drawing/2014/main" id="{D7DBFC3E-020C-9EFD-28EB-4631D3580F32}"/>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14" name="Group 13">
            <a:extLst>
              <a:ext uri="{FF2B5EF4-FFF2-40B4-BE49-F238E27FC236}">
                <a16:creationId xmlns:a16="http://schemas.microsoft.com/office/drawing/2014/main" id="{492BA703-F18E-E0E9-9E22-990B6A6F639C}"/>
              </a:ext>
            </a:extLst>
          </p:cNvPr>
          <p:cNvGrpSpPr/>
          <p:nvPr/>
        </p:nvGrpSpPr>
        <p:grpSpPr>
          <a:xfrm>
            <a:off x="9842140" y="372216"/>
            <a:ext cx="1667215" cy="217488"/>
            <a:chOff x="9842140" y="372216"/>
            <a:chExt cx="1667215" cy="217488"/>
          </a:xfrm>
        </p:grpSpPr>
        <p:sp>
          <p:nvSpPr>
            <p:cNvPr id="15" name="TextBox 14">
              <a:extLst>
                <a:ext uri="{FF2B5EF4-FFF2-40B4-BE49-F238E27FC236}">
                  <a16:creationId xmlns:a16="http://schemas.microsoft.com/office/drawing/2014/main" id="{1ADD53FC-C3E5-510D-B989-D67EA029071B}"/>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Termiskie bojājumi</a:t>
              </a:r>
            </a:p>
          </p:txBody>
        </p:sp>
        <p:sp>
          <p:nvSpPr>
            <p:cNvPr id="16" name="Freeform 49">
              <a:extLst>
                <a:ext uri="{FF2B5EF4-FFF2-40B4-BE49-F238E27FC236}">
                  <a16:creationId xmlns:a16="http://schemas.microsoft.com/office/drawing/2014/main" id="{1AFD52EE-E601-C14A-822A-FABB12B8A6B9}"/>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13" name="Group 12">
            <a:extLst>
              <a:ext uri="{FF2B5EF4-FFF2-40B4-BE49-F238E27FC236}">
                <a16:creationId xmlns:a16="http://schemas.microsoft.com/office/drawing/2014/main" id="{3AF1940E-1BD7-00C5-86AA-AF152D8A4BFE}"/>
              </a:ext>
            </a:extLst>
          </p:cNvPr>
          <p:cNvGrpSpPr/>
          <p:nvPr/>
        </p:nvGrpSpPr>
        <p:grpSpPr>
          <a:xfrm>
            <a:off x="9122935" y="126781"/>
            <a:ext cx="2626153" cy="217488"/>
            <a:chOff x="9122935" y="126781"/>
            <a:chExt cx="2626153" cy="217488"/>
          </a:xfrm>
        </p:grpSpPr>
        <p:sp>
          <p:nvSpPr>
            <p:cNvPr id="17" name="Rectangle 16">
              <a:extLst>
                <a:ext uri="{FF2B5EF4-FFF2-40B4-BE49-F238E27FC236}">
                  <a16:creationId xmlns:a16="http://schemas.microsoft.com/office/drawing/2014/main" id="{18BCCD71-17D7-53CA-6E4B-B1B2BD886E26}"/>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18" name="Rectangle 17">
              <a:extLst>
                <a:ext uri="{FF2B5EF4-FFF2-40B4-BE49-F238E27FC236}">
                  <a16:creationId xmlns:a16="http://schemas.microsoft.com/office/drawing/2014/main" id="{3D062579-4045-835E-F7F1-D66AD090002E}"/>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B9803F70-1BB6-43EF-370C-42AB87319850}"/>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0" name="Rectangle 29">
              <a:extLst>
                <a:ext uri="{FF2B5EF4-FFF2-40B4-BE49-F238E27FC236}">
                  <a16:creationId xmlns:a16="http://schemas.microsoft.com/office/drawing/2014/main" id="{9A4EA780-F963-D72E-14B8-0F2877B7F488}"/>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6BEBA8D5-24BB-0A09-A5BA-5938C943A15E}"/>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32" name="Rectangle 31">
              <a:extLst>
                <a:ext uri="{FF2B5EF4-FFF2-40B4-BE49-F238E27FC236}">
                  <a16:creationId xmlns:a16="http://schemas.microsoft.com/office/drawing/2014/main" id="{D558D00A-70FE-1698-DDC5-DF43C6633F43}"/>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42736395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6CB3FF0-42B4-2144-B8DF-5D9275EFE50B}"/>
              </a:ext>
            </a:extLst>
          </p:cNvPr>
          <p:cNvGraphicFramePr>
            <a:graphicFrameLocks noChangeAspect="1"/>
          </p:cNvGraphicFramePr>
          <p:nvPr>
            <p:custDataLst>
              <p:tags r:id="rId1"/>
            </p:custDataLst>
            <p:extLst>
              <p:ext uri="{D42A27DB-BD31-4B8C-83A1-F6EECF244321}">
                <p14:modId xmlns:p14="http://schemas.microsoft.com/office/powerpoint/2010/main" val="4209475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86CB3FF0-42B4-2144-B8DF-5D9275EFE5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F17E280A-26FF-1631-ADC9-96AE3A637C2C}"/>
              </a:ext>
            </a:extLst>
          </p:cNvPr>
          <p:cNvSpPr/>
          <p:nvPr/>
        </p:nvSpPr>
        <p:spPr>
          <a:xfrm>
            <a:off x="442914" y="2630366"/>
            <a:ext cx="2208847" cy="1659851"/>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Uz ādas</a:t>
            </a:r>
            <a:endParaRPr lang="en-GB" sz="1400" b="1"/>
          </a:p>
        </p:txBody>
      </p:sp>
      <p:sp>
        <p:nvSpPr>
          <p:cNvPr id="13" name="Rectangle 12">
            <a:extLst>
              <a:ext uri="{FF2B5EF4-FFF2-40B4-BE49-F238E27FC236}">
                <a16:creationId xmlns:a16="http://schemas.microsoft.com/office/drawing/2014/main" id="{318FD8EE-145C-CF57-FA8A-2208CA63BD22}"/>
              </a:ext>
            </a:extLst>
          </p:cNvPr>
          <p:cNvSpPr/>
          <p:nvPr/>
        </p:nvSpPr>
        <p:spPr>
          <a:xfrm>
            <a:off x="442914" y="4513587"/>
            <a:ext cx="2208847" cy="1658613"/>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Acī</a:t>
            </a:r>
            <a:endParaRPr lang="en-GB" sz="1400" b="1"/>
          </a:p>
        </p:txBody>
      </p:sp>
      <p:sp>
        <p:nvSpPr>
          <p:cNvPr id="36" name="Rectangle 35">
            <a:extLst>
              <a:ext uri="{FF2B5EF4-FFF2-40B4-BE49-F238E27FC236}">
                <a16:creationId xmlns:a16="http://schemas.microsoft.com/office/drawing/2014/main" id="{A13A384A-4773-8E59-A5BC-38C350A535AD}"/>
              </a:ext>
            </a:extLst>
          </p:cNvPr>
          <p:cNvSpPr/>
          <p:nvPr/>
        </p:nvSpPr>
        <p:spPr>
          <a:xfrm>
            <a:off x="2651760" y="4513262"/>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35" name="Rectangle 34">
            <a:extLst>
              <a:ext uri="{FF2B5EF4-FFF2-40B4-BE49-F238E27FC236}">
                <a16:creationId xmlns:a16="http://schemas.microsoft.com/office/drawing/2014/main" id="{D0FFCE22-3355-23A5-C05B-A47142787789}"/>
              </a:ext>
            </a:extLst>
          </p:cNvPr>
          <p:cNvSpPr/>
          <p:nvPr/>
        </p:nvSpPr>
        <p:spPr>
          <a:xfrm>
            <a:off x="2651760" y="2631279"/>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40" name="Rectangle 39">
            <a:extLst>
              <a:ext uri="{FF2B5EF4-FFF2-40B4-BE49-F238E27FC236}">
                <a16:creationId xmlns:a16="http://schemas.microsoft.com/office/drawing/2014/main" id="{A0A100B2-7EFA-1260-2F90-7D239569594F}"/>
              </a:ext>
            </a:extLst>
          </p:cNvPr>
          <p:cNvSpPr/>
          <p:nvPr/>
        </p:nvSpPr>
        <p:spPr>
          <a:xfrm>
            <a:off x="7396160" y="2418715"/>
            <a:ext cx="4352925" cy="375348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27" name="Rectangle 26">
            <a:extLst>
              <a:ext uri="{FF2B5EF4-FFF2-40B4-BE49-F238E27FC236}">
                <a16:creationId xmlns:a16="http://schemas.microsoft.com/office/drawing/2014/main" id="{7534A09C-F780-703E-D29D-E15D964028ED}"/>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30" name="Content Placeholder 1">
            <a:extLst>
              <a:ext uri="{FF2B5EF4-FFF2-40B4-BE49-F238E27FC236}">
                <a16:creationId xmlns:a16="http://schemas.microsoft.com/office/drawing/2014/main" id="{49150277-B275-65B3-4400-351CC3893360}"/>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1" name="Content Placeholder 1">
            <a:extLst>
              <a:ext uri="{FF2B5EF4-FFF2-40B4-BE49-F238E27FC236}">
                <a16:creationId xmlns:a16="http://schemas.microsoft.com/office/drawing/2014/main" id="{4DB1E4EC-FA2B-5BDF-CD75-83FF77AC514E}"/>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3" name="Google Shape;794;p79">
            <a:extLst>
              <a:ext uri="{FF2B5EF4-FFF2-40B4-BE49-F238E27FC236}">
                <a16:creationId xmlns:a16="http://schemas.microsoft.com/office/drawing/2014/main" id="{17411BF9-B1C6-CBA6-B71F-2D85B6DD58F7}"/>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a:lstStyle/>
          <a:p>
            <a:r>
              <a:rPr lang="lv-LV"/>
              <a:t>Kā rīkoties ķīmisko vielu izraisītos negadījumos?</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26</a:t>
            </a:fld>
            <a:endParaRPr lang="en-GB"/>
          </a:p>
        </p:txBody>
      </p:sp>
      <p:sp>
        <p:nvSpPr>
          <p:cNvPr id="22" name="TextBox 21">
            <a:extLst>
              <a:ext uri="{FF2B5EF4-FFF2-40B4-BE49-F238E27FC236}">
                <a16:creationId xmlns:a16="http://schemas.microsoft.com/office/drawing/2014/main" id="{044C1CE5-09D8-63ED-7E23-4A59A70CC41B}"/>
              </a:ext>
            </a:extLst>
          </p:cNvPr>
          <p:cNvSpPr txBox="1"/>
          <p:nvPr/>
        </p:nvSpPr>
        <p:spPr>
          <a:xfrm>
            <a:off x="7396160" y="4513262"/>
            <a:ext cx="4352925" cy="1658938"/>
          </a:xfrm>
          <a:prstGeom prst="rect">
            <a:avLst/>
          </a:prstGeom>
          <a:noFill/>
        </p:spPr>
        <p:txBody>
          <a:bodyPr wrap="square" anchor="ctr">
            <a:noAutofit/>
          </a:bodyPr>
          <a:lstStyle/>
          <a:p>
            <a:pPr marL="285750" lvl="0" indent="-285750" hangingPunct="0">
              <a:spcAft>
                <a:spcPts val="200"/>
              </a:spcAft>
              <a:buSzPct val="100000"/>
              <a:buBlip>
                <a:blip r:embed="rId6"/>
              </a:buBlip>
            </a:pPr>
            <a:r>
              <a:rPr lang="lv-LV" sz="1400">
                <a:effectLst/>
                <a:ea typeface="Calibri" panose="020F0502020204030204" pitchFamily="34" charset="0"/>
                <a:cs typeface="Times New Roman" panose="02020603050405020304" pitchFamily="18" charset="0"/>
              </a:rPr>
              <a:t>Skalojiet tā, lai ūdens netecētu uz veselo aci.</a:t>
            </a:r>
            <a:endParaRPr lang="en-GB" sz="1400">
              <a:effectLst/>
              <a:ea typeface="Calibri" panose="020F0502020204030204" pitchFamily="34" charset="0"/>
              <a:cs typeface="Times New Roman" panose="02020603050405020304" pitchFamily="18" charset="0"/>
            </a:endParaRPr>
          </a:p>
          <a:p>
            <a:pPr marL="285750" lvl="0" indent="-285750" hangingPunct="0">
              <a:spcAft>
                <a:spcPts val="200"/>
              </a:spcAft>
              <a:buSzPct val="100000"/>
              <a:buBlip>
                <a:blip r:embed="rId6"/>
              </a:buBlip>
            </a:pPr>
            <a:r>
              <a:rPr lang="lv-LV" sz="1400">
                <a:effectLst/>
                <a:ea typeface="Calibri" panose="020F0502020204030204" pitchFamily="34" charset="0"/>
                <a:cs typeface="Times New Roman" panose="02020603050405020304" pitchFamily="18" charset="0"/>
              </a:rPr>
              <a:t>Skalojot traumēto aci, turiet to vaļā.</a:t>
            </a:r>
            <a:endParaRPr lang="en-GB" sz="1400">
              <a:effectLst/>
              <a:ea typeface="Calibri" panose="020F0502020204030204" pitchFamily="34" charset="0"/>
              <a:cs typeface="Times New Roman" panose="02020603050405020304" pitchFamily="18" charset="0"/>
            </a:endParaRPr>
          </a:p>
          <a:p>
            <a:pPr marL="285750" lvl="0" indent="-285750" hangingPunct="0">
              <a:spcAft>
                <a:spcPts val="200"/>
              </a:spcAft>
              <a:buSzPct val="100000"/>
              <a:buBlip>
                <a:blip r:embed="rId6"/>
              </a:buBlip>
            </a:pPr>
            <a:r>
              <a:rPr lang="lv-LV" sz="1400">
                <a:effectLst/>
                <a:ea typeface="Calibri" panose="020F0502020204030204" pitchFamily="34" charset="0"/>
                <a:cs typeface="Times New Roman" panose="02020603050405020304" pitchFamily="18" charset="0"/>
              </a:rPr>
              <a:t>Ja cietušais nēsā kontaktlēcas, skalojot aci, tās jāizņem.</a:t>
            </a:r>
            <a:endParaRPr lang="en-GB" sz="1400">
              <a:effectLst/>
              <a:ea typeface="Calibri" panose="020F0502020204030204" pitchFamily="34" charset="0"/>
              <a:cs typeface="Times New Roman" panose="02020603050405020304" pitchFamily="18" charset="0"/>
            </a:endParaRPr>
          </a:p>
          <a:p>
            <a:pPr marL="285750" lvl="0" indent="-285750" hangingPunct="0">
              <a:spcAft>
                <a:spcPts val="200"/>
              </a:spcAft>
              <a:buSzPct val="100000"/>
              <a:buBlip>
                <a:blip r:embed="rId6"/>
              </a:buBlip>
            </a:pPr>
            <a:r>
              <a:rPr lang="lv-LV" sz="1400">
                <a:effectLst/>
                <a:ea typeface="Calibri" panose="020F0502020204030204" pitchFamily="34" charset="0"/>
                <a:cs typeface="Times New Roman" panose="02020603050405020304" pitchFamily="18" charset="0"/>
              </a:rPr>
              <a:t>Pēc acs skalošanas ieteicams uzlikt pārsēju abām acīm.</a:t>
            </a:r>
            <a:endParaRPr lang="en-GB" sz="1400">
              <a:effectLst/>
              <a:ea typeface="Calibri" panose="020F0502020204030204" pitchFamily="34" charset="0"/>
              <a:cs typeface="Times New Roman" panose="02020603050405020304" pitchFamily="18" charset="0"/>
            </a:endParaRPr>
          </a:p>
        </p:txBody>
      </p:sp>
      <p:sp>
        <p:nvSpPr>
          <p:cNvPr id="39" name="Rectangle 38">
            <a:extLst>
              <a:ext uri="{FF2B5EF4-FFF2-40B4-BE49-F238E27FC236}">
                <a16:creationId xmlns:a16="http://schemas.microsoft.com/office/drawing/2014/main" id="{B1C2BD6E-F200-2036-F362-0FBDE1CE31EC}"/>
              </a:ext>
            </a:extLst>
          </p:cNvPr>
          <p:cNvSpPr/>
          <p:nvPr/>
        </p:nvSpPr>
        <p:spPr>
          <a:xfrm>
            <a:off x="2847530" y="2418715"/>
            <a:ext cx="4352861" cy="375348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26" name="Rectangle 25">
            <a:extLst>
              <a:ext uri="{FF2B5EF4-FFF2-40B4-BE49-F238E27FC236}">
                <a16:creationId xmlns:a16="http://schemas.microsoft.com/office/drawing/2014/main" id="{F4BD1622-7D50-0F82-F4EA-9B149E2C9337}"/>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28" name="Content Placeholder 1">
            <a:extLst>
              <a:ext uri="{FF2B5EF4-FFF2-40B4-BE49-F238E27FC236}">
                <a16:creationId xmlns:a16="http://schemas.microsoft.com/office/drawing/2014/main" id="{940F388E-486C-4144-FC48-8EC3F5EB8934}"/>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29" name="Content Placeholder 1">
            <a:extLst>
              <a:ext uri="{FF2B5EF4-FFF2-40B4-BE49-F238E27FC236}">
                <a16:creationId xmlns:a16="http://schemas.microsoft.com/office/drawing/2014/main" id="{956EC9FA-D79D-EBB6-415B-5CDF58A619D3}"/>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2" name="Google Shape;760;p79">
            <a:extLst>
              <a:ext uri="{FF2B5EF4-FFF2-40B4-BE49-F238E27FC236}">
                <a16:creationId xmlns:a16="http://schemas.microsoft.com/office/drawing/2014/main" id="{D158687D-E8E5-64E9-B572-2CDA9BEEEC9E}"/>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0" name="TextBox 19">
            <a:extLst>
              <a:ext uri="{FF2B5EF4-FFF2-40B4-BE49-F238E27FC236}">
                <a16:creationId xmlns:a16="http://schemas.microsoft.com/office/drawing/2014/main" id="{BCB0856A-D775-E9B2-A22B-A661D9F8D43C}"/>
              </a:ext>
            </a:extLst>
          </p:cNvPr>
          <p:cNvSpPr txBox="1"/>
          <p:nvPr/>
        </p:nvSpPr>
        <p:spPr>
          <a:xfrm>
            <a:off x="2847530" y="4513262"/>
            <a:ext cx="4352861" cy="1658938"/>
          </a:xfrm>
          <a:prstGeom prst="rect">
            <a:avLst/>
          </a:prstGeom>
          <a:noFill/>
        </p:spPr>
        <p:txBody>
          <a:bodyPr wrap="square" anchor="ctr">
            <a:noAutofit/>
          </a:bodyPr>
          <a:lstStyle/>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Skalojiet traumēto aci ar lielu daudzumu vēsa, tekoša ūdens 20 minūtes.</a:t>
            </a:r>
            <a:endParaRPr lang="en-GB" sz="1400">
              <a:effectLst/>
              <a:ea typeface="Times New Roman" panose="02020603050405020304" pitchFamily="18" charset="0"/>
            </a:endParaRPr>
          </a:p>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Izsauciet Neatliekamo palīdzību.</a:t>
            </a:r>
            <a:endParaRPr lang="en-GB" sz="1400">
              <a:effectLst/>
              <a:ea typeface="Times New Roman" panose="02020603050405020304" pitchFamily="18" charset="0"/>
            </a:endParaRPr>
          </a:p>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Aprūpējiet, nomieriniet cietušo.</a:t>
            </a:r>
            <a:endParaRPr lang="en-GB" sz="1400">
              <a:effectLst/>
              <a:ea typeface="Times New Roman" panose="02020603050405020304" pitchFamily="18" charset="0"/>
            </a:endParaRPr>
          </a:p>
        </p:txBody>
      </p:sp>
      <p:sp>
        <p:nvSpPr>
          <p:cNvPr id="16" name="TextBox 15">
            <a:extLst>
              <a:ext uri="{FF2B5EF4-FFF2-40B4-BE49-F238E27FC236}">
                <a16:creationId xmlns:a16="http://schemas.microsoft.com/office/drawing/2014/main" id="{30819613-CE74-49B6-0807-44FDBB81D466}"/>
              </a:ext>
            </a:extLst>
          </p:cNvPr>
          <p:cNvSpPr txBox="1"/>
          <p:nvPr/>
        </p:nvSpPr>
        <p:spPr>
          <a:xfrm>
            <a:off x="2847530" y="2631279"/>
            <a:ext cx="4352861" cy="1658938"/>
          </a:xfrm>
          <a:prstGeom prst="rect">
            <a:avLst/>
          </a:prstGeom>
          <a:noFill/>
        </p:spPr>
        <p:txBody>
          <a:bodyPr wrap="square" anchor="ctr">
            <a:noAutofit/>
          </a:bodyPr>
          <a:lstStyle/>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Novelciet ar ķīmisko vielu piesārņoto apģērbu.</a:t>
            </a:r>
            <a:endParaRPr lang="en-GB" sz="1400">
              <a:effectLst/>
              <a:ea typeface="Times New Roman" panose="02020603050405020304" pitchFamily="18" charset="0"/>
            </a:endParaRPr>
          </a:p>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Skalojiet cietušo vietu ar lielu daudzumu vēsa, tekoša ūdens 20 minūtes.</a:t>
            </a:r>
            <a:endParaRPr lang="en-GB" sz="1400">
              <a:effectLst/>
              <a:ea typeface="Times New Roman" panose="02020603050405020304" pitchFamily="18" charset="0"/>
            </a:endParaRPr>
          </a:p>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Izsauciet Neatliekamo palīdzību.</a:t>
            </a:r>
            <a:endParaRPr lang="en-GB" sz="1400">
              <a:effectLst/>
              <a:ea typeface="Times New Roman" panose="02020603050405020304" pitchFamily="18" charset="0"/>
            </a:endParaRPr>
          </a:p>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Aprūpējiet, nomieriniet cietušo.</a:t>
            </a:r>
            <a:endParaRPr lang="en-GB" sz="1400">
              <a:effectLst/>
              <a:ea typeface="Times New Roman" panose="02020603050405020304" pitchFamily="18" charset="0"/>
            </a:endParaRPr>
          </a:p>
        </p:txBody>
      </p:sp>
      <p:sp>
        <p:nvSpPr>
          <p:cNvPr id="18" name="TextBox 17">
            <a:extLst>
              <a:ext uri="{FF2B5EF4-FFF2-40B4-BE49-F238E27FC236}">
                <a16:creationId xmlns:a16="http://schemas.microsoft.com/office/drawing/2014/main" id="{E1D4AC8F-0322-E8A8-E509-5AF71473A8F4}"/>
              </a:ext>
            </a:extLst>
          </p:cNvPr>
          <p:cNvSpPr txBox="1"/>
          <p:nvPr/>
        </p:nvSpPr>
        <p:spPr>
          <a:xfrm>
            <a:off x="7396160" y="2631279"/>
            <a:ext cx="4352925" cy="1658938"/>
          </a:xfrm>
          <a:prstGeom prst="rect">
            <a:avLst/>
          </a:prstGeom>
          <a:noFill/>
        </p:spPr>
        <p:txBody>
          <a:bodyPr wrap="square" anchor="ctr">
            <a:noAutofit/>
          </a:bodyPr>
          <a:lstStyle/>
          <a:p>
            <a:pPr marL="285750" lvl="0" indent="-285750" hangingPunct="0">
              <a:spcAft>
                <a:spcPts val="200"/>
              </a:spcAft>
              <a:buSzPct val="100000"/>
              <a:buBlip>
                <a:blip r:embed="rId6"/>
              </a:buBlip>
            </a:pPr>
            <a:r>
              <a:rPr lang="lv-LV" sz="1400">
                <a:effectLst/>
                <a:ea typeface="Calibri" panose="020F0502020204030204" pitchFamily="34" charset="0"/>
                <a:cs typeface="Times New Roman" panose="02020603050405020304" pitchFamily="18" charset="0"/>
              </a:rPr>
              <a:t>Sausu vielu pirms skalošanas notrauciet.</a:t>
            </a:r>
            <a:endParaRPr lang="en-GB" sz="1400">
              <a:effectLst/>
              <a:ea typeface="Calibri" panose="020F0502020204030204" pitchFamily="34" charset="0"/>
              <a:cs typeface="Times New Roman" panose="02020603050405020304" pitchFamily="18" charset="0"/>
            </a:endParaRPr>
          </a:p>
          <a:p>
            <a:pPr marL="285750" lvl="0" indent="-285750" hangingPunct="0">
              <a:spcAft>
                <a:spcPts val="200"/>
              </a:spcAft>
              <a:buSzPct val="100000"/>
              <a:buBlip>
                <a:blip r:embed="rId6"/>
              </a:buBlip>
            </a:pPr>
            <a:r>
              <a:rPr lang="lv-LV" sz="1400">
                <a:effectLst/>
                <a:ea typeface="Calibri" panose="020F0502020204030204" pitchFamily="34" charset="0"/>
                <a:cs typeface="Times New Roman" panose="02020603050405020304" pitchFamily="18" charset="0"/>
              </a:rPr>
              <a:t>Skalojiet tā, lai ūdens netek uz neskarto ādu.</a:t>
            </a:r>
            <a:endParaRPr lang="en-GB" sz="1400">
              <a:effectLst/>
              <a:ea typeface="Calibri" panose="020F0502020204030204" pitchFamily="34" charset="0"/>
              <a:cs typeface="Times New Roman" panose="02020603050405020304" pitchFamily="18" charset="0"/>
            </a:endParaRPr>
          </a:p>
          <a:p>
            <a:pPr marL="285750" lvl="0" indent="-285750" hangingPunct="0">
              <a:spcAft>
                <a:spcPts val="200"/>
              </a:spcAft>
              <a:buSzPct val="100000"/>
              <a:buBlip>
                <a:blip r:embed="rId6"/>
              </a:buBlip>
            </a:pPr>
            <a:r>
              <a:rPr lang="lv-LV" sz="1400">
                <a:effectLst/>
                <a:ea typeface="Calibri" panose="020F0502020204030204" pitchFamily="34" charset="0"/>
                <a:cs typeface="Times New Roman" panose="02020603050405020304" pitchFamily="18" charset="0"/>
              </a:rPr>
              <a:t>Nevelciet nost cietušajam apģērbu pār galvu.</a:t>
            </a:r>
            <a:endParaRPr lang="en-GB" sz="1400">
              <a:effectLst/>
              <a:ea typeface="Calibri" panose="020F0502020204030204" pitchFamily="34" charset="0"/>
              <a:cs typeface="Times New Roman" panose="02020603050405020304" pitchFamily="18" charset="0"/>
            </a:endParaRPr>
          </a:p>
        </p:txBody>
      </p:sp>
      <p:sp>
        <p:nvSpPr>
          <p:cNvPr id="37" name="Content Placeholder 1">
            <a:extLst>
              <a:ext uri="{FF2B5EF4-FFF2-40B4-BE49-F238E27FC236}">
                <a16:creationId xmlns:a16="http://schemas.microsoft.com/office/drawing/2014/main" id="{FBB83616-D769-3BCE-5CC9-32E44E1D0490}"/>
              </a:ext>
            </a:extLst>
          </p:cNvPr>
          <p:cNvSpPr txBox="1">
            <a:spLocks/>
          </p:cNvSpPr>
          <p:nvPr/>
        </p:nvSpPr>
        <p:spPr>
          <a:xfrm>
            <a:off x="2579759" y="2631279"/>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8" name="Content Placeholder 1">
            <a:extLst>
              <a:ext uri="{FF2B5EF4-FFF2-40B4-BE49-F238E27FC236}">
                <a16:creationId xmlns:a16="http://schemas.microsoft.com/office/drawing/2014/main" id="{8F9FA745-238A-E98E-8CF0-3C76151FB7AE}"/>
              </a:ext>
            </a:extLst>
          </p:cNvPr>
          <p:cNvSpPr txBox="1">
            <a:spLocks/>
          </p:cNvSpPr>
          <p:nvPr/>
        </p:nvSpPr>
        <p:spPr>
          <a:xfrm>
            <a:off x="2579759" y="4513262"/>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3" name="Rectangle 42">
            <a:extLst>
              <a:ext uri="{FF2B5EF4-FFF2-40B4-BE49-F238E27FC236}">
                <a16:creationId xmlns:a16="http://schemas.microsoft.com/office/drawing/2014/main" id="{08672088-BEE3-1A7C-8215-2BB54DC2401B}"/>
              </a:ext>
            </a:extLst>
          </p:cNvPr>
          <p:cNvSpPr/>
          <p:nvPr/>
        </p:nvSpPr>
        <p:spPr>
          <a:xfrm>
            <a:off x="442913" y="963958"/>
            <a:ext cx="11306173" cy="628702"/>
          </a:xfrm>
          <a:prstGeom prst="rect">
            <a:avLst/>
          </a:prstGeom>
          <a:solidFill>
            <a:schemeClr val="bg1"/>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44" name="Rectangle 43">
            <a:extLst>
              <a:ext uri="{FF2B5EF4-FFF2-40B4-BE49-F238E27FC236}">
                <a16:creationId xmlns:a16="http://schemas.microsoft.com/office/drawing/2014/main" id="{6FF10B2E-1E3F-70CE-7D27-FC202A31080A}"/>
              </a:ext>
            </a:extLst>
          </p:cNvPr>
          <p:cNvSpPr/>
          <p:nvPr/>
        </p:nvSpPr>
        <p:spPr>
          <a:xfrm>
            <a:off x="1454989" y="1062309"/>
            <a:ext cx="10294097"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r>
              <a:rPr lang="lv-LV" sz="1600" b="1">
                <a:solidFill>
                  <a:schemeClr val="tx1"/>
                </a:solidFill>
              </a:rPr>
              <a:t>Lai samazinātu risku saskarties ar ķīmiskām vielām, vēlams lietot ūdens necaurlaidīgus cimdus vai cita ūdens necaurlaidīga materiāla izstrādājumus (piem., plastikāta maisiņus).</a:t>
            </a:r>
          </a:p>
        </p:txBody>
      </p:sp>
      <p:cxnSp>
        <p:nvCxnSpPr>
          <p:cNvPr id="46" name="Straight Connector 45">
            <a:extLst>
              <a:ext uri="{FF2B5EF4-FFF2-40B4-BE49-F238E27FC236}">
                <a16:creationId xmlns:a16="http://schemas.microsoft.com/office/drawing/2014/main" id="{1FC65FCF-FD80-DAC7-1847-F385C385E92B}"/>
              </a:ext>
            </a:extLst>
          </p:cNvPr>
          <p:cNvCxnSpPr>
            <a:cxnSpLocks/>
          </p:cNvCxnSpPr>
          <p:nvPr/>
        </p:nvCxnSpPr>
        <p:spPr>
          <a:xfrm>
            <a:off x="1233531" y="1053973"/>
            <a:ext cx="0" cy="448673"/>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47" name="Google Shape;778;p79">
            <a:extLst>
              <a:ext uri="{FF2B5EF4-FFF2-40B4-BE49-F238E27FC236}">
                <a16:creationId xmlns:a16="http://schemas.microsoft.com/office/drawing/2014/main" id="{C8FD1C37-F5B4-5E7C-A965-521B4DCC5EDC}"/>
              </a:ext>
            </a:extLst>
          </p:cNvPr>
          <p:cNvSpPr/>
          <p:nvPr/>
        </p:nvSpPr>
        <p:spPr>
          <a:xfrm>
            <a:off x="598371" y="1062309"/>
            <a:ext cx="468000" cy="432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8" name="Google Shape;809;p80">
            <a:extLst>
              <a:ext uri="{FF2B5EF4-FFF2-40B4-BE49-F238E27FC236}">
                <a16:creationId xmlns:a16="http://schemas.microsoft.com/office/drawing/2014/main" id="{033F6E87-CC9A-057D-8CE2-3979C0987503}"/>
              </a:ext>
            </a:extLst>
          </p:cNvPr>
          <p:cNvSpPr/>
          <p:nvPr/>
        </p:nvSpPr>
        <p:spPr>
          <a:xfrm>
            <a:off x="2021641" y="5643133"/>
            <a:ext cx="360000" cy="360000"/>
          </a:xfrm>
          <a:custGeom>
            <a:avLst/>
            <a:gdLst/>
            <a:ahLst/>
            <a:cxnLst/>
            <a:rect l="l" t="t" r="r" b="b"/>
            <a:pathLst>
              <a:path w="347" h="346" extrusionOk="0">
                <a:moveTo>
                  <a:pt x="0" y="0"/>
                </a:moveTo>
                <a:cubicBezTo>
                  <a:pt x="0" y="346"/>
                  <a:pt x="0" y="346"/>
                  <a:pt x="0" y="346"/>
                </a:cubicBezTo>
                <a:cubicBezTo>
                  <a:pt x="347" y="346"/>
                  <a:pt x="347" y="346"/>
                  <a:pt x="347" y="346"/>
                </a:cubicBezTo>
                <a:cubicBezTo>
                  <a:pt x="347" y="0"/>
                  <a:pt x="347" y="0"/>
                  <a:pt x="347" y="0"/>
                </a:cubicBezTo>
                <a:lnTo>
                  <a:pt x="0" y="0"/>
                </a:lnTo>
                <a:close/>
                <a:moveTo>
                  <a:pt x="332" y="14"/>
                </a:moveTo>
                <a:cubicBezTo>
                  <a:pt x="332" y="163"/>
                  <a:pt x="332" y="163"/>
                  <a:pt x="332" y="163"/>
                </a:cubicBezTo>
                <a:cubicBezTo>
                  <a:pt x="325" y="154"/>
                  <a:pt x="310" y="137"/>
                  <a:pt x="289" y="120"/>
                </a:cubicBezTo>
                <a:cubicBezTo>
                  <a:pt x="251" y="88"/>
                  <a:pt x="211" y="71"/>
                  <a:pt x="174" y="71"/>
                </a:cubicBezTo>
                <a:cubicBezTo>
                  <a:pt x="136" y="71"/>
                  <a:pt x="96" y="88"/>
                  <a:pt x="58" y="120"/>
                </a:cubicBezTo>
                <a:cubicBezTo>
                  <a:pt x="37" y="137"/>
                  <a:pt x="22" y="154"/>
                  <a:pt x="15" y="163"/>
                </a:cubicBezTo>
                <a:cubicBezTo>
                  <a:pt x="15" y="14"/>
                  <a:pt x="15" y="14"/>
                  <a:pt x="15" y="14"/>
                </a:cubicBezTo>
                <a:lnTo>
                  <a:pt x="332" y="14"/>
                </a:lnTo>
                <a:close/>
                <a:moveTo>
                  <a:pt x="321" y="173"/>
                </a:moveTo>
                <a:cubicBezTo>
                  <a:pt x="306" y="191"/>
                  <a:pt x="245" y="260"/>
                  <a:pt x="174" y="260"/>
                </a:cubicBezTo>
                <a:cubicBezTo>
                  <a:pt x="102" y="260"/>
                  <a:pt x="41" y="191"/>
                  <a:pt x="26" y="173"/>
                </a:cubicBezTo>
                <a:cubicBezTo>
                  <a:pt x="41" y="155"/>
                  <a:pt x="102" y="86"/>
                  <a:pt x="174" y="86"/>
                </a:cubicBezTo>
                <a:cubicBezTo>
                  <a:pt x="245" y="86"/>
                  <a:pt x="306" y="155"/>
                  <a:pt x="321" y="173"/>
                </a:cubicBezTo>
                <a:close/>
                <a:moveTo>
                  <a:pt x="15" y="331"/>
                </a:moveTo>
                <a:cubicBezTo>
                  <a:pt x="15" y="183"/>
                  <a:pt x="15" y="183"/>
                  <a:pt x="15" y="183"/>
                </a:cubicBezTo>
                <a:cubicBezTo>
                  <a:pt x="22" y="191"/>
                  <a:pt x="37" y="208"/>
                  <a:pt x="58" y="226"/>
                </a:cubicBezTo>
                <a:cubicBezTo>
                  <a:pt x="96" y="258"/>
                  <a:pt x="136" y="275"/>
                  <a:pt x="174" y="275"/>
                </a:cubicBezTo>
                <a:cubicBezTo>
                  <a:pt x="211" y="275"/>
                  <a:pt x="251" y="258"/>
                  <a:pt x="289" y="226"/>
                </a:cubicBezTo>
                <a:cubicBezTo>
                  <a:pt x="310" y="208"/>
                  <a:pt x="325" y="191"/>
                  <a:pt x="332" y="183"/>
                </a:cubicBezTo>
                <a:cubicBezTo>
                  <a:pt x="332" y="331"/>
                  <a:pt x="332" y="331"/>
                  <a:pt x="332" y="331"/>
                </a:cubicBezTo>
                <a:lnTo>
                  <a:pt x="15" y="331"/>
                </a:lnTo>
                <a:close/>
                <a:moveTo>
                  <a:pt x="174" y="96"/>
                </a:moveTo>
                <a:cubicBezTo>
                  <a:pt x="131" y="96"/>
                  <a:pt x="96" y="130"/>
                  <a:pt x="96" y="173"/>
                </a:cubicBezTo>
                <a:cubicBezTo>
                  <a:pt x="96" y="215"/>
                  <a:pt x="131" y="250"/>
                  <a:pt x="174" y="250"/>
                </a:cubicBezTo>
                <a:cubicBezTo>
                  <a:pt x="216" y="250"/>
                  <a:pt x="251" y="215"/>
                  <a:pt x="251" y="173"/>
                </a:cubicBezTo>
                <a:cubicBezTo>
                  <a:pt x="251" y="130"/>
                  <a:pt x="216" y="96"/>
                  <a:pt x="174" y="96"/>
                </a:cubicBezTo>
                <a:close/>
                <a:moveTo>
                  <a:pt x="235" y="165"/>
                </a:moveTo>
                <a:cubicBezTo>
                  <a:pt x="181" y="165"/>
                  <a:pt x="181" y="165"/>
                  <a:pt x="181" y="165"/>
                </a:cubicBezTo>
                <a:cubicBezTo>
                  <a:pt x="181" y="111"/>
                  <a:pt x="181" y="111"/>
                  <a:pt x="181" y="111"/>
                </a:cubicBezTo>
                <a:cubicBezTo>
                  <a:pt x="209" y="114"/>
                  <a:pt x="232" y="137"/>
                  <a:pt x="235" y="165"/>
                </a:cubicBezTo>
                <a:close/>
                <a:moveTo>
                  <a:pt x="166" y="111"/>
                </a:moveTo>
                <a:cubicBezTo>
                  <a:pt x="166" y="165"/>
                  <a:pt x="166" y="165"/>
                  <a:pt x="166" y="165"/>
                </a:cubicBezTo>
                <a:cubicBezTo>
                  <a:pt x="112" y="165"/>
                  <a:pt x="112" y="165"/>
                  <a:pt x="112" y="165"/>
                </a:cubicBezTo>
                <a:cubicBezTo>
                  <a:pt x="115" y="137"/>
                  <a:pt x="138" y="114"/>
                  <a:pt x="166" y="111"/>
                </a:cubicBezTo>
                <a:close/>
                <a:moveTo>
                  <a:pt x="112" y="180"/>
                </a:moveTo>
                <a:cubicBezTo>
                  <a:pt x="166" y="180"/>
                  <a:pt x="166" y="180"/>
                  <a:pt x="166" y="180"/>
                </a:cubicBezTo>
                <a:cubicBezTo>
                  <a:pt x="166" y="235"/>
                  <a:pt x="166" y="235"/>
                  <a:pt x="166" y="235"/>
                </a:cubicBezTo>
                <a:cubicBezTo>
                  <a:pt x="138" y="231"/>
                  <a:pt x="115" y="209"/>
                  <a:pt x="112" y="180"/>
                </a:cubicBezTo>
                <a:close/>
                <a:moveTo>
                  <a:pt x="181" y="235"/>
                </a:moveTo>
                <a:cubicBezTo>
                  <a:pt x="181" y="180"/>
                  <a:pt x="181" y="180"/>
                  <a:pt x="181" y="180"/>
                </a:cubicBezTo>
                <a:cubicBezTo>
                  <a:pt x="235" y="180"/>
                  <a:pt x="235" y="180"/>
                  <a:pt x="235" y="180"/>
                </a:cubicBezTo>
                <a:cubicBezTo>
                  <a:pt x="232" y="209"/>
                  <a:pt x="209" y="231"/>
                  <a:pt x="181" y="235"/>
                </a:cubicBez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9" name="Google Shape;1386;p89">
            <a:extLst>
              <a:ext uri="{FF2B5EF4-FFF2-40B4-BE49-F238E27FC236}">
                <a16:creationId xmlns:a16="http://schemas.microsoft.com/office/drawing/2014/main" id="{48F28BF5-CEB5-F9B7-B7D3-08B863298812}"/>
              </a:ext>
            </a:extLst>
          </p:cNvPr>
          <p:cNvSpPr/>
          <p:nvPr/>
        </p:nvSpPr>
        <p:spPr>
          <a:xfrm>
            <a:off x="2021641" y="3725090"/>
            <a:ext cx="360000" cy="360000"/>
          </a:xfrm>
          <a:custGeom>
            <a:avLst/>
            <a:gdLst/>
            <a:ahLst/>
            <a:cxnLst/>
            <a:rect l="l" t="t" r="r" b="b"/>
            <a:pathLst>
              <a:path w="456085" h="456341" extrusionOk="0">
                <a:moveTo>
                  <a:pt x="0" y="0"/>
                </a:moveTo>
                <a:lnTo>
                  <a:pt x="0" y="290149"/>
                </a:lnTo>
                <a:lnTo>
                  <a:pt x="9882" y="290149"/>
                </a:lnTo>
                <a:lnTo>
                  <a:pt x="149685" y="300756"/>
                </a:lnTo>
                <a:lnTo>
                  <a:pt x="152440" y="294740"/>
                </a:lnTo>
                <a:cubicBezTo>
                  <a:pt x="161530" y="274951"/>
                  <a:pt x="190036" y="252978"/>
                  <a:pt x="211034" y="249622"/>
                </a:cubicBezTo>
                <a:cubicBezTo>
                  <a:pt x="219048" y="248324"/>
                  <a:pt x="225129" y="249622"/>
                  <a:pt x="229183" y="253991"/>
                </a:cubicBezTo>
                <a:cubicBezTo>
                  <a:pt x="228011" y="257597"/>
                  <a:pt x="225984" y="260862"/>
                  <a:pt x="223260" y="263490"/>
                </a:cubicBezTo>
                <a:lnTo>
                  <a:pt x="216926" y="263331"/>
                </a:lnTo>
                <a:cubicBezTo>
                  <a:pt x="211668" y="263208"/>
                  <a:pt x="207329" y="267362"/>
                  <a:pt x="207202" y="272608"/>
                </a:cubicBezTo>
                <a:cubicBezTo>
                  <a:pt x="207075" y="277854"/>
                  <a:pt x="211225" y="282205"/>
                  <a:pt x="216483" y="282328"/>
                </a:cubicBezTo>
                <a:lnTo>
                  <a:pt x="283597" y="283911"/>
                </a:lnTo>
                <a:cubicBezTo>
                  <a:pt x="286036" y="286511"/>
                  <a:pt x="286986" y="290184"/>
                  <a:pt x="286067" y="293632"/>
                </a:cubicBezTo>
                <a:cubicBezTo>
                  <a:pt x="285465" y="296133"/>
                  <a:pt x="284072" y="298634"/>
                  <a:pt x="278054" y="298159"/>
                </a:cubicBezTo>
                <a:cubicBezTo>
                  <a:pt x="277357" y="298064"/>
                  <a:pt x="276661" y="298064"/>
                  <a:pt x="275963" y="298159"/>
                </a:cubicBezTo>
                <a:lnTo>
                  <a:pt x="273746" y="297969"/>
                </a:lnTo>
                <a:cubicBezTo>
                  <a:pt x="266842" y="297114"/>
                  <a:pt x="259906" y="296757"/>
                  <a:pt x="252970" y="296893"/>
                </a:cubicBezTo>
                <a:cubicBezTo>
                  <a:pt x="247711" y="297156"/>
                  <a:pt x="243689" y="301620"/>
                  <a:pt x="243943" y="306866"/>
                </a:cubicBezTo>
                <a:cubicBezTo>
                  <a:pt x="244196" y="312113"/>
                  <a:pt x="248662" y="316153"/>
                  <a:pt x="253919" y="315890"/>
                </a:cubicBezTo>
                <a:cubicBezTo>
                  <a:pt x="259937" y="315833"/>
                  <a:pt x="265955" y="316172"/>
                  <a:pt x="271941" y="316903"/>
                </a:cubicBezTo>
                <a:cubicBezTo>
                  <a:pt x="276977" y="317514"/>
                  <a:pt x="282013" y="317799"/>
                  <a:pt x="287080" y="317758"/>
                </a:cubicBezTo>
                <a:cubicBezTo>
                  <a:pt x="289171" y="317758"/>
                  <a:pt x="289583" y="318170"/>
                  <a:pt x="290248" y="319531"/>
                </a:cubicBezTo>
                <a:cubicBezTo>
                  <a:pt x="291547" y="323922"/>
                  <a:pt x="291008" y="328650"/>
                  <a:pt x="288759" y="332639"/>
                </a:cubicBezTo>
                <a:lnTo>
                  <a:pt x="287683" y="332639"/>
                </a:lnTo>
                <a:cubicBezTo>
                  <a:pt x="280904" y="332639"/>
                  <a:pt x="260190" y="332037"/>
                  <a:pt x="252526" y="331404"/>
                </a:cubicBezTo>
                <a:cubicBezTo>
                  <a:pt x="247775" y="331027"/>
                  <a:pt x="243499" y="334222"/>
                  <a:pt x="242486" y="338876"/>
                </a:cubicBezTo>
                <a:cubicBezTo>
                  <a:pt x="242169" y="339899"/>
                  <a:pt x="242042" y="340972"/>
                  <a:pt x="242105" y="342042"/>
                </a:cubicBezTo>
                <a:cubicBezTo>
                  <a:pt x="242359" y="347282"/>
                  <a:pt x="246825" y="351322"/>
                  <a:pt x="252051" y="351066"/>
                </a:cubicBezTo>
                <a:cubicBezTo>
                  <a:pt x="252051" y="351066"/>
                  <a:pt x="252083" y="351066"/>
                  <a:pt x="252083" y="351066"/>
                </a:cubicBezTo>
                <a:cubicBezTo>
                  <a:pt x="258100" y="351009"/>
                  <a:pt x="264118" y="351348"/>
                  <a:pt x="270104" y="352079"/>
                </a:cubicBezTo>
                <a:cubicBezTo>
                  <a:pt x="275140" y="352690"/>
                  <a:pt x="280176" y="352975"/>
                  <a:pt x="285244" y="352934"/>
                </a:cubicBezTo>
                <a:cubicBezTo>
                  <a:pt x="287334" y="352934"/>
                  <a:pt x="287746" y="353314"/>
                  <a:pt x="288411" y="354707"/>
                </a:cubicBezTo>
                <a:cubicBezTo>
                  <a:pt x="289678" y="359089"/>
                  <a:pt x="289140" y="363800"/>
                  <a:pt x="286923" y="367784"/>
                </a:cubicBezTo>
                <a:lnTo>
                  <a:pt x="286067" y="367784"/>
                </a:lnTo>
                <a:cubicBezTo>
                  <a:pt x="267729" y="367404"/>
                  <a:pt x="255820" y="366992"/>
                  <a:pt x="250657" y="366580"/>
                </a:cubicBezTo>
                <a:cubicBezTo>
                  <a:pt x="245399" y="366143"/>
                  <a:pt x="240807" y="370041"/>
                  <a:pt x="240363" y="375287"/>
                </a:cubicBezTo>
                <a:cubicBezTo>
                  <a:pt x="239920" y="380534"/>
                  <a:pt x="243816" y="385141"/>
                  <a:pt x="249073" y="385577"/>
                </a:cubicBezTo>
                <a:cubicBezTo>
                  <a:pt x="253508" y="385926"/>
                  <a:pt x="261742" y="386242"/>
                  <a:pt x="269217" y="386464"/>
                </a:cubicBezTo>
                <a:lnTo>
                  <a:pt x="269217" y="388490"/>
                </a:lnTo>
                <a:cubicBezTo>
                  <a:pt x="268806" y="393271"/>
                  <a:pt x="260824" y="401440"/>
                  <a:pt x="257435" y="401440"/>
                </a:cubicBezTo>
                <a:lnTo>
                  <a:pt x="256548" y="401440"/>
                </a:lnTo>
                <a:cubicBezTo>
                  <a:pt x="245938" y="401440"/>
                  <a:pt x="215627" y="400870"/>
                  <a:pt x="204985" y="397957"/>
                </a:cubicBezTo>
                <a:cubicBezTo>
                  <a:pt x="156779" y="384881"/>
                  <a:pt x="111076" y="385799"/>
                  <a:pt x="66924" y="386686"/>
                </a:cubicBezTo>
                <a:cubicBezTo>
                  <a:pt x="50518" y="387002"/>
                  <a:pt x="35030" y="387319"/>
                  <a:pt x="19415" y="386971"/>
                </a:cubicBezTo>
                <a:lnTo>
                  <a:pt x="0" y="386971"/>
                </a:lnTo>
                <a:lnTo>
                  <a:pt x="0" y="456341"/>
                </a:lnTo>
                <a:lnTo>
                  <a:pt x="456086" y="456341"/>
                </a:lnTo>
                <a:lnTo>
                  <a:pt x="456086" y="412"/>
                </a:lnTo>
                <a:close/>
                <a:moveTo>
                  <a:pt x="436576" y="186298"/>
                </a:moveTo>
                <a:lnTo>
                  <a:pt x="90013" y="186298"/>
                </a:lnTo>
                <a:lnTo>
                  <a:pt x="90013" y="19440"/>
                </a:lnTo>
                <a:lnTo>
                  <a:pt x="436576" y="19440"/>
                </a:lnTo>
                <a:close/>
                <a:moveTo>
                  <a:pt x="243373" y="240978"/>
                </a:moveTo>
                <a:cubicBezTo>
                  <a:pt x="234852" y="231891"/>
                  <a:pt x="222659" y="228313"/>
                  <a:pt x="208089" y="230688"/>
                </a:cubicBezTo>
                <a:cubicBezTo>
                  <a:pt x="183036" y="234741"/>
                  <a:pt x="152155" y="257315"/>
                  <a:pt x="138409" y="280714"/>
                </a:cubicBezTo>
                <a:lnTo>
                  <a:pt x="19384" y="271785"/>
                </a:lnTo>
                <a:lnTo>
                  <a:pt x="19384" y="19440"/>
                </a:lnTo>
                <a:lnTo>
                  <a:pt x="71010" y="19440"/>
                </a:lnTo>
                <a:lnTo>
                  <a:pt x="71010" y="205295"/>
                </a:lnTo>
                <a:lnTo>
                  <a:pt x="253856" y="205295"/>
                </a:lnTo>
                <a:lnTo>
                  <a:pt x="253159" y="263965"/>
                </a:lnTo>
                <a:lnTo>
                  <a:pt x="245748" y="263806"/>
                </a:lnTo>
                <a:cubicBezTo>
                  <a:pt x="247173" y="260827"/>
                  <a:pt x="247997" y="257601"/>
                  <a:pt x="248187" y="254308"/>
                </a:cubicBezTo>
                <a:cubicBezTo>
                  <a:pt x="248376" y="249422"/>
                  <a:pt x="246603" y="244667"/>
                  <a:pt x="243246" y="241105"/>
                </a:cubicBezTo>
                <a:close/>
                <a:moveTo>
                  <a:pt x="19384" y="436426"/>
                </a:moveTo>
                <a:lnTo>
                  <a:pt x="19384" y="405556"/>
                </a:lnTo>
                <a:cubicBezTo>
                  <a:pt x="35220" y="405904"/>
                  <a:pt x="51595" y="405556"/>
                  <a:pt x="67336" y="405271"/>
                </a:cubicBezTo>
                <a:cubicBezTo>
                  <a:pt x="110157" y="404416"/>
                  <a:pt x="154467" y="403530"/>
                  <a:pt x="200044" y="415909"/>
                </a:cubicBezTo>
                <a:cubicBezTo>
                  <a:pt x="214645" y="419867"/>
                  <a:pt x="250499" y="420025"/>
                  <a:pt x="256231" y="420025"/>
                </a:cubicBezTo>
                <a:lnTo>
                  <a:pt x="257118" y="420025"/>
                </a:lnTo>
                <a:cubicBezTo>
                  <a:pt x="263960" y="419649"/>
                  <a:pt x="270452" y="416790"/>
                  <a:pt x="275330" y="411983"/>
                </a:cubicBezTo>
                <a:cubicBezTo>
                  <a:pt x="281095" y="406823"/>
                  <a:pt x="287429" y="398084"/>
                  <a:pt x="287999" y="388965"/>
                </a:cubicBezTo>
                <a:lnTo>
                  <a:pt x="287999" y="386496"/>
                </a:lnTo>
                <a:lnTo>
                  <a:pt x="287999" y="386496"/>
                </a:lnTo>
                <a:cubicBezTo>
                  <a:pt x="294365" y="386255"/>
                  <a:pt x="300098" y="382630"/>
                  <a:pt x="303043" y="376997"/>
                </a:cubicBezTo>
                <a:cubicBezTo>
                  <a:pt x="308143" y="368638"/>
                  <a:pt x="310265" y="354169"/>
                  <a:pt x="304089" y="343847"/>
                </a:cubicBezTo>
                <a:lnTo>
                  <a:pt x="303930" y="343626"/>
                </a:lnTo>
                <a:cubicBezTo>
                  <a:pt x="304311" y="343122"/>
                  <a:pt x="304690" y="342593"/>
                  <a:pt x="305008" y="342042"/>
                </a:cubicBezTo>
                <a:cubicBezTo>
                  <a:pt x="310106" y="333652"/>
                  <a:pt x="312229" y="319183"/>
                  <a:pt x="306084" y="308892"/>
                </a:cubicBezTo>
                <a:cubicBezTo>
                  <a:pt x="305008" y="307113"/>
                  <a:pt x="303677" y="305495"/>
                  <a:pt x="302157" y="304080"/>
                </a:cubicBezTo>
                <a:cubicBezTo>
                  <a:pt x="306528" y="295287"/>
                  <a:pt x="306338" y="284909"/>
                  <a:pt x="301650" y="276281"/>
                </a:cubicBezTo>
                <a:cubicBezTo>
                  <a:pt x="298356" y="269439"/>
                  <a:pt x="291547" y="264997"/>
                  <a:pt x="283945" y="264756"/>
                </a:cubicBezTo>
                <a:lnTo>
                  <a:pt x="283945" y="264756"/>
                </a:lnTo>
                <a:lnTo>
                  <a:pt x="272258" y="264503"/>
                </a:lnTo>
                <a:lnTo>
                  <a:pt x="272986" y="205359"/>
                </a:lnTo>
                <a:lnTo>
                  <a:pt x="436702" y="205359"/>
                </a:lnTo>
                <a:lnTo>
                  <a:pt x="436702" y="436490"/>
                </a:lnTo>
                <a:close/>
              </a:path>
            </a:pathLst>
          </a:cu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 name="Rectangle 1">
            <a:extLst>
              <a:ext uri="{FF2B5EF4-FFF2-40B4-BE49-F238E27FC236}">
                <a16:creationId xmlns:a16="http://schemas.microsoft.com/office/drawing/2014/main" id="{1A11DA6D-DA25-ED8D-5C57-8D2D2452FA26}"/>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17" name="Group 16">
            <a:extLst>
              <a:ext uri="{FF2B5EF4-FFF2-40B4-BE49-F238E27FC236}">
                <a16:creationId xmlns:a16="http://schemas.microsoft.com/office/drawing/2014/main" id="{181D2E81-913A-426F-D928-E7AE90B36605}"/>
              </a:ext>
            </a:extLst>
          </p:cNvPr>
          <p:cNvGrpSpPr/>
          <p:nvPr/>
        </p:nvGrpSpPr>
        <p:grpSpPr>
          <a:xfrm>
            <a:off x="9842140" y="372216"/>
            <a:ext cx="1667215" cy="217488"/>
            <a:chOff x="9842140" y="372216"/>
            <a:chExt cx="1667215" cy="217488"/>
          </a:xfrm>
        </p:grpSpPr>
        <p:sp>
          <p:nvSpPr>
            <p:cNvPr id="19" name="TextBox 18">
              <a:extLst>
                <a:ext uri="{FF2B5EF4-FFF2-40B4-BE49-F238E27FC236}">
                  <a16:creationId xmlns:a16="http://schemas.microsoft.com/office/drawing/2014/main" id="{DA75954D-4EF1-C25C-FD4D-7F2391CE4BC1}"/>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Ķīmiskas vielas</a:t>
              </a:r>
            </a:p>
          </p:txBody>
        </p:sp>
        <p:sp>
          <p:nvSpPr>
            <p:cNvPr id="21" name="Freeform 49">
              <a:extLst>
                <a:ext uri="{FF2B5EF4-FFF2-40B4-BE49-F238E27FC236}">
                  <a16:creationId xmlns:a16="http://schemas.microsoft.com/office/drawing/2014/main" id="{07F3CB26-4CE3-7AB6-C1A7-5645E59C0132}"/>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15" name="Group 14">
            <a:extLst>
              <a:ext uri="{FF2B5EF4-FFF2-40B4-BE49-F238E27FC236}">
                <a16:creationId xmlns:a16="http://schemas.microsoft.com/office/drawing/2014/main" id="{8F7D8F48-1EA6-5FCA-0986-6333EDB3231E}"/>
              </a:ext>
            </a:extLst>
          </p:cNvPr>
          <p:cNvGrpSpPr/>
          <p:nvPr/>
        </p:nvGrpSpPr>
        <p:grpSpPr>
          <a:xfrm>
            <a:off x="9122935" y="126781"/>
            <a:ext cx="2626153" cy="217488"/>
            <a:chOff x="9122935" y="126781"/>
            <a:chExt cx="2626153" cy="217488"/>
          </a:xfrm>
        </p:grpSpPr>
        <p:sp>
          <p:nvSpPr>
            <p:cNvPr id="23" name="Rectangle 22">
              <a:extLst>
                <a:ext uri="{FF2B5EF4-FFF2-40B4-BE49-F238E27FC236}">
                  <a16:creationId xmlns:a16="http://schemas.microsoft.com/office/drawing/2014/main" id="{D17F2348-553D-3B36-AB93-74F779BDA6EE}"/>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24" name="Rectangle 23">
              <a:extLst>
                <a:ext uri="{FF2B5EF4-FFF2-40B4-BE49-F238E27FC236}">
                  <a16:creationId xmlns:a16="http://schemas.microsoft.com/office/drawing/2014/main" id="{AF0C7620-5B15-822C-90C4-A35CB9E0917E}"/>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5" name="Rectangle 24">
              <a:extLst>
                <a:ext uri="{FF2B5EF4-FFF2-40B4-BE49-F238E27FC236}">
                  <a16:creationId xmlns:a16="http://schemas.microsoft.com/office/drawing/2014/main" id="{E48E0221-D8C1-D56A-5064-92C38BE6AA1C}"/>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324BC699-8BBF-8DF2-E263-DBCFC7798B07}"/>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41" name="Rectangle 40">
              <a:extLst>
                <a:ext uri="{FF2B5EF4-FFF2-40B4-BE49-F238E27FC236}">
                  <a16:creationId xmlns:a16="http://schemas.microsoft.com/office/drawing/2014/main" id="{6F218B91-9383-BD7E-BC80-5B4C22BAE23B}"/>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42" name="Rectangle 41">
              <a:extLst>
                <a:ext uri="{FF2B5EF4-FFF2-40B4-BE49-F238E27FC236}">
                  <a16:creationId xmlns:a16="http://schemas.microsoft.com/office/drawing/2014/main" id="{6356538A-15B5-1084-6957-DA785F8D4355}"/>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20082097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1B11D56-80D9-3D1E-3606-F06395515494}"/>
              </a:ext>
            </a:extLst>
          </p:cNvPr>
          <p:cNvGraphicFramePr>
            <a:graphicFrameLocks noChangeAspect="1"/>
          </p:cNvGraphicFramePr>
          <p:nvPr>
            <p:custDataLst>
              <p:tags r:id="rId1"/>
            </p:custDataLst>
            <p:extLst>
              <p:ext uri="{D42A27DB-BD31-4B8C-83A1-F6EECF244321}">
                <p14:modId xmlns:p14="http://schemas.microsoft.com/office/powerpoint/2010/main" val="648164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B1B11D56-80D9-3D1E-3606-F063955154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a:lstStyle/>
          <a:p>
            <a:r>
              <a:rPr lang="lv-LV"/>
              <a:t>Kā rīkoties ķīmisko vielu izraisītos negadījumos?</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27</a:t>
            </a:fld>
            <a:endParaRPr lang="en-GB"/>
          </a:p>
        </p:txBody>
      </p:sp>
      <p:sp>
        <p:nvSpPr>
          <p:cNvPr id="26" name="Rectangle 25">
            <a:extLst>
              <a:ext uri="{FF2B5EF4-FFF2-40B4-BE49-F238E27FC236}">
                <a16:creationId xmlns:a16="http://schemas.microsoft.com/office/drawing/2014/main" id="{75CE378D-0AD1-9BD1-B80E-BB684E86C908}"/>
              </a:ext>
            </a:extLst>
          </p:cNvPr>
          <p:cNvSpPr/>
          <p:nvPr/>
        </p:nvSpPr>
        <p:spPr>
          <a:xfrm>
            <a:off x="2651760" y="4513587"/>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27" name="Rectangle 26">
            <a:extLst>
              <a:ext uri="{FF2B5EF4-FFF2-40B4-BE49-F238E27FC236}">
                <a16:creationId xmlns:a16="http://schemas.microsoft.com/office/drawing/2014/main" id="{26BF525F-45B3-C14A-12E8-A83E64EF16FF}"/>
              </a:ext>
            </a:extLst>
          </p:cNvPr>
          <p:cNvSpPr/>
          <p:nvPr/>
        </p:nvSpPr>
        <p:spPr>
          <a:xfrm>
            <a:off x="2651760" y="2630366"/>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28" name="Rectangle 27">
            <a:extLst>
              <a:ext uri="{FF2B5EF4-FFF2-40B4-BE49-F238E27FC236}">
                <a16:creationId xmlns:a16="http://schemas.microsoft.com/office/drawing/2014/main" id="{18CEB400-BC29-94CA-625A-8B9380FCF3EB}"/>
              </a:ext>
            </a:extLst>
          </p:cNvPr>
          <p:cNvSpPr/>
          <p:nvPr/>
        </p:nvSpPr>
        <p:spPr>
          <a:xfrm>
            <a:off x="284753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29" name="Rectangle 28">
            <a:extLst>
              <a:ext uri="{FF2B5EF4-FFF2-40B4-BE49-F238E27FC236}">
                <a16:creationId xmlns:a16="http://schemas.microsoft.com/office/drawing/2014/main" id="{22DB8157-5B10-8AC7-8999-CD47C0BE8FC0}"/>
              </a:ext>
            </a:extLst>
          </p:cNvPr>
          <p:cNvSpPr/>
          <p:nvPr/>
        </p:nvSpPr>
        <p:spPr>
          <a:xfrm>
            <a:off x="739616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38" name="Rectangle 37">
            <a:extLst>
              <a:ext uri="{FF2B5EF4-FFF2-40B4-BE49-F238E27FC236}">
                <a16:creationId xmlns:a16="http://schemas.microsoft.com/office/drawing/2014/main" id="{3B47E99D-002C-F019-6092-E26E9521906E}"/>
              </a:ext>
            </a:extLst>
          </p:cNvPr>
          <p:cNvSpPr/>
          <p:nvPr/>
        </p:nvSpPr>
        <p:spPr>
          <a:xfrm>
            <a:off x="442912" y="2630366"/>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Gremošanas traktā</a:t>
            </a:r>
          </a:p>
        </p:txBody>
      </p:sp>
      <p:sp>
        <p:nvSpPr>
          <p:cNvPr id="39" name="Rectangle 38">
            <a:extLst>
              <a:ext uri="{FF2B5EF4-FFF2-40B4-BE49-F238E27FC236}">
                <a16:creationId xmlns:a16="http://schemas.microsoft.com/office/drawing/2014/main" id="{396FA384-DF9D-8B3C-8EE0-DC36034FD5B1}"/>
              </a:ext>
            </a:extLst>
          </p:cNvPr>
          <p:cNvSpPr/>
          <p:nvPr/>
        </p:nvSpPr>
        <p:spPr>
          <a:xfrm>
            <a:off x="442912" y="4513587"/>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Ieelpota ķīmiska viela</a:t>
            </a:r>
          </a:p>
        </p:txBody>
      </p:sp>
      <p:sp>
        <p:nvSpPr>
          <p:cNvPr id="40" name="TextBox 39">
            <a:extLst>
              <a:ext uri="{FF2B5EF4-FFF2-40B4-BE49-F238E27FC236}">
                <a16:creationId xmlns:a16="http://schemas.microsoft.com/office/drawing/2014/main" id="{3C04D558-6349-59B4-4891-C3B362679252}"/>
              </a:ext>
            </a:extLst>
          </p:cNvPr>
          <p:cNvSpPr txBox="1"/>
          <p:nvPr/>
        </p:nvSpPr>
        <p:spPr>
          <a:xfrm>
            <a:off x="2847530" y="4513587"/>
            <a:ext cx="4352925" cy="1658938"/>
          </a:xfrm>
          <a:prstGeom prst="rect">
            <a:avLst/>
          </a:prstGeom>
          <a:noFill/>
        </p:spPr>
        <p:txBody>
          <a:bodyPr wrap="square" anchor="ctr">
            <a:noAutofit/>
          </a:bodyPr>
          <a:lstStyle/>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Izsauciet Neatliekamo palīdzību.</a:t>
            </a:r>
          </a:p>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Nodrošiniet cietušajam svaigu gaisu.</a:t>
            </a:r>
          </a:p>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Aprūpējiet, nomieriniet cietušo.</a:t>
            </a:r>
          </a:p>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Veiciet atdzīvināšanas pasākumus, ja nepieciešams.</a:t>
            </a:r>
          </a:p>
        </p:txBody>
      </p:sp>
      <p:sp>
        <p:nvSpPr>
          <p:cNvPr id="41" name="TextBox 40">
            <a:extLst>
              <a:ext uri="{FF2B5EF4-FFF2-40B4-BE49-F238E27FC236}">
                <a16:creationId xmlns:a16="http://schemas.microsoft.com/office/drawing/2014/main" id="{A5FCE91E-7750-1062-5437-D153B9C8E110}"/>
              </a:ext>
            </a:extLst>
          </p:cNvPr>
          <p:cNvSpPr txBox="1"/>
          <p:nvPr/>
        </p:nvSpPr>
        <p:spPr>
          <a:xfrm>
            <a:off x="7396160" y="4513587"/>
            <a:ext cx="4440240" cy="1658938"/>
          </a:xfrm>
          <a:prstGeom prst="rect">
            <a:avLst/>
          </a:prstGeom>
          <a:noFill/>
        </p:spPr>
        <p:txBody>
          <a:bodyPr wrap="square" anchor="ctr">
            <a:noAutofit/>
          </a:bodyPr>
          <a:lstStyle/>
          <a:p>
            <a:pPr marL="285750" lvl="0" indent="-285750" hangingPunct="0">
              <a:spcAft>
                <a:spcPts val="200"/>
              </a:spcAft>
              <a:buSzPct val="100000"/>
              <a:buBlip>
                <a:blip r:embed="rId6"/>
              </a:buBlip>
            </a:pPr>
            <a:r>
              <a:rPr lang="lv-LV" sz="1400" spc="-30">
                <a:effectLst/>
                <a:ea typeface="Calibri" panose="020F0502020204030204" pitchFamily="34" charset="0"/>
                <a:cs typeface="Times New Roman" panose="02020603050405020304" pitchFamily="18" charset="0"/>
              </a:rPr>
              <a:t>Pastāvot aizdomām par kaitīgu gāzveida ķīmisku vielu klātbūtni gaisā, netuvojieties nelaimes gadījuma vietai. Pārvietojieties drošā attālumā, svaigā gaisā!</a:t>
            </a:r>
          </a:p>
          <a:p>
            <a:pPr marL="285750" lvl="0" indent="-285750" hangingPunct="0">
              <a:spcAft>
                <a:spcPts val="200"/>
              </a:spcAft>
              <a:buSzPct val="100000"/>
              <a:buBlip>
                <a:blip r:embed="rId6"/>
              </a:buBlip>
            </a:pPr>
            <a:r>
              <a:rPr lang="lv-LV" sz="1400">
                <a:effectLst/>
                <a:ea typeface="Calibri" panose="020F0502020204030204" pitchFamily="34" charset="0"/>
                <a:cs typeface="Times New Roman" panose="02020603050405020304" pitchFamily="18" charset="0"/>
              </a:rPr>
              <a:t>Īpaši bīstami, ja cietušais atrodas slēgtā telpā, piemēram, kanalizācijas akā, pagrabā, tvertnē u.c. </a:t>
            </a:r>
          </a:p>
          <a:p>
            <a:pPr marL="285750" lvl="0" indent="-285750" hangingPunct="0">
              <a:spcAft>
                <a:spcPts val="200"/>
              </a:spcAft>
              <a:buSzPct val="100000"/>
              <a:buBlip>
                <a:blip r:embed="rId6"/>
              </a:buBlip>
            </a:pPr>
            <a:r>
              <a:rPr lang="lv-LV" sz="1400">
                <a:effectLst/>
                <a:ea typeface="Calibri" panose="020F0502020204030204" pitchFamily="34" charset="0"/>
                <a:cs typeface="Times New Roman" panose="02020603050405020304" pitchFamily="18" charset="0"/>
              </a:rPr>
              <a:t>Sniedziet palīdzību cietušajam tikai gadījumos, kad cietušais pats izkļuvis no bīstamās vides.</a:t>
            </a:r>
          </a:p>
        </p:txBody>
      </p:sp>
      <p:sp>
        <p:nvSpPr>
          <p:cNvPr id="42" name="TextBox 41">
            <a:extLst>
              <a:ext uri="{FF2B5EF4-FFF2-40B4-BE49-F238E27FC236}">
                <a16:creationId xmlns:a16="http://schemas.microsoft.com/office/drawing/2014/main" id="{41F206C0-1514-9A56-1E69-C897346ADB21}"/>
              </a:ext>
            </a:extLst>
          </p:cNvPr>
          <p:cNvSpPr txBox="1"/>
          <p:nvPr/>
        </p:nvSpPr>
        <p:spPr>
          <a:xfrm>
            <a:off x="2847530" y="2630366"/>
            <a:ext cx="4352925" cy="1658938"/>
          </a:xfrm>
          <a:prstGeom prst="rect">
            <a:avLst/>
          </a:prstGeom>
          <a:noFill/>
        </p:spPr>
        <p:txBody>
          <a:bodyPr wrap="square" anchor="ctr">
            <a:noAutofit/>
          </a:bodyPr>
          <a:lstStyle/>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Izsauciet Neatliekamo palīdzību.</a:t>
            </a:r>
          </a:p>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Dodiet izskalot muti ar ūdeni.</a:t>
            </a:r>
          </a:p>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Dodiet dzert vēsu ūdeni, bet ne vairāk kā 200 ml.</a:t>
            </a:r>
          </a:p>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Aprūpējiet, nomieriniet cietušo.</a:t>
            </a:r>
          </a:p>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Veiciet atdzīvināšanas pasākumus, ja nepieciešams.</a:t>
            </a:r>
          </a:p>
        </p:txBody>
      </p:sp>
      <p:sp>
        <p:nvSpPr>
          <p:cNvPr id="43" name="TextBox 42">
            <a:extLst>
              <a:ext uri="{FF2B5EF4-FFF2-40B4-BE49-F238E27FC236}">
                <a16:creationId xmlns:a16="http://schemas.microsoft.com/office/drawing/2014/main" id="{C333C631-7908-BAEB-F79D-7746A92C6B90}"/>
              </a:ext>
            </a:extLst>
          </p:cNvPr>
          <p:cNvSpPr txBox="1"/>
          <p:nvPr/>
        </p:nvSpPr>
        <p:spPr>
          <a:xfrm>
            <a:off x="7396160" y="2630366"/>
            <a:ext cx="4352925" cy="1658938"/>
          </a:xfrm>
          <a:prstGeom prst="rect">
            <a:avLst/>
          </a:prstGeom>
          <a:noFill/>
        </p:spPr>
        <p:txBody>
          <a:bodyPr wrap="square" anchor="ctr">
            <a:noAutofit/>
          </a:bodyPr>
          <a:lstStyle/>
          <a:p>
            <a:pPr marL="285750" lvl="0" indent="-285750" hangingPunct="0">
              <a:spcAft>
                <a:spcPts val="200"/>
              </a:spcAft>
              <a:buSzPct val="100000"/>
              <a:buBlip>
                <a:blip r:embed="rId6"/>
              </a:buBlip>
            </a:pPr>
            <a:r>
              <a:rPr lang="lv-LV" sz="1400">
                <a:effectLst/>
                <a:ea typeface="Calibri" panose="020F0502020204030204" pitchFamily="34" charset="0"/>
                <a:cs typeface="Times New Roman" panose="02020603050405020304" pitchFamily="18" charset="0"/>
              </a:rPr>
              <a:t>Neizraisiet vemšanu!</a:t>
            </a:r>
          </a:p>
        </p:txBody>
      </p:sp>
      <p:sp>
        <p:nvSpPr>
          <p:cNvPr id="44" name="Content Placeholder 1">
            <a:extLst>
              <a:ext uri="{FF2B5EF4-FFF2-40B4-BE49-F238E27FC236}">
                <a16:creationId xmlns:a16="http://schemas.microsoft.com/office/drawing/2014/main" id="{F7B0A12B-EBED-EB91-D3B9-4B151635FA06}"/>
              </a:ext>
            </a:extLst>
          </p:cNvPr>
          <p:cNvSpPr txBox="1">
            <a:spLocks/>
          </p:cNvSpPr>
          <p:nvPr/>
        </p:nvSpPr>
        <p:spPr>
          <a:xfrm>
            <a:off x="2579759" y="2630366"/>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5" name="Content Placeholder 1">
            <a:extLst>
              <a:ext uri="{FF2B5EF4-FFF2-40B4-BE49-F238E27FC236}">
                <a16:creationId xmlns:a16="http://schemas.microsoft.com/office/drawing/2014/main" id="{1BE28122-DCB8-C4C7-9167-163A091C3810}"/>
              </a:ext>
            </a:extLst>
          </p:cNvPr>
          <p:cNvSpPr txBox="1">
            <a:spLocks/>
          </p:cNvSpPr>
          <p:nvPr/>
        </p:nvSpPr>
        <p:spPr>
          <a:xfrm>
            <a:off x="2579759" y="4513587"/>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57" name="Rectangle 56">
            <a:extLst>
              <a:ext uri="{FF2B5EF4-FFF2-40B4-BE49-F238E27FC236}">
                <a16:creationId xmlns:a16="http://schemas.microsoft.com/office/drawing/2014/main" id="{5289A2E1-8F6D-9610-E7CE-9B7600169B03}"/>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58" name="Content Placeholder 1">
            <a:extLst>
              <a:ext uri="{FF2B5EF4-FFF2-40B4-BE49-F238E27FC236}">
                <a16:creationId xmlns:a16="http://schemas.microsoft.com/office/drawing/2014/main" id="{B43C1AF2-DE1A-E208-918C-6E21E6ECECF0}"/>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59" name="Content Placeholder 1">
            <a:extLst>
              <a:ext uri="{FF2B5EF4-FFF2-40B4-BE49-F238E27FC236}">
                <a16:creationId xmlns:a16="http://schemas.microsoft.com/office/drawing/2014/main" id="{6BD4F1BB-8A78-68F3-D3A0-8192F86B0E35}"/>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60" name="Google Shape;794;p79">
            <a:extLst>
              <a:ext uri="{FF2B5EF4-FFF2-40B4-BE49-F238E27FC236}">
                <a16:creationId xmlns:a16="http://schemas.microsoft.com/office/drawing/2014/main" id="{988F552D-1F52-271D-E2BA-F2EA7028AE0C}"/>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61" name="Rectangle 60">
            <a:extLst>
              <a:ext uri="{FF2B5EF4-FFF2-40B4-BE49-F238E27FC236}">
                <a16:creationId xmlns:a16="http://schemas.microsoft.com/office/drawing/2014/main" id="{754CE708-1BDC-782F-9C8A-0F59E276292A}"/>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62" name="Content Placeholder 1">
            <a:extLst>
              <a:ext uri="{FF2B5EF4-FFF2-40B4-BE49-F238E27FC236}">
                <a16:creationId xmlns:a16="http://schemas.microsoft.com/office/drawing/2014/main" id="{E6F89702-5666-40AD-82B9-D38CE70085DA}"/>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63" name="Content Placeholder 1">
            <a:extLst>
              <a:ext uri="{FF2B5EF4-FFF2-40B4-BE49-F238E27FC236}">
                <a16:creationId xmlns:a16="http://schemas.microsoft.com/office/drawing/2014/main" id="{51093CB8-6D43-2C06-65C9-248B175E887C}"/>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64" name="Google Shape;760;p79">
            <a:extLst>
              <a:ext uri="{FF2B5EF4-FFF2-40B4-BE49-F238E27FC236}">
                <a16:creationId xmlns:a16="http://schemas.microsoft.com/office/drawing/2014/main" id="{08EF3060-4C16-1E7E-8A2E-5716356493F0}"/>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 name="Google Shape;1626;p92">
            <a:extLst>
              <a:ext uri="{FF2B5EF4-FFF2-40B4-BE49-F238E27FC236}">
                <a16:creationId xmlns:a16="http://schemas.microsoft.com/office/drawing/2014/main" id="{04E643C0-53EC-4B65-8E60-51723ABD9750}"/>
              </a:ext>
            </a:extLst>
          </p:cNvPr>
          <p:cNvSpPr/>
          <p:nvPr/>
        </p:nvSpPr>
        <p:spPr>
          <a:xfrm>
            <a:off x="2021278" y="3724727"/>
            <a:ext cx="360363" cy="360363"/>
          </a:xfrm>
          <a:custGeom>
            <a:avLst/>
            <a:gdLst/>
            <a:ahLst/>
            <a:cxnLst/>
            <a:rect l="l" t="t" r="r" b="b"/>
            <a:pathLst>
              <a:path w="457200" h="457200" extrusionOk="0">
                <a:moveTo>
                  <a:pt x="0" y="0"/>
                </a:moveTo>
                <a:lnTo>
                  <a:pt x="0" y="457200"/>
                </a:lnTo>
                <a:lnTo>
                  <a:pt x="457200" y="457200"/>
                </a:lnTo>
                <a:lnTo>
                  <a:pt x="457200" y="0"/>
                </a:lnTo>
                <a:close/>
                <a:moveTo>
                  <a:pt x="19526" y="437674"/>
                </a:moveTo>
                <a:lnTo>
                  <a:pt x="19526" y="19526"/>
                </a:lnTo>
                <a:lnTo>
                  <a:pt x="168275" y="19526"/>
                </a:lnTo>
                <a:lnTo>
                  <a:pt x="168275" y="81947"/>
                </a:lnTo>
                <a:lnTo>
                  <a:pt x="136525" y="81947"/>
                </a:lnTo>
                <a:cubicBezTo>
                  <a:pt x="105593" y="81869"/>
                  <a:pt x="80455" y="106882"/>
                  <a:pt x="80378" y="137813"/>
                </a:cubicBezTo>
                <a:cubicBezTo>
                  <a:pt x="80344" y="151609"/>
                  <a:pt x="85402" y="164932"/>
                  <a:pt x="94583" y="175228"/>
                </a:cubicBezTo>
                <a:cubicBezTo>
                  <a:pt x="63978" y="179585"/>
                  <a:pt x="42699" y="207928"/>
                  <a:pt x="47055" y="238534"/>
                </a:cubicBezTo>
                <a:cubicBezTo>
                  <a:pt x="49996" y="259187"/>
                  <a:pt x="64178" y="276492"/>
                  <a:pt x="83852" y="283432"/>
                </a:cubicBezTo>
                <a:cubicBezTo>
                  <a:pt x="86996" y="284572"/>
                  <a:pt x="90237" y="285422"/>
                  <a:pt x="93536" y="285972"/>
                </a:cubicBezTo>
                <a:cubicBezTo>
                  <a:pt x="72827" y="308949"/>
                  <a:pt x="74665" y="344364"/>
                  <a:pt x="97641" y="365071"/>
                </a:cubicBezTo>
                <a:cubicBezTo>
                  <a:pt x="107943" y="374358"/>
                  <a:pt x="121323" y="379489"/>
                  <a:pt x="135192" y="379476"/>
                </a:cubicBezTo>
                <a:lnTo>
                  <a:pt x="225425" y="379476"/>
                </a:lnTo>
                <a:lnTo>
                  <a:pt x="225425" y="437674"/>
                </a:lnTo>
                <a:close/>
                <a:moveTo>
                  <a:pt x="244951" y="437674"/>
                </a:moveTo>
                <a:lnTo>
                  <a:pt x="244951" y="359664"/>
                </a:lnTo>
                <a:cubicBezTo>
                  <a:pt x="243571" y="359839"/>
                  <a:pt x="242183" y="359934"/>
                  <a:pt x="240792" y="359950"/>
                </a:cubicBezTo>
                <a:lnTo>
                  <a:pt x="135192" y="359950"/>
                </a:lnTo>
                <a:cubicBezTo>
                  <a:pt x="115026" y="358759"/>
                  <a:pt x="99644" y="341449"/>
                  <a:pt x="100833" y="321281"/>
                </a:cubicBezTo>
                <a:cubicBezTo>
                  <a:pt x="101925" y="302778"/>
                  <a:pt x="116687" y="288017"/>
                  <a:pt x="135192" y="286925"/>
                </a:cubicBezTo>
                <a:lnTo>
                  <a:pt x="172307" y="286925"/>
                </a:lnTo>
                <a:lnTo>
                  <a:pt x="172307" y="286925"/>
                </a:lnTo>
                <a:lnTo>
                  <a:pt x="309086" y="286925"/>
                </a:lnTo>
                <a:lnTo>
                  <a:pt x="309785" y="286925"/>
                </a:lnTo>
                <a:lnTo>
                  <a:pt x="309785" y="286925"/>
                </a:lnTo>
                <a:lnTo>
                  <a:pt x="344710" y="286925"/>
                </a:lnTo>
                <a:lnTo>
                  <a:pt x="344710" y="267081"/>
                </a:lnTo>
                <a:lnTo>
                  <a:pt x="160274" y="267081"/>
                </a:lnTo>
                <a:lnTo>
                  <a:pt x="160274" y="267081"/>
                </a:lnTo>
                <a:lnTo>
                  <a:pt x="102648" y="267081"/>
                </a:lnTo>
                <a:cubicBezTo>
                  <a:pt x="82482" y="268271"/>
                  <a:pt x="65171" y="252888"/>
                  <a:pt x="63981" y="232723"/>
                </a:cubicBezTo>
                <a:cubicBezTo>
                  <a:pt x="62791" y="212558"/>
                  <a:pt x="78174" y="195246"/>
                  <a:pt x="98339" y="194056"/>
                </a:cubicBezTo>
                <a:cubicBezTo>
                  <a:pt x="99774" y="193971"/>
                  <a:pt x="101213" y="193971"/>
                  <a:pt x="102648" y="194056"/>
                </a:cubicBezTo>
                <a:lnTo>
                  <a:pt x="309785" y="194056"/>
                </a:lnTo>
                <a:lnTo>
                  <a:pt x="309785" y="174625"/>
                </a:lnTo>
                <a:lnTo>
                  <a:pt x="136525" y="174625"/>
                </a:lnTo>
                <a:cubicBezTo>
                  <a:pt x="116360" y="173435"/>
                  <a:pt x="100977" y="156123"/>
                  <a:pt x="102167" y="135958"/>
                </a:cubicBezTo>
                <a:cubicBezTo>
                  <a:pt x="103259" y="117454"/>
                  <a:pt x="118020" y="102692"/>
                  <a:pt x="136525" y="101600"/>
                </a:cubicBezTo>
                <a:lnTo>
                  <a:pt x="171450" y="101600"/>
                </a:lnTo>
                <a:lnTo>
                  <a:pt x="171450" y="101600"/>
                </a:lnTo>
                <a:lnTo>
                  <a:pt x="187801" y="101600"/>
                </a:lnTo>
                <a:lnTo>
                  <a:pt x="187801" y="19526"/>
                </a:lnTo>
                <a:lnTo>
                  <a:pt x="215392" y="19526"/>
                </a:lnTo>
                <a:lnTo>
                  <a:pt x="215392" y="128270"/>
                </a:lnTo>
                <a:lnTo>
                  <a:pt x="134779" y="128270"/>
                </a:lnTo>
                <a:cubicBezTo>
                  <a:pt x="133890" y="128270"/>
                  <a:pt x="133033" y="128270"/>
                  <a:pt x="132144" y="128270"/>
                </a:cubicBezTo>
                <a:lnTo>
                  <a:pt x="132144" y="147796"/>
                </a:lnTo>
                <a:cubicBezTo>
                  <a:pt x="133001" y="147796"/>
                  <a:pt x="133890" y="147796"/>
                  <a:pt x="134779" y="147796"/>
                </a:cubicBezTo>
                <a:lnTo>
                  <a:pt x="307975" y="147796"/>
                </a:lnTo>
                <a:cubicBezTo>
                  <a:pt x="328139" y="147641"/>
                  <a:pt x="344611" y="163861"/>
                  <a:pt x="344767" y="184026"/>
                </a:cubicBezTo>
                <a:cubicBezTo>
                  <a:pt x="344913" y="202639"/>
                  <a:pt x="331032" y="218380"/>
                  <a:pt x="312547" y="220567"/>
                </a:cubicBezTo>
                <a:lnTo>
                  <a:pt x="109919" y="220567"/>
                </a:lnTo>
                <a:lnTo>
                  <a:pt x="109919" y="240094"/>
                </a:lnTo>
                <a:lnTo>
                  <a:pt x="139065" y="240094"/>
                </a:lnTo>
                <a:cubicBezTo>
                  <a:pt x="139193" y="240197"/>
                  <a:pt x="139347" y="240263"/>
                  <a:pt x="139510" y="240284"/>
                </a:cubicBezTo>
                <a:lnTo>
                  <a:pt x="299276" y="240284"/>
                </a:lnTo>
                <a:lnTo>
                  <a:pt x="299276" y="240284"/>
                </a:lnTo>
                <a:lnTo>
                  <a:pt x="345948" y="240284"/>
                </a:lnTo>
                <a:cubicBezTo>
                  <a:pt x="366112" y="241125"/>
                  <a:pt x="381778" y="258154"/>
                  <a:pt x="380937" y="278320"/>
                </a:cubicBezTo>
                <a:cubicBezTo>
                  <a:pt x="380146" y="297306"/>
                  <a:pt x="364935" y="312517"/>
                  <a:pt x="345948" y="313309"/>
                </a:cubicBezTo>
                <a:lnTo>
                  <a:pt x="139573" y="313309"/>
                </a:lnTo>
                <a:cubicBezTo>
                  <a:pt x="137098" y="313299"/>
                  <a:pt x="134631" y="313044"/>
                  <a:pt x="132207" y="312547"/>
                </a:cubicBezTo>
                <a:lnTo>
                  <a:pt x="132207" y="332296"/>
                </a:lnTo>
                <a:cubicBezTo>
                  <a:pt x="134645" y="332664"/>
                  <a:pt x="137107" y="332854"/>
                  <a:pt x="139573" y="332867"/>
                </a:cubicBezTo>
                <a:lnTo>
                  <a:pt x="276098" y="332867"/>
                </a:lnTo>
                <a:cubicBezTo>
                  <a:pt x="276098" y="333121"/>
                  <a:pt x="276098" y="333375"/>
                  <a:pt x="275876" y="333629"/>
                </a:cubicBezTo>
                <a:lnTo>
                  <a:pt x="275876" y="437452"/>
                </a:lnTo>
                <a:close/>
                <a:moveTo>
                  <a:pt x="237554" y="128270"/>
                </a:moveTo>
                <a:lnTo>
                  <a:pt x="237554" y="111411"/>
                </a:lnTo>
                <a:cubicBezTo>
                  <a:pt x="239673" y="99855"/>
                  <a:pt x="250759" y="92205"/>
                  <a:pt x="262315" y="94325"/>
                </a:cubicBezTo>
                <a:cubicBezTo>
                  <a:pt x="272451" y="96184"/>
                  <a:pt x="279798" y="105042"/>
                  <a:pt x="279749" y="115348"/>
                </a:cubicBezTo>
                <a:lnTo>
                  <a:pt x="279749" y="128270"/>
                </a:lnTo>
                <a:lnTo>
                  <a:pt x="237554" y="128270"/>
                </a:lnTo>
                <a:close/>
                <a:moveTo>
                  <a:pt x="335979" y="372745"/>
                </a:moveTo>
                <a:lnTo>
                  <a:pt x="335979" y="332931"/>
                </a:lnTo>
                <a:lnTo>
                  <a:pt x="346075" y="332931"/>
                </a:lnTo>
                <a:cubicBezTo>
                  <a:pt x="349949" y="332918"/>
                  <a:pt x="353809" y="332515"/>
                  <a:pt x="357600" y="331724"/>
                </a:cubicBezTo>
                <a:lnTo>
                  <a:pt x="357600" y="368078"/>
                </a:lnTo>
                <a:cubicBezTo>
                  <a:pt x="357600" y="385226"/>
                  <a:pt x="343697" y="399129"/>
                  <a:pt x="326549" y="399129"/>
                </a:cubicBezTo>
                <a:cubicBezTo>
                  <a:pt x="309400" y="399129"/>
                  <a:pt x="295497" y="385226"/>
                  <a:pt x="295497" y="368078"/>
                </a:cubicBezTo>
                <a:lnTo>
                  <a:pt x="295497" y="332931"/>
                </a:lnTo>
                <a:lnTo>
                  <a:pt x="316548" y="332931"/>
                </a:lnTo>
                <a:lnTo>
                  <a:pt x="316548" y="372745"/>
                </a:lnTo>
                <a:close/>
                <a:moveTo>
                  <a:pt x="437579" y="437674"/>
                </a:moveTo>
                <a:lnTo>
                  <a:pt x="295275" y="437674"/>
                </a:lnTo>
                <a:lnTo>
                  <a:pt x="295275" y="407734"/>
                </a:lnTo>
                <a:cubicBezTo>
                  <a:pt x="317156" y="425040"/>
                  <a:pt x="348923" y="421332"/>
                  <a:pt x="366230" y="399453"/>
                </a:cubicBezTo>
                <a:cubicBezTo>
                  <a:pt x="373294" y="390522"/>
                  <a:pt x="377136" y="379463"/>
                  <a:pt x="377127" y="368078"/>
                </a:cubicBezTo>
                <a:lnTo>
                  <a:pt x="377127" y="323628"/>
                </a:lnTo>
                <a:cubicBezTo>
                  <a:pt x="402860" y="306337"/>
                  <a:pt x="409702" y="271460"/>
                  <a:pt x="392411" y="245728"/>
                </a:cubicBezTo>
                <a:cubicBezTo>
                  <a:pt x="382927" y="231614"/>
                  <a:pt x="367557" y="222560"/>
                  <a:pt x="350615" y="221107"/>
                </a:cubicBezTo>
                <a:cubicBezTo>
                  <a:pt x="353311" y="217977"/>
                  <a:pt x="355654" y="214559"/>
                  <a:pt x="357600" y="210915"/>
                </a:cubicBezTo>
                <a:cubicBezTo>
                  <a:pt x="366576" y="194370"/>
                  <a:pt x="366576" y="174407"/>
                  <a:pt x="357600" y="157861"/>
                </a:cubicBezTo>
                <a:cubicBezTo>
                  <a:pt x="347790" y="139593"/>
                  <a:pt x="328711" y="128217"/>
                  <a:pt x="307975" y="128270"/>
                </a:cubicBezTo>
                <a:lnTo>
                  <a:pt x="299276" y="128270"/>
                </a:lnTo>
                <a:lnTo>
                  <a:pt x="299276" y="115348"/>
                </a:lnTo>
                <a:cubicBezTo>
                  <a:pt x="299282" y="92850"/>
                  <a:pt x="281050" y="74607"/>
                  <a:pt x="258552" y="74600"/>
                </a:cubicBezTo>
                <a:cubicBezTo>
                  <a:pt x="251154" y="74598"/>
                  <a:pt x="243895" y="76611"/>
                  <a:pt x="237554" y="80423"/>
                </a:cubicBezTo>
                <a:cubicBezTo>
                  <a:pt x="236696" y="80931"/>
                  <a:pt x="235871" y="81534"/>
                  <a:pt x="235077" y="82106"/>
                </a:cubicBezTo>
                <a:lnTo>
                  <a:pt x="235077" y="19526"/>
                </a:lnTo>
                <a:lnTo>
                  <a:pt x="437674" y="19526"/>
                </a:lnTo>
                <a:close/>
              </a:path>
            </a:pathLst>
          </a:custGeom>
          <a:solidFill>
            <a:schemeClr val="bg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 name="Google Shape;1918;p95">
            <a:extLst>
              <a:ext uri="{FF2B5EF4-FFF2-40B4-BE49-F238E27FC236}">
                <a16:creationId xmlns:a16="http://schemas.microsoft.com/office/drawing/2014/main" id="{DD727D00-8427-9A93-4DBE-80FB4E223318}"/>
              </a:ext>
            </a:extLst>
          </p:cNvPr>
          <p:cNvSpPr/>
          <p:nvPr/>
        </p:nvSpPr>
        <p:spPr>
          <a:xfrm>
            <a:off x="2021278" y="5642770"/>
            <a:ext cx="360363" cy="360363"/>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61" y="490"/>
                </a:moveTo>
                <a:cubicBezTo>
                  <a:pt x="415" y="490"/>
                  <a:pt x="415" y="490"/>
                  <a:pt x="415" y="490"/>
                </a:cubicBezTo>
                <a:cubicBezTo>
                  <a:pt x="435" y="490"/>
                  <a:pt x="453" y="480"/>
                  <a:pt x="463" y="462"/>
                </a:cubicBezTo>
                <a:cubicBezTo>
                  <a:pt x="473" y="445"/>
                  <a:pt x="473" y="424"/>
                  <a:pt x="463" y="407"/>
                </a:cubicBezTo>
                <a:cubicBezTo>
                  <a:pt x="348" y="207"/>
                  <a:pt x="348" y="207"/>
                  <a:pt x="348" y="207"/>
                </a:cubicBezTo>
                <a:cubicBezTo>
                  <a:pt x="348" y="110"/>
                  <a:pt x="348" y="110"/>
                  <a:pt x="348" y="110"/>
                </a:cubicBezTo>
                <a:cubicBezTo>
                  <a:pt x="363" y="110"/>
                  <a:pt x="363" y="110"/>
                  <a:pt x="363" y="110"/>
                </a:cubicBezTo>
                <a:cubicBezTo>
                  <a:pt x="363" y="85"/>
                  <a:pt x="363" y="85"/>
                  <a:pt x="363" y="85"/>
                </a:cubicBezTo>
                <a:cubicBezTo>
                  <a:pt x="213" y="85"/>
                  <a:pt x="213" y="85"/>
                  <a:pt x="213" y="85"/>
                </a:cubicBezTo>
                <a:cubicBezTo>
                  <a:pt x="213" y="110"/>
                  <a:pt x="213" y="110"/>
                  <a:pt x="213" y="110"/>
                </a:cubicBezTo>
                <a:cubicBezTo>
                  <a:pt x="228" y="110"/>
                  <a:pt x="228" y="110"/>
                  <a:pt x="228" y="110"/>
                </a:cubicBezTo>
                <a:cubicBezTo>
                  <a:pt x="228" y="207"/>
                  <a:pt x="228" y="207"/>
                  <a:pt x="228" y="207"/>
                </a:cubicBezTo>
                <a:cubicBezTo>
                  <a:pt x="113" y="407"/>
                  <a:pt x="113" y="407"/>
                  <a:pt x="113" y="407"/>
                </a:cubicBezTo>
                <a:cubicBezTo>
                  <a:pt x="103" y="424"/>
                  <a:pt x="103" y="445"/>
                  <a:pt x="113" y="462"/>
                </a:cubicBezTo>
                <a:cubicBezTo>
                  <a:pt x="123" y="480"/>
                  <a:pt x="141" y="490"/>
                  <a:pt x="161" y="490"/>
                </a:cubicBezTo>
                <a:close/>
                <a:moveTo>
                  <a:pt x="253" y="214"/>
                </a:moveTo>
                <a:cubicBezTo>
                  <a:pt x="253" y="110"/>
                  <a:pt x="253" y="110"/>
                  <a:pt x="253" y="110"/>
                </a:cubicBezTo>
                <a:cubicBezTo>
                  <a:pt x="323" y="110"/>
                  <a:pt x="323" y="110"/>
                  <a:pt x="323" y="110"/>
                </a:cubicBezTo>
                <a:cubicBezTo>
                  <a:pt x="323" y="214"/>
                  <a:pt x="323" y="214"/>
                  <a:pt x="323" y="214"/>
                </a:cubicBezTo>
                <a:cubicBezTo>
                  <a:pt x="369" y="293"/>
                  <a:pt x="369" y="293"/>
                  <a:pt x="369" y="293"/>
                </a:cubicBezTo>
                <a:cubicBezTo>
                  <a:pt x="321" y="293"/>
                  <a:pt x="321" y="293"/>
                  <a:pt x="321" y="293"/>
                </a:cubicBezTo>
                <a:cubicBezTo>
                  <a:pt x="321" y="271"/>
                  <a:pt x="303" y="252"/>
                  <a:pt x="280" y="252"/>
                </a:cubicBezTo>
                <a:cubicBezTo>
                  <a:pt x="257" y="252"/>
                  <a:pt x="239" y="271"/>
                  <a:pt x="239" y="293"/>
                </a:cubicBezTo>
                <a:cubicBezTo>
                  <a:pt x="207" y="293"/>
                  <a:pt x="207" y="293"/>
                  <a:pt x="207" y="293"/>
                </a:cubicBezTo>
                <a:lnTo>
                  <a:pt x="253" y="214"/>
                </a:lnTo>
                <a:close/>
                <a:moveTo>
                  <a:pt x="296" y="293"/>
                </a:moveTo>
                <a:cubicBezTo>
                  <a:pt x="264" y="293"/>
                  <a:pt x="264" y="293"/>
                  <a:pt x="264" y="293"/>
                </a:cubicBezTo>
                <a:cubicBezTo>
                  <a:pt x="264" y="284"/>
                  <a:pt x="271" y="277"/>
                  <a:pt x="280" y="277"/>
                </a:cubicBezTo>
                <a:cubicBezTo>
                  <a:pt x="289" y="277"/>
                  <a:pt x="296" y="284"/>
                  <a:pt x="296" y="293"/>
                </a:cubicBezTo>
                <a:close/>
                <a:moveTo>
                  <a:pt x="134" y="419"/>
                </a:moveTo>
                <a:cubicBezTo>
                  <a:pt x="193" y="318"/>
                  <a:pt x="193" y="318"/>
                  <a:pt x="193" y="318"/>
                </a:cubicBezTo>
                <a:cubicBezTo>
                  <a:pt x="383" y="318"/>
                  <a:pt x="383" y="318"/>
                  <a:pt x="383" y="318"/>
                </a:cubicBezTo>
                <a:cubicBezTo>
                  <a:pt x="442" y="419"/>
                  <a:pt x="442" y="419"/>
                  <a:pt x="442" y="419"/>
                </a:cubicBezTo>
                <a:cubicBezTo>
                  <a:pt x="447" y="429"/>
                  <a:pt x="447" y="440"/>
                  <a:pt x="442" y="450"/>
                </a:cubicBezTo>
                <a:cubicBezTo>
                  <a:pt x="436" y="460"/>
                  <a:pt x="426" y="466"/>
                  <a:pt x="415" y="466"/>
                </a:cubicBezTo>
                <a:cubicBezTo>
                  <a:pt x="161" y="466"/>
                  <a:pt x="161" y="466"/>
                  <a:pt x="161" y="466"/>
                </a:cubicBezTo>
                <a:cubicBezTo>
                  <a:pt x="150" y="466"/>
                  <a:pt x="140" y="460"/>
                  <a:pt x="134" y="450"/>
                </a:cubicBezTo>
                <a:cubicBezTo>
                  <a:pt x="129" y="440"/>
                  <a:pt x="129" y="429"/>
                  <a:pt x="134" y="419"/>
                </a:cubicBezTo>
                <a:close/>
                <a:moveTo>
                  <a:pt x="344" y="415"/>
                </a:moveTo>
                <a:cubicBezTo>
                  <a:pt x="367" y="415"/>
                  <a:pt x="385" y="397"/>
                  <a:pt x="385" y="374"/>
                </a:cubicBezTo>
                <a:cubicBezTo>
                  <a:pt x="385" y="352"/>
                  <a:pt x="367" y="333"/>
                  <a:pt x="344" y="333"/>
                </a:cubicBezTo>
                <a:cubicBezTo>
                  <a:pt x="321" y="333"/>
                  <a:pt x="303" y="352"/>
                  <a:pt x="303" y="374"/>
                </a:cubicBezTo>
                <a:cubicBezTo>
                  <a:pt x="303" y="397"/>
                  <a:pt x="321" y="415"/>
                  <a:pt x="344" y="415"/>
                </a:cubicBezTo>
                <a:close/>
                <a:moveTo>
                  <a:pt x="344" y="358"/>
                </a:moveTo>
                <a:cubicBezTo>
                  <a:pt x="353" y="358"/>
                  <a:pt x="361" y="365"/>
                  <a:pt x="361" y="374"/>
                </a:cubicBezTo>
                <a:cubicBezTo>
                  <a:pt x="361" y="383"/>
                  <a:pt x="353" y="391"/>
                  <a:pt x="344" y="391"/>
                </a:cubicBezTo>
                <a:cubicBezTo>
                  <a:pt x="335" y="391"/>
                  <a:pt x="328" y="383"/>
                  <a:pt x="328" y="374"/>
                </a:cubicBezTo>
                <a:cubicBezTo>
                  <a:pt x="328" y="365"/>
                  <a:pt x="335" y="358"/>
                  <a:pt x="344" y="358"/>
                </a:cubicBezTo>
                <a:close/>
                <a:moveTo>
                  <a:pt x="236" y="452"/>
                </a:moveTo>
                <a:cubicBezTo>
                  <a:pt x="259" y="452"/>
                  <a:pt x="277" y="433"/>
                  <a:pt x="277" y="411"/>
                </a:cubicBezTo>
                <a:cubicBezTo>
                  <a:pt x="277" y="388"/>
                  <a:pt x="259" y="370"/>
                  <a:pt x="236" y="370"/>
                </a:cubicBezTo>
                <a:cubicBezTo>
                  <a:pt x="213" y="370"/>
                  <a:pt x="195" y="388"/>
                  <a:pt x="195" y="411"/>
                </a:cubicBezTo>
                <a:cubicBezTo>
                  <a:pt x="195" y="433"/>
                  <a:pt x="213" y="452"/>
                  <a:pt x="236" y="452"/>
                </a:cubicBezTo>
                <a:close/>
                <a:moveTo>
                  <a:pt x="236" y="394"/>
                </a:moveTo>
                <a:cubicBezTo>
                  <a:pt x="245" y="394"/>
                  <a:pt x="252" y="402"/>
                  <a:pt x="252" y="411"/>
                </a:cubicBezTo>
                <a:cubicBezTo>
                  <a:pt x="252" y="420"/>
                  <a:pt x="245" y="427"/>
                  <a:pt x="236" y="427"/>
                </a:cubicBezTo>
                <a:cubicBezTo>
                  <a:pt x="227" y="427"/>
                  <a:pt x="219" y="420"/>
                  <a:pt x="219" y="411"/>
                </a:cubicBezTo>
                <a:cubicBezTo>
                  <a:pt x="219" y="402"/>
                  <a:pt x="227" y="394"/>
                  <a:pt x="236" y="394"/>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6" name="Rectangle 5">
            <a:extLst>
              <a:ext uri="{FF2B5EF4-FFF2-40B4-BE49-F238E27FC236}">
                <a16:creationId xmlns:a16="http://schemas.microsoft.com/office/drawing/2014/main" id="{4C448523-D199-838D-0012-DA39AE2F2FF6}"/>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16" name="Group 15">
            <a:extLst>
              <a:ext uri="{FF2B5EF4-FFF2-40B4-BE49-F238E27FC236}">
                <a16:creationId xmlns:a16="http://schemas.microsoft.com/office/drawing/2014/main" id="{9A77E11D-913A-0EDC-C3A8-93005FF6D85F}"/>
              </a:ext>
            </a:extLst>
          </p:cNvPr>
          <p:cNvGrpSpPr/>
          <p:nvPr/>
        </p:nvGrpSpPr>
        <p:grpSpPr>
          <a:xfrm>
            <a:off x="9842140" y="372216"/>
            <a:ext cx="1667215" cy="217488"/>
            <a:chOff x="9842140" y="372216"/>
            <a:chExt cx="1667215" cy="217488"/>
          </a:xfrm>
        </p:grpSpPr>
        <p:sp>
          <p:nvSpPr>
            <p:cNvPr id="17" name="TextBox 16">
              <a:extLst>
                <a:ext uri="{FF2B5EF4-FFF2-40B4-BE49-F238E27FC236}">
                  <a16:creationId xmlns:a16="http://schemas.microsoft.com/office/drawing/2014/main" id="{A0B62BA7-6592-A092-06F6-328959B263E1}"/>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Ķīmiskas vielas</a:t>
              </a:r>
            </a:p>
          </p:txBody>
        </p:sp>
        <p:sp>
          <p:nvSpPr>
            <p:cNvPr id="18" name="Freeform 49">
              <a:extLst>
                <a:ext uri="{FF2B5EF4-FFF2-40B4-BE49-F238E27FC236}">
                  <a16:creationId xmlns:a16="http://schemas.microsoft.com/office/drawing/2014/main" id="{1467D8C3-A103-C272-2A6A-E892FE831788}"/>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15" name="Group 14">
            <a:extLst>
              <a:ext uri="{FF2B5EF4-FFF2-40B4-BE49-F238E27FC236}">
                <a16:creationId xmlns:a16="http://schemas.microsoft.com/office/drawing/2014/main" id="{68965794-8979-B64D-006A-977C00378C26}"/>
              </a:ext>
            </a:extLst>
          </p:cNvPr>
          <p:cNvGrpSpPr/>
          <p:nvPr/>
        </p:nvGrpSpPr>
        <p:grpSpPr>
          <a:xfrm>
            <a:off x="9122935" y="126781"/>
            <a:ext cx="2626153" cy="217488"/>
            <a:chOff x="9122935" y="126781"/>
            <a:chExt cx="2626153" cy="217488"/>
          </a:xfrm>
        </p:grpSpPr>
        <p:sp>
          <p:nvSpPr>
            <p:cNvPr id="19" name="Rectangle 18">
              <a:extLst>
                <a:ext uri="{FF2B5EF4-FFF2-40B4-BE49-F238E27FC236}">
                  <a16:creationId xmlns:a16="http://schemas.microsoft.com/office/drawing/2014/main" id="{E7853A7E-BDE3-83FE-C2D8-F1A6E1E7E2BC}"/>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20" name="Rectangle 19">
              <a:extLst>
                <a:ext uri="{FF2B5EF4-FFF2-40B4-BE49-F238E27FC236}">
                  <a16:creationId xmlns:a16="http://schemas.microsoft.com/office/drawing/2014/main" id="{34DB2373-6962-966D-2E31-FBDC74A74A26}"/>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F326C066-B176-1789-6317-1FD154AA778B}"/>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2" name="Rectangle 21">
              <a:extLst>
                <a:ext uri="{FF2B5EF4-FFF2-40B4-BE49-F238E27FC236}">
                  <a16:creationId xmlns:a16="http://schemas.microsoft.com/office/drawing/2014/main" id="{ADBA13AA-1181-730D-243C-3E9D0268D3F1}"/>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2BF695FC-594B-DC08-6D11-09E183D4C49C}"/>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24" name="Rectangle 23">
              <a:extLst>
                <a:ext uri="{FF2B5EF4-FFF2-40B4-BE49-F238E27FC236}">
                  <a16:creationId xmlns:a16="http://schemas.microsoft.com/office/drawing/2014/main" id="{529C2E11-11AF-E176-F6EA-036B6343F54A}"/>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16328977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9E6BB6A-4571-FBF8-9A7D-06ADE4374D4D}"/>
              </a:ext>
            </a:extLst>
          </p:cNvPr>
          <p:cNvGraphicFramePr>
            <a:graphicFrameLocks noChangeAspect="1"/>
          </p:cNvGraphicFramePr>
          <p:nvPr>
            <p:custDataLst>
              <p:tags r:id="rId1"/>
            </p:custDataLst>
            <p:extLst>
              <p:ext uri="{D42A27DB-BD31-4B8C-83A1-F6EECF244321}">
                <p14:modId xmlns:p14="http://schemas.microsoft.com/office/powerpoint/2010/main" val="2619657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D9E6BB6A-4571-FBF8-9A7D-06ADE4374D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Rectangle 49">
            <a:extLst>
              <a:ext uri="{FF2B5EF4-FFF2-40B4-BE49-F238E27FC236}">
                <a16:creationId xmlns:a16="http://schemas.microsoft.com/office/drawing/2014/main" id="{1A4BBEAC-6EB5-25F4-811D-DB45F02F0295}"/>
              </a:ext>
            </a:extLst>
          </p:cNvPr>
          <p:cNvSpPr/>
          <p:nvPr/>
        </p:nvSpPr>
        <p:spPr>
          <a:xfrm>
            <a:off x="2651760" y="4513587"/>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51" name="Rectangle 50">
            <a:extLst>
              <a:ext uri="{FF2B5EF4-FFF2-40B4-BE49-F238E27FC236}">
                <a16:creationId xmlns:a16="http://schemas.microsoft.com/office/drawing/2014/main" id="{0E0F8141-5C16-7EC2-B865-14B3D6B78AD4}"/>
              </a:ext>
            </a:extLst>
          </p:cNvPr>
          <p:cNvSpPr/>
          <p:nvPr/>
        </p:nvSpPr>
        <p:spPr>
          <a:xfrm>
            <a:off x="2651760" y="2630366"/>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40" name="Rectangle 39">
            <a:extLst>
              <a:ext uri="{FF2B5EF4-FFF2-40B4-BE49-F238E27FC236}">
                <a16:creationId xmlns:a16="http://schemas.microsoft.com/office/drawing/2014/main" id="{20F59D2F-1518-9016-5B9F-D2809CA79C07}"/>
              </a:ext>
            </a:extLst>
          </p:cNvPr>
          <p:cNvSpPr/>
          <p:nvPr/>
        </p:nvSpPr>
        <p:spPr>
          <a:xfrm>
            <a:off x="284753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41" name="Rectangle 40">
            <a:extLst>
              <a:ext uri="{FF2B5EF4-FFF2-40B4-BE49-F238E27FC236}">
                <a16:creationId xmlns:a16="http://schemas.microsoft.com/office/drawing/2014/main" id="{0EB00E11-8C1F-B5F4-5905-2A785933B1C2}"/>
              </a:ext>
            </a:extLst>
          </p:cNvPr>
          <p:cNvSpPr/>
          <p:nvPr/>
        </p:nvSpPr>
        <p:spPr>
          <a:xfrm>
            <a:off x="739616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42" name="Rectangle 41">
            <a:extLst>
              <a:ext uri="{FF2B5EF4-FFF2-40B4-BE49-F238E27FC236}">
                <a16:creationId xmlns:a16="http://schemas.microsoft.com/office/drawing/2014/main" id="{C5E2FBCB-4C78-8BA6-92C2-113E2A9A0F99}"/>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43" name="Content Placeholder 1">
            <a:extLst>
              <a:ext uri="{FF2B5EF4-FFF2-40B4-BE49-F238E27FC236}">
                <a16:creationId xmlns:a16="http://schemas.microsoft.com/office/drawing/2014/main" id="{E4B9AF95-5B50-0DDD-E36D-06F50BD88F73}"/>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4" name="Content Placeholder 1">
            <a:extLst>
              <a:ext uri="{FF2B5EF4-FFF2-40B4-BE49-F238E27FC236}">
                <a16:creationId xmlns:a16="http://schemas.microsoft.com/office/drawing/2014/main" id="{432432F1-3AAF-D466-9140-90195C502BE5}"/>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5" name="Google Shape;794;p79">
            <a:extLst>
              <a:ext uri="{FF2B5EF4-FFF2-40B4-BE49-F238E27FC236}">
                <a16:creationId xmlns:a16="http://schemas.microsoft.com/office/drawing/2014/main" id="{BBB618E7-38BE-5D5E-5829-50BF3F885A7A}"/>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6" name="Rectangle 45">
            <a:extLst>
              <a:ext uri="{FF2B5EF4-FFF2-40B4-BE49-F238E27FC236}">
                <a16:creationId xmlns:a16="http://schemas.microsoft.com/office/drawing/2014/main" id="{CCBFC508-29E6-E18C-F026-338E7CFE8F62}"/>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47" name="Content Placeholder 1">
            <a:extLst>
              <a:ext uri="{FF2B5EF4-FFF2-40B4-BE49-F238E27FC236}">
                <a16:creationId xmlns:a16="http://schemas.microsoft.com/office/drawing/2014/main" id="{2250920E-45D4-FCBD-658A-DADC92648ECC}"/>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8" name="Content Placeholder 1">
            <a:extLst>
              <a:ext uri="{FF2B5EF4-FFF2-40B4-BE49-F238E27FC236}">
                <a16:creationId xmlns:a16="http://schemas.microsoft.com/office/drawing/2014/main" id="{E5159085-1D43-0CA9-BCE2-A9337DBD2665}"/>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9" name="Google Shape;760;p79">
            <a:extLst>
              <a:ext uri="{FF2B5EF4-FFF2-40B4-BE49-F238E27FC236}">
                <a16:creationId xmlns:a16="http://schemas.microsoft.com/office/drawing/2014/main" id="{94C05F3C-8F40-7D2D-07B6-C191DB36D094}"/>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6" name="Rectangle 35">
            <a:extLst>
              <a:ext uri="{FF2B5EF4-FFF2-40B4-BE49-F238E27FC236}">
                <a16:creationId xmlns:a16="http://schemas.microsoft.com/office/drawing/2014/main" id="{A8F39C25-781C-A7DA-387A-D92FCABEE1F5}"/>
              </a:ext>
            </a:extLst>
          </p:cNvPr>
          <p:cNvSpPr/>
          <p:nvPr/>
        </p:nvSpPr>
        <p:spPr>
          <a:xfrm>
            <a:off x="442912" y="2630366"/>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Zemspriegums </a:t>
            </a:r>
            <a:endParaRPr lang="en-US" sz="1400" b="1"/>
          </a:p>
          <a:p>
            <a:pPr>
              <a:lnSpc>
                <a:spcPct val="100000"/>
              </a:lnSpc>
            </a:pPr>
            <a:r>
              <a:rPr lang="lv-LV" sz="1400" b="1"/>
              <a:t>(līdz 1000 V)</a:t>
            </a:r>
          </a:p>
        </p:txBody>
      </p:sp>
      <p:sp>
        <p:nvSpPr>
          <p:cNvPr id="37" name="Rectangle 36">
            <a:extLst>
              <a:ext uri="{FF2B5EF4-FFF2-40B4-BE49-F238E27FC236}">
                <a16:creationId xmlns:a16="http://schemas.microsoft.com/office/drawing/2014/main" id="{BD11DB78-D65B-9D3C-EED7-1721F1C9BCF6}"/>
              </a:ext>
            </a:extLst>
          </p:cNvPr>
          <p:cNvSpPr/>
          <p:nvPr/>
        </p:nvSpPr>
        <p:spPr>
          <a:xfrm>
            <a:off x="442912" y="4513587"/>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Augstspriegums </a:t>
            </a:r>
            <a:endParaRPr lang="en-US" sz="1400" b="1"/>
          </a:p>
          <a:p>
            <a:pPr>
              <a:lnSpc>
                <a:spcPct val="100000"/>
              </a:lnSpc>
            </a:pPr>
            <a:r>
              <a:rPr lang="lv-LV" sz="1400" b="1"/>
              <a:t>(virs 1000 V)</a:t>
            </a:r>
          </a:p>
        </p:txBody>
      </p:sp>
      <p:sp>
        <p:nvSpPr>
          <p:cNvPr id="38" name="Content Placeholder 1">
            <a:extLst>
              <a:ext uri="{FF2B5EF4-FFF2-40B4-BE49-F238E27FC236}">
                <a16:creationId xmlns:a16="http://schemas.microsoft.com/office/drawing/2014/main" id="{7B1F3CCD-2DE1-C2A8-D340-EAF5B3993679}"/>
              </a:ext>
            </a:extLst>
          </p:cNvPr>
          <p:cNvSpPr txBox="1">
            <a:spLocks/>
          </p:cNvSpPr>
          <p:nvPr/>
        </p:nvSpPr>
        <p:spPr>
          <a:xfrm>
            <a:off x="2579759" y="2630366"/>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9" name="Content Placeholder 1">
            <a:extLst>
              <a:ext uri="{FF2B5EF4-FFF2-40B4-BE49-F238E27FC236}">
                <a16:creationId xmlns:a16="http://schemas.microsoft.com/office/drawing/2014/main" id="{DCB78F50-A328-CF00-9A1A-F2F677D9CB38}"/>
              </a:ext>
            </a:extLst>
          </p:cNvPr>
          <p:cNvSpPr txBox="1">
            <a:spLocks/>
          </p:cNvSpPr>
          <p:nvPr/>
        </p:nvSpPr>
        <p:spPr>
          <a:xfrm>
            <a:off x="2579759" y="4513587"/>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2" y="443720"/>
            <a:ext cx="11306175" cy="1387275"/>
          </a:xfrm>
        </p:spPr>
        <p:txBody>
          <a:bodyPr vert="horz"/>
          <a:lstStyle/>
          <a:p>
            <a:r>
              <a:rPr lang="lv-LV"/>
              <a:t>Kā rīkoties elektrotraumu gadījum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28</a:t>
            </a:fld>
            <a:endParaRPr lang="en-GB"/>
          </a:p>
        </p:txBody>
      </p:sp>
      <p:sp>
        <p:nvSpPr>
          <p:cNvPr id="16" name="TextBox 15">
            <a:extLst>
              <a:ext uri="{FF2B5EF4-FFF2-40B4-BE49-F238E27FC236}">
                <a16:creationId xmlns:a16="http://schemas.microsoft.com/office/drawing/2014/main" id="{30819613-CE74-49B6-0807-44FDBB81D466}"/>
              </a:ext>
            </a:extLst>
          </p:cNvPr>
          <p:cNvSpPr txBox="1"/>
          <p:nvPr/>
        </p:nvSpPr>
        <p:spPr>
          <a:xfrm>
            <a:off x="2847530" y="2630366"/>
            <a:ext cx="4352925" cy="1658938"/>
          </a:xfrm>
          <a:prstGeom prst="rect">
            <a:avLst/>
          </a:prstGeom>
          <a:noFill/>
        </p:spPr>
        <p:txBody>
          <a:bodyPr wrap="square" lIns="72000" rIns="72000" anchor="ctr">
            <a:noAutofit/>
          </a:bodyPr>
          <a:lstStyle/>
          <a:p>
            <a:pPr marL="284400" lvl="1" indent="-284400" hangingPunct="0">
              <a:buBlip>
                <a:blip r:embed="rId6"/>
              </a:buBlip>
              <a:tabLst>
                <a:tab pos="457200" algn="l"/>
                <a:tab pos="1586230" algn="l"/>
              </a:tabLst>
            </a:pPr>
            <a:r>
              <a:rPr lang="lv-LV" sz="1400">
                <a:effectLst/>
                <a:ea typeface="Times New Roman" panose="02020603050405020304" pitchFamily="18" charset="0"/>
              </a:rPr>
              <a:t>Sargājiet sevi.</a:t>
            </a:r>
            <a:endParaRPr lang="en-GB" sz="1400">
              <a:effectLst/>
              <a:ea typeface="Times New Roman" panose="02020603050405020304" pitchFamily="18" charset="0"/>
            </a:endParaRPr>
          </a:p>
          <a:p>
            <a:pPr marL="284400" lvl="1" indent="-284400" hangingPunct="0">
              <a:buBlip>
                <a:blip r:embed="rId6"/>
              </a:buBlip>
              <a:tabLst>
                <a:tab pos="457200" algn="l"/>
                <a:tab pos="1586230" algn="l"/>
              </a:tabLst>
            </a:pPr>
            <a:r>
              <a:rPr lang="lv-LV" sz="1400">
                <a:effectLst/>
                <a:ea typeface="Times New Roman" panose="02020603050405020304" pitchFamily="18" charset="0"/>
              </a:rPr>
              <a:t>Atslēdziet strāvu.</a:t>
            </a:r>
            <a:endParaRPr lang="en-GB" sz="1400">
              <a:effectLst/>
              <a:ea typeface="Times New Roman" panose="02020603050405020304" pitchFamily="18" charset="0"/>
            </a:endParaRPr>
          </a:p>
          <a:p>
            <a:pPr marL="284400" lvl="1" indent="-284400" hangingPunct="0">
              <a:buBlip>
                <a:blip r:embed="rId6"/>
              </a:buBlip>
              <a:tabLst>
                <a:tab pos="457200" algn="l"/>
                <a:tab pos="1586230" algn="l"/>
              </a:tabLst>
            </a:pPr>
            <a:r>
              <a:rPr lang="lv-LV" sz="1400">
                <a:effectLst/>
                <a:ea typeface="Times New Roman" panose="02020603050405020304" pitchFamily="18" charset="0"/>
              </a:rPr>
              <a:t>Izsauciet Neatliekamo palīdzību.</a:t>
            </a:r>
            <a:endParaRPr lang="en-GB" sz="1400">
              <a:effectLst/>
              <a:ea typeface="Times New Roman" panose="02020603050405020304" pitchFamily="18" charset="0"/>
            </a:endParaRPr>
          </a:p>
          <a:p>
            <a:pPr marL="284400" lvl="1" indent="-284400" hangingPunct="0">
              <a:buBlip>
                <a:blip r:embed="rId6"/>
              </a:buBlip>
              <a:tabLst>
                <a:tab pos="457200" algn="l"/>
                <a:tab pos="1586230" algn="l"/>
              </a:tabLst>
            </a:pPr>
            <a:r>
              <a:rPr lang="lv-LV" sz="1400">
                <a:effectLst/>
                <a:ea typeface="Times New Roman" panose="02020603050405020304" pitchFamily="18" charset="0"/>
              </a:rPr>
              <a:t>Veiciet atdzīvināšanas pasākumus, ja nepieciešams.</a:t>
            </a:r>
            <a:endParaRPr lang="en-GB" sz="1400">
              <a:effectLst/>
              <a:ea typeface="Times New Roman" panose="02020603050405020304" pitchFamily="18" charset="0"/>
            </a:endParaRPr>
          </a:p>
        </p:txBody>
      </p:sp>
      <p:sp>
        <p:nvSpPr>
          <p:cNvPr id="18" name="TextBox 17">
            <a:extLst>
              <a:ext uri="{FF2B5EF4-FFF2-40B4-BE49-F238E27FC236}">
                <a16:creationId xmlns:a16="http://schemas.microsoft.com/office/drawing/2014/main" id="{E1D4AC8F-0322-E8A8-E509-5AF71473A8F4}"/>
              </a:ext>
            </a:extLst>
          </p:cNvPr>
          <p:cNvSpPr txBox="1"/>
          <p:nvPr/>
        </p:nvSpPr>
        <p:spPr>
          <a:xfrm>
            <a:off x="7396160" y="2630366"/>
            <a:ext cx="4352925" cy="1658938"/>
          </a:xfrm>
          <a:prstGeom prst="rect">
            <a:avLst/>
          </a:prstGeom>
          <a:noFill/>
        </p:spPr>
        <p:txBody>
          <a:bodyPr wrap="square" lIns="72000" rIns="72000" anchor="ctr">
            <a:noAutofit/>
          </a:bodyPr>
          <a:lstStyle/>
          <a:p>
            <a:pPr marL="284400" lvl="0" indent="-284400" hangingPunct="0">
              <a:buSzPts val="1200"/>
              <a:buBlip>
                <a:blip r:embed="rId6"/>
              </a:buBlip>
            </a:pPr>
            <a:r>
              <a:rPr lang="lv-LV" sz="1400">
                <a:effectLst/>
                <a:ea typeface="Calibri" panose="020F0502020204030204" pitchFamily="34" charset="0"/>
                <a:cs typeface="Times New Roman" panose="02020603050405020304" pitchFamily="18" charset="0"/>
              </a:rPr>
              <a:t>Neatliekamo palīdzību izsauciet vienmēr, jo arī šķietami labvēlīgas norises gadījumā cietušā stāvoklis vēlāk var būtiski pasliktināties. </a:t>
            </a:r>
            <a:endParaRPr lang="en-GB" sz="1400">
              <a:effectLst/>
              <a:ea typeface="Calibri" panose="020F0502020204030204" pitchFamily="34" charset="0"/>
              <a:cs typeface="Times New Roman" panose="02020603050405020304" pitchFamily="18" charset="0"/>
            </a:endParaRPr>
          </a:p>
        </p:txBody>
      </p:sp>
      <p:sp>
        <p:nvSpPr>
          <p:cNvPr id="20" name="TextBox 19">
            <a:extLst>
              <a:ext uri="{FF2B5EF4-FFF2-40B4-BE49-F238E27FC236}">
                <a16:creationId xmlns:a16="http://schemas.microsoft.com/office/drawing/2014/main" id="{BCB0856A-D775-E9B2-A22B-A661D9F8D43C}"/>
              </a:ext>
            </a:extLst>
          </p:cNvPr>
          <p:cNvSpPr txBox="1"/>
          <p:nvPr/>
        </p:nvSpPr>
        <p:spPr>
          <a:xfrm>
            <a:off x="2847530" y="4513587"/>
            <a:ext cx="4352925" cy="1658938"/>
          </a:xfrm>
          <a:prstGeom prst="rect">
            <a:avLst/>
          </a:prstGeom>
          <a:noFill/>
        </p:spPr>
        <p:txBody>
          <a:bodyPr wrap="square" lIns="72000" rIns="72000" anchor="ctr">
            <a:noAutofit/>
          </a:bodyPr>
          <a:lstStyle/>
          <a:p>
            <a:pPr marL="284400" lvl="0" indent="-284400" hangingPunct="0">
              <a:buBlip>
                <a:blip r:embed="rId6"/>
              </a:buBlip>
              <a:tabLst>
                <a:tab pos="457200" algn="l"/>
              </a:tabLst>
            </a:pPr>
            <a:r>
              <a:rPr lang="lv-LV" sz="1400">
                <a:effectLst/>
                <a:ea typeface="Times New Roman" panose="02020603050405020304" pitchFamily="18" charset="0"/>
              </a:rPr>
              <a:t>Netuvojieties nelaimes gadījuma vietai, sargieties no soļa sprieguma un elektriskā loka izlādes.</a:t>
            </a:r>
            <a:endParaRPr lang="en-GB" sz="1400">
              <a:effectLst/>
              <a:ea typeface="Times New Roman" panose="02020603050405020304" pitchFamily="18" charset="0"/>
            </a:endParaRPr>
          </a:p>
          <a:p>
            <a:pPr marL="284400" lvl="0" indent="-284400" hangingPunct="0">
              <a:buBlip>
                <a:blip r:embed="rId6"/>
              </a:buBlip>
              <a:tabLst>
                <a:tab pos="457200" algn="l"/>
              </a:tabLst>
            </a:pPr>
            <a:r>
              <a:rPr lang="lv-LV" sz="1400">
                <a:effectLst/>
                <a:ea typeface="Times New Roman" panose="02020603050405020304" pitchFamily="18" charset="0"/>
              </a:rPr>
              <a:t>Izsauciet Neatliekamo palīdzību, informējiet par augstspriegumu.</a:t>
            </a:r>
            <a:endParaRPr lang="en-GB" sz="1400">
              <a:effectLst/>
              <a:ea typeface="Times New Roman" panose="02020603050405020304" pitchFamily="18" charset="0"/>
            </a:endParaRPr>
          </a:p>
          <a:p>
            <a:pPr marL="284400" lvl="0" indent="-284400" hangingPunct="0">
              <a:buBlip>
                <a:blip r:embed="rId6"/>
              </a:buBlip>
              <a:tabLst>
                <a:tab pos="457200" algn="l"/>
              </a:tabLst>
            </a:pPr>
            <a:r>
              <a:rPr lang="lv-LV" sz="1400">
                <a:effectLst/>
                <a:ea typeface="Times New Roman" panose="02020603050405020304" pitchFamily="18" charset="0"/>
              </a:rPr>
              <a:t>Veiciet atdzīvināšanas pasākumus, ja nepieciešams, tikai tad, kad atslēgta augstsprieguma strāva.</a:t>
            </a:r>
            <a:endParaRPr lang="en-GB" sz="1400">
              <a:effectLst/>
              <a:ea typeface="Times New Roman" panose="02020603050405020304" pitchFamily="18" charset="0"/>
            </a:endParaRPr>
          </a:p>
        </p:txBody>
      </p:sp>
      <p:sp>
        <p:nvSpPr>
          <p:cNvPr id="22" name="TextBox 21">
            <a:extLst>
              <a:ext uri="{FF2B5EF4-FFF2-40B4-BE49-F238E27FC236}">
                <a16:creationId xmlns:a16="http://schemas.microsoft.com/office/drawing/2014/main" id="{044C1CE5-09D8-63ED-7E23-4A59A70CC41B}"/>
              </a:ext>
            </a:extLst>
          </p:cNvPr>
          <p:cNvSpPr txBox="1"/>
          <p:nvPr/>
        </p:nvSpPr>
        <p:spPr>
          <a:xfrm>
            <a:off x="7396160" y="4513587"/>
            <a:ext cx="4352925" cy="1658938"/>
          </a:xfrm>
          <a:prstGeom prst="rect">
            <a:avLst/>
          </a:prstGeom>
          <a:noFill/>
        </p:spPr>
        <p:txBody>
          <a:bodyPr wrap="square" lIns="72000" rIns="72000" anchor="ctr">
            <a:noAutofit/>
          </a:bodyPr>
          <a:lstStyle/>
          <a:p>
            <a:pPr marL="284400" lvl="0" indent="-284400" hangingPunct="0">
              <a:buBlip>
                <a:blip r:embed="rId6"/>
              </a:buBlip>
            </a:pPr>
            <a:r>
              <a:rPr lang="lv-LV" sz="1400">
                <a:effectLst/>
                <a:ea typeface="Calibri" panose="020F0502020204030204" pitchFamily="34" charset="0"/>
                <a:cs typeface="Times New Roman" panose="02020603050405020304" pitchFamily="18" charset="0"/>
              </a:rPr>
              <a:t>Arī zibens izraisīta trauma ir elektrotrauma. Ja nepieciešams, veiciet atdzīvināšanas pasākumus un vienmēr izsauciet Neatliekamo palīdzību.</a:t>
            </a:r>
            <a:endParaRPr lang="en-GB" sz="1400">
              <a:effectLst/>
              <a:ea typeface="Calibri" panose="020F0502020204030204" pitchFamily="34" charset="0"/>
              <a:cs typeface="Times New Roman" panose="02020603050405020304" pitchFamily="18" charset="0"/>
            </a:endParaRPr>
          </a:p>
        </p:txBody>
      </p:sp>
      <p:sp>
        <p:nvSpPr>
          <p:cNvPr id="2" name="Google Shape;679;p78">
            <a:extLst>
              <a:ext uri="{FF2B5EF4-FFF2-40B4-BE49-F238E27FC236}">
                <a16:creationId xmlns:a16="http://schemas.microsoft.com/office/drawing/2014/main" id="{B893D956-176C-11CE-8C57-0284D21830E0}"/>
              </a:ext>
            </a:extLst>
          </p:cNvPr>
          <p:cNvSpPr/>
          <p:nvPr/>
        </p:nvSpPr>
        <p:spPr>
          <a:xfrm>
            <a:off x="2021278" y="3724727"/>
            <a:ext cx="360363" cy="360363"/>
          </a:xfrm>
          <a:custGeom>
            <a:avLst/>
            <a:gdLst/>
            <a:ahLst/>
            <a:cxnLst/>
            <a:rect l="l" t="t" r="r" b="b"/>
            <a:pathLst>
              <a:path w="704" h="706" extrusionOk="0">
                <a:moveTo>
                  <a:pt x="0" y="0"/>
                </a:moveTo>
                <a:lnTo>
                  <a:pt x="0" y="706"/>
                </a:lnTo>
                <a:lnTo>
                  <a:pt x="98" y="706"/>
                </a:lnTo>
                <a:lnTo>
                  <a:pt x="98" y="312"/>
                </a:lnTo>
                <a:lnTo>
                  <a:pt x="208" y="312"/>
                </a:lnTo>
                <a:lnTo>
                  <a:pt x="208" y="706"/>
                </a:lnTo>
                <a:lnTo>
                  <a:pt x="297" y="706"/>
                </a:lnTo>
                <a:lnTo>
                  <a:pt x="297" y="482"/>
                </a:lnTo>
                <a:lnTo>
                  <a:pt x="407" y="482"/>
                </a:lnTo>
                <a:lnTo>
                  <a:pt x="407" y="706"/>
                </a:lnTo>
                <a:lnTo>
                  <a:pt x="496" y="706"/>
                </a:lnTo>
                <a:lnTo>
                  <a:pt x="496" y="608"/>
                </a:lnTo>
                <a:lnTo>
                  <a:pt x="606" y="608"/>
                </a:lnTo>
                <a:lnTo>
                  <a:pt x="606" y="706"/>
                </a:lnTo>
                <a:lnTo>
                  <a:pt x="704" y="706"/>
                </a:lnTo>
                <a:lnTo>
                  <a:pt x="704" y="0"/>
                </a:lnTo>
                <a:lnTo>
                  <a:pt x="0" y="0"/>
                </a:lnTo>
                <a:close/>
                <a:moveTo>
                  <a:pt x="675" y="676"/>
                </a:moveTo>
                <a:lnTo>
                  <a:pt x="635" y="676"/>
                </a:lnTo>
                <a:lnTo>
                  <a:pt x="635" y="578"/>
                </a:lnTo>
                <a:lnTo>
                  <a:pt x="467" y="578"/>
                </a:lnTo>
                <a:lnTo>
                  <a:pt x="467" y="676"/>
                </a:lnTo>
                <a:lnTo>
                  <a:pt x="436" y="676"/>
                </a:lnTo>
                <a:lnTo>
                  <a:pt x="436" y="452"/>
                </a:lnTo>
                <a:lnTo>
                  <a:pt x="268" y="452"/>
                </a:lnTo>
                <a:lnTo>
                  <a:pt x="268" y="676"/>
                </a:lnTo>
                <a:lnTo>
                  <a:pt x="237" y="676"/>
                </a:lnTo>
                <a:lnTo>
                  <a:pt x="237" y="282"/>
                </a:lnTo>
                <a:lnTo>
                  <a:pt x="68" y="282"/>
                </a:lnTo>
                <a:lnTo>
                  <a:pt x="68" y="676"/>
                </a:lnTo>
                <a:lnTo>
                  <a:pt x="30" y="676"/>
                </a:lnTo>
                <a:lnTo>
                  <a:pt x="30" y="31"/>
                </a:lnTo>
                <a:lnTo>
                  <a:pt x="154" y="31"/>
                </a:lnTo>
                <a:lnTo>
                  <a:pt x="385" y="262"/>
                </a:lnTo>
                <a:lnTo>
                  <a:pt x="353" y="295"/>
                </a:lnTo>
                <a:lnTo>
                  <a:pt x="560" y="502"/>
                </a:lnTo>
                <a:lnTo>
                  <a:pt x="490" y="502"/>
                </a:lnTo>
                <a:lnTo>
                  <a:pt x="490" y="533"/>
                </a:lnTo>
                <a:lnTo>
                  <a:pt x="611" y="533"/>
                </a:lnTo>
                <a:lnTo>
                  <a:pt x="611" y="412"/>
                </a:lnTo>
                <a:lnTo>
                  <a:pt x="582" y="412"/>
                </a:lnTo>
                <a:lnTo>
                  <a:pt x="582" y="482"/>
                </a:lnTo>
                <a:lnTo>
                  <a:pt x="396" y="295"/>
                </a:lnTo>
                <a:lnTo>
                  <a:pt x="428" y="262"/>
                </a:lnTo>
                <a:lnTo>
                  <a:pt x="197" y="31"/>
                </a:lnTo>
                <a:lnTo>
                  <a:pt x="675" y="31"/>
                </a:lnTo>
                <a:lnTo>
                  <a:pt x="675" y="676"/>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b="1">
              <a:solidFill>
                <a:schemeClr val="accent1"/>
              </a:solidFill>
              <a:latin typeface="Arial"/>
              <a:ea typeface="Arial"/>
              <a:cs typeface="Arial"/>
              <a:sym typeface="Arial"/>
            </a:endParaRPr>
          </a:p>
        </p:txBody>
      </p:sp>
      <p:sp>
        <p:nvSpPr>
          <p:cNvPr id="5" name="Google Shape;747;p79">
            <a:extLst>
              <a:ext uri="{FF2B5EF4-FFF2-40B4-BE49-F238E27FC236}">
                <a16:creationId xmlns:a16="http://schemas.microsoft.com/office/drawing/2014/main" id="{B0E2286B-FF4C-E63E-93B0-B50375ED16F4}"/>
              </a:ext>
            </a:extLst>
          </p:cNvPr>
          <p:cNvSpPr/>
          <p:nvPr/>
        </p:nvSpPr>
        <p:spPr>
          <a:xfrm>
            <a:off x="2021278" y="5642770"/>
            <a:ext cx="360363" cy="360363"/>
          </a:xfrm>
          <a:custGeom>
            <a:avLst/>
            <a:gdLst/>
            <a:ahLst/>
            <a:cxnLst/>
            <a:rect l="l" t="t" r="r" b="b"/>
            <a:pathLst>
              <a:path w="704" h="706" extrusionOk="0">
                <a:moveTo>
                  <a:pt x="0" y="0"/>
                </a:moveTo>
                <a:lnTo>
                  <a:pt x="0" y="706"/>
                </a:lnTo>
                <a:lnTo>
                  <a:pt x="98" y="706"/>
                </a:lnTo>
                <a:lnTo>
                  <a:pt x="98" y="608"/>
                </a:lnTo>
                <a:lnTo>
                  <a:pt x="208" y="608"/>
                </a:lnTo>
                <a:lnTo>
                  <a:pt x="208" y="706"/>
                </a:lnTo>
                <a:lnTo>
                  <a:pt x="297" y="706"/>
                </a:lnTo>
                <a:lnTo>
                  <a:pt x="297" y="482"/>
                </a:lnTo>
                <a:lnTo>
                  <a:pt x="407" y="482"/>
                </a:lnTo>
                <a:lnTo>
                  <a:pt x="407" y="706"/>
                </a:lnTo>
                <a:lnTo>
                  <a:pt x="496" y="706"/>
                </a:lnTo>
                <a:lnTo>
                  <a:pt x="496" y="313"/>
                </a:lnTo>
                <a:lnTo>
                  <a:pt x="606" y="313"/>
                </a:lnTo>
                <a:lnTo>
                  <a:pt x="606" y="706"/>
                </a:lnTo>
                <a:lnTo>
                  <a:pt x="704" y="706"/>
                </a:lnTo>
                <a:lnTo>
                  <a:pt x="704" y="0"/>
                </a:lnTo>
                <a:lnTo>
                  <a:pt x="0" y="0"/>
                </a:lnTo>
                <a:close/>
                <a:moveTo>
                  <a:pt x="673" y="675"/>
                </a:moveTo>
                <a:lnTo>
                  <a:pt x="636" y="675"/>
                </a:lnTo>
                <a:lnTo>
                  <a:pt x="636" y="282"/>
                </a:lnTo>
                <a:lnTo>
                  <a:pt x="467" y="282"/>
                </a:lnTo>
                <a:lnTo>
                  <a:pt x="467" y="675"/>
                </a:lnTo>
                <a:lnTo>
                  <a:pt x="436" y="675"/>
                </a:lnTo>
                <a:lnTo>
                  <a:pt x="436" y="451"/>
                </a:lnTo>
                <a:lnTo>
                  <a:pt x="268" y="451"/>
                </a:lnTo>
                <a:lnTo>
                  <a:pt x="268" y="675"/>
                </a:lnTo>
                <a:lnTo>
                  <a:pt x="237" y="675"/>
                </a:lnTo>
                <a:lnTo>
                  <a:pt x="237" y="577"/>
                </a:lnTo>
                <a:lnTo>
                  <a:pt x="68" y="577"/>
                </a:lnTo>
                <a:lnTo>
                  <a:pt x="68" y="675"/>
                </a:lnTo>
                <a:lnTo>
                  <a:pt x="31" y="675"/>
                </a:lnTo>
                <a:lnTo>
                  <a:pt x="31" y="569"/>
                </a:lnTo>
                <a:lnTo>
                  <a:pt x="259" y="342"/>
                </a:lnTo>
                <a:lnTo>
                  <a:pt x="299" y="381"/>
                </a:lnTo>
                <a:lnTo>
                  <a:pt x="538" y="143"/>
                </a:lnTo>
                <a:lnTo>
                  <a:pt x="538" y="213"/>
                </a:lnTo>
                <a:lnTo>
                  <a:pt x="567" y="213"/>
                </a:lnTo>
                <a:lnTo>
                  <a:pt x="567" y="92"/>
                </a:lnTo>
                <a:lnTo>
                  <a:pt x="446" y="92"/>
                </a:lnTo>
                <a:lnTo>
                  <a:pt x="446" y="123"/>
                </a:lnTo>
                <a:lnTo>
                  <a:pt x="516" y="123"/>
                </a:lnTo>
                <a:lnTo>
                  <a:pt x="299" y="340"/>
                </a:lnTo>
                <a:lnTo>
                  <a:pt x="258" y="299"/>
                </a:lnTo>
                <a:lnTo>
                  <a:pt x="31" y="527"/>
                </a:lnTo>
                <a:lnTo>
                  <a:pt x="31" y="31"/>
                </a:lnTo>
                <a:lnTo>
                  <a:pt x="673" y="31"/>
                </a:lnTo>
                <a:lnTo>
                  <a:pt x="673" y="675"/>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 name="Rectangle 5">
            <a:extLst>
              <a:ext uri="{FF2B5EF4-FFF2-40B4-BE49-F238E27FC236}">
                <a16:creationId xmlns:a16="http://schemas.microsoft.com/office/drawing/2014/main" id="{B43CD9A4-2C97-7D6A-7A53-C7898F589C28}"/>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17" name="Group 16">
            <a:extLst>
              <a:ext uri="{FF2B5EF4-FFF2-40B4-BE49-F238E27FC236}">
                <a16:creationId xmlns:a16="http://schemas.microsoft.com/office/drawing/2014/main" id="{94004B0E-52BD-56B9-A17A-2417C950F3F8}"/>
              </a:ext>
            </a:extLst>
          </p:cNvPr>
          <p:cNvGrpSpPr/>
          <p:nvPr/>
        </p:nvGrpSpPr>
        <p:grpSpPr>
          <a:xfrm>
            <a:off x="9842140" y="372216"/>
            <a:ext cx="1667215" cy="217488"/>
            <a:chOff x="9842140" y="372216"/>
            <a:chExt cx="1667215" cy="217488"/>
          </a:xfrm>
        </p:grpSpPr>
        <p:sp>
          <p:nvSpPr>
            <p:cNvPr id="19" name="TextBox 18">
              <a:extLst>
                <a:ext uri="{FF2B5EF4-FFF2-40B4-BE49-F238E27FC236}">
                  <a16:creationId xmlns:a16="http://schemas.microsoft.com/office/drawing/2014/main" id="{08D1B730-3E4A-E251-98BF-4207441A6F9C}"/>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Elektrotraumas</a:t>
              </a:r>
            </a:p>
          </p:txBody>
        </p:sp>
        <p:sp>
          <p:nvSpPr>
            <p:cNvPr id="21" name="Freeform 49">
              <a:extLst>
                <a:ext uri="{FF2B5EF4-FFF2-40B4-BE49-F238E27FC236}">
                  <a16:creationId xmlns:a16="http://schemas.microsoft.com/office/drawing/2014/main" id="{76E521C5-7816-ABBC-525A-901979C4185E}"/>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15" name="Group 14">
            <a:extLst>
              <a:ext uri="{FF2B5EF4-FFF2-40B4-BE49-F238E27FC236}">
                <a16:creationId xmlns:a16="http://schemas.microsoft.com/office/drawing/2014/main" id="{B7D6516D-C7D7-0365-5562-E2E5FA6EB832}"/>
              </a:ext>
            </a:extLst>
          </p:cNvPr>
          <p:cNvGrpSpPr/>
          <p:nvPr/>
        </p:nvGrpSpPr>
        <p:grpSpPr>
          <a:xfrm>
            <a:off x="9122935" y="126781"/>
            <a:ext cx="2626153" cy="217488"/>
            <a:chOff x="9122935" y="126781"/>
            <a:chExt cx="2626153" cy="217488"/>
          </a:xfrm>
        </p:grpSpPr>
        <p:sp>
          <p:nvSpPr>
            <p:cNvPr id="23" name="Rectangle 22">
              <a:extLst>
                <a:ext uri="{FF2B5EF4-FFF2-40B4-BE49-F238E27FC236}">
                  <a16:creationId xmlns:a16="http://schemas.microsoft.com/office/drawing/2014/main" id="{04AACD79-FFE2-2A73-959F-170936309D0B}"/>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24" name="Rectangle 23">
              <a:extLst>
                <a:ext uri="{FF2B5EF4-FFF2-40B4-BE49-F238E27FC236}">
                  <a16:creationId xmlns:a16="http://schemas.microsoft.com/office/drawing/2014/main" id="{EB9AC966-DF98-B2D1-62F1-2D3B4969C2FD}"/>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5" name="Rectangle 24">
              <a:extLst>
                <a:ext uri="{FF2B5EF4-FFF2-40B4-BE49-F238E27FC236}">
                  <a16:creationId xmlns:a16="http://schemas.microsoft.com/office/drawing/2014/main" id="{7264A36B-4380-867C-68B2-D7B3E1E6D017}"/>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6" name="Rectangle 25">
              <a:extLst>
                <a:ext uri="{FF2B5EF4-FFF2-40B4-BE49-F238E27FC236}">
                  <a16:creationId xmlns:a16="http://schemas.microsoft.com/office/drawing/2014/main" id="{71FF3738-E1CB-298C-AFEF-4B405098F2B2}"/>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8F8A258D-9275-95D4-758B-036F143DC905}"/>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28" name="Rectangle 27">
              <a:extLst>
                <a:ext uri="{FF2B5EF4-FFF2-40B4-BE49-F238E27FC236}">
                  <a16:creationId xmlns:a16="http://schemas.microsoft.com/office/drawing/2014/main" id="{2B08BC66-C00C-A92C-6EBD-5CEBA026389C}"/>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27552311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CFA2E8-0775-D340-DF72-3AC623CD1A2E}"/>
              </a:ext>
            </a:extLst>
          </p:cNvPr>
          <p:cNvGraphicFramePr>
            <a:graphicFrameLocks noChangeAspect="1"/>
          </p:cNvGraphicFramePr>
          <p:nvPr>
            <p:custDataLst>
              <p:tags r:id="rId1"/>
            </p:custDataLst>
            <p:extLst>
              <p:ext uri="{D42A27DB-BD31-4B8C-83A1-F6EECF244321}">
                <p14:modId xmlns:p14="http://schemas.microsoft.com/office/powerpoint/2010/main" val="2728702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0DCFA2E8-0775-D340-DF72-3AC623CD1A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0" name="Picture 69">
            <a:extLst>
              <a:ext uri="{FF2B5EF4-FFF2-40B4-BE49-F238E27FC236}">
                <a16:creationId xmlns:a16="http://schemas.microsoft.com/office/drawing/2014/main" id="{201E7002-41DC-209F-D2DC-9D687999BD7E}"/>
              </a:ext>
            </a:extLst>
          </p:cNvPr>
          <p:cNvPicPr>
            <a:picLocks noChangeAspect="1"/>
          </p:cNvPicPr>
          <p:nvPr/>
        </p:nvPicPr>
        <p:blipFill>
          <a:blip r:embed="rId6"/>
          <a:stretch>
            <a:fillRect/>
          </a:stretch>
        </p:blipFill>
        <p:spPr>
          <a:xfrm>
            <a:off x="7620000" y="0"/>
            <a:ext cx="4572000" cy="6858000"/>
          </a:xfrm>
          <a:prstGeom prst="rect">
            <a:avLst/>
          </a:prstGeom>
        </p:spPr>
      </p:pic>
      <p:sp>
        <p:nvSpPr>
          <p:cNvPr id="65" name="Rectangle 64">
            <a:extLst>
              <a:ext uri="{FF2B5EF4-FFF2-40B4-BE49-F238E27FC236}">
                <a16:creationId xmlns:a16="http://schemas.microsoft.com/office/drawing/2014/main" id="{A66567BC-F479-C8B0-F1F1-1178C47EDF98}"/>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a:lstStyle/>
          <a:p>
            <a:r>
              <a:rPr lang="lv-LV"/>
              <a:t>Kā palīdzēt cietušajam </a:t>
            </a:r>
            <a:br>
              <a:rPr lang="en-US"/>
            </a:br>
            <a:r>
              <a:rPr lang="lv-LV"/>
              <a:t>slīkšanas gadījum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solidFill>
                  <a:schemeClr val="bg1"/>
                </a:solidFill>
              </a:rPr>
              <a:pPr/>
              <a:t>29</a:t>
            </a:fld>
            <a:endParaRPr lang="en-GB">
              <a:solidFill>
                <a:schemeClr val="bg1"/>
              </a:solidFill>
            </a:endParaRPr>
          </a:p>
        </p:txBody>
      </p:sp>
      <p:sp>
        <p:nvSpPr>
          <p:cNvPr id="17" name="Rectangle 16">
            <a:extLst>
              <a:ext uri="{FF2B5EF4-FFF2-40B4-BE49-F238E27FC236}">
                <a16:creationId xmlns:a16="http://schemas.microsoft.com/office/drawing/2014/main" id="{6FA36F9D-90F9-114F-5453-39394D16CFF6}"/>
              </a:ext>
            </a:extLst>
          </p:cNvPr>
          <p:cNvSpPr/>
          <p:nvPr/>
        </p:nvSpPr>
        <p:spPr>
          <a:xfrm>
            <a:off x="7619998" y="2398554"/>
            <a:ext cx="4129089"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a:spcAft>
                <a:spcPts val="600"/>
              </a:spcAft>
              <a:buBlip>
                <a:blip r:embed="rId7"/>
              </a:buBlip>
            </a:pPr>
            <a:r>
              <a:rPr lang="lv-LV" sz="1400">
                <a:solidFill>
                  <a:schemeClr val="tx1"/>
                </a:solidFill>
              </a:rPr>
              <a:t>Cilvēks ar traucētu apziņu var slīkt arī vannā, peļķē, dārza baseinā u.c.</a:t>
            </a:r>
          </a:p>
          <a:p>
            <a:pPr marL="285750" indent="-285750">
              <a:spcAft>
                <a:spcPts val="600"/>
              </a:spcAft>
              <a:buBlip>
                <a:blip r:embed="rId7"/>
              </a:buBlip>
            </a:pPr>
            <a:r>
              <a:rPr lang="lv-LV" sz="1400">
                <a:solidFill>
                  <a:schemeClr val="tx1"/>
                </a:solidFill>
              </a:rPr>
              <a:t>Neatliekamo palīdzību izsauciet vienmēr, jo arī šķietami labvēlīgas norises gadījumā cietušā stāvoklis vēlāk var būtiski pasliktināties. </a:t>
            </a:r>
          </a:p>
          <a:p>
            <a:pPr marL="285750" indent="-285750">
              <a:spcAft>
                <a:spcPts val="600"/>
              </a:spcAft>
              <a:buBlip>
                <a:blip r:embed="rId7"/>
              </a:buBlip>
            </a:pPr>
            <a:r>
              <a:rPr lang="lv-LV" sz="1400">
                <a:solidFill>
                  <a:schemeClr val="tx1"/>
                </a:solidFill>
              </a:rPr>
              <a:t>Ja esat nelaimes aculiecinieks, centieties pēc iespējas labāk iegaumēt notikuma vietu, izmantojiet orientierus gan uz ūdens, gan krastā, lai varētu glābējiem precīzāk norādīt vietu, kur notikusi nelaime.</a:t>
            </a:r>
          </a:p>
          <a:p>
            <a:pPr marL="285750" indent="-285750">
              <a:spcAft>
                <a:spcPts val="600"/>
              </a:spcAft>
              <a:buBlip>
                <a:blip r:embed="rId7"/>
              </a:buBlip>
            </a:pPr>
            <a:r>
              <a:rPr lang="lv-LV" sz="1400">
                <a:solidFill>
                  <a:schemeClr val="tx1"/>
                </a:solidFill>
              </a:rPr>
              <a:t>Vairāk informācijas </a:t>
            </a:r>
            <a:r>
              <a:rPr lang="lv-LV" sz="1400" b="1" u="sng">
                <a:solidFill>
                  <a:schemeClr val="tx1"/>
                </a:solidFill>
                <a:hlinkClick r:id="rId8"/>
              </a:rPr>
              <a:t>šeit</a:t>
            </a:r>
            <a:endParaRPr lang="lv-LV" sz="1400" b="1" u="sng">
              <a:solidFill>
                <a:schemeClr val="tx1"/>
              </a:solidFill>
            </a:endParaRPr>
          </a:p>
        </p:txBody>
      </p:sp>
      <p:sp>
        <p:nvSpPr>
          <p:cNvPr id="18" name="TextBox 17">
            <a:extLst>
              <a:ext uri="{FF2B5EF4-FFF2-40B4-BE49-F238E27FC236}">
                <a16:creationId xmlns:a16="http://schemas.microsoft.com/office/drawing/2014/main" id="{D0D5258A-7E40-C195-904C-0D59B96D8721}"/>
              </a:ext>
            </a:extLst>
          </p:cNvPr>
          <p:cNvSpPr txBox="1"/>
          <p:nvPr/>
        </p:nvSpPr>
        <p:spPr>
          <a:xfrm>
            <a:off x="1297953" y="2792791"/>
            <a:ext cx="5879131" cy="360000"/>
          </a:xfrm>
          <a:prstGeom prst="rect">
            <a:avLst/>
          </a:prstGeom>
          <a:noFill/>
        </p:spPr>
        <p:txBody>
          <a:bodyPr wrap="square" anchor="ctr">
            <a:noAutofit/>
          </a:bodyPr>
          <a:lstStyle/>
          <a:p>
            <a:pPr>
              <a:spcAft>
                <a:spcPts val="0"/>
              </a:spcAft>
            </a:pPr>
            <a:r>
              <a:rPr lang="lv-LV" sz="1400">
                <a:solidFill>
                  <a:schemeClr val="tx1"/>
                </a:solidFill>
              </a:rPr>
              <a:t>Glābiet cietušo tikai tad, ja tas neapdraud </a:t>
            </a:r>
            <a:r>
              <a:rPr lang="lv-LV" sz="1400"/>
              <a:t>Jūsu</a:t>
            </a:r>
            <a:r>
              <a:rPr lang="lv-LV" sz="1400">
                <a:solidFill>
                  <a:schemeClr val="tx1"/>
                </a:solidFill>
              </a:rPr>
              <a:t> dzīvību.</a:t>
            </a:r>
          </a:p>
        </p:txBody>
      </p:sp>
      <p:sp>
        <p:nvSpPr>
          <p:cNvPr id="25" name="Content Placeholder 1">
            <a:extLst>
              <a:ext uri="{FF2B5EF4-FFF2-40B4-BE49-F238E27FC236}">
                <a16:creationId xmlns:a16="http://schemas.microsoft.com/office/drawing/2014/main" id="{F90FB644-2ECF-579C-968C-E4B723BA5A4A}"/>
              </a:ext>
            </a:extLst>
          </p:cNvPr>
          <p:cNvSpPr txBox="1">
            <a:spLocks/>
          </p:cNvSpPr>
          <p:nvPr/>
        </p:nvSpPr>
        <p:spPr>
          <a:xfrm>
            <a:off x="441325" y="3451261"/>
            <a:ext cx="630238" cy="88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2</a:t>
            </a:r>
          </a:p>
        </p:txBody>
      </p:sp>
      <p:sp>
        <p:nvSpPr>
          <p:cNvPr id="26" name="Content Placeholder 1">
            <a:extLst>
              <a:ext uri="{FF2B5EF4-FFF2-40B4-BE49-F238E27FC236}">
                <a16:creationId xmlns:a16="http://schemas.microsoft.com/office/drawing/2014/main" id="{81B54A20-703E-18F4-F82D-7F7C7C1E55E0}"/>
              </a:ext>
            </a:extLst>
          </p:cNvPr>
          <p:cNvSpPr txBox="1">
            <a:spLocks/>
          </p:cNvSpPr>
          <p:nvPr/>
        </p:nvSpPr>
        <p:spPr>
          <a:xfrm>
            <a:off x="441325" y="4370731"/>
            <a:ext cx="630238" cy="88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3</a:t>
            </a:r>
          </a:p>
        </p:txBody>
      </p:sp>
      <p:sp>
        <p:nvSpPr>
          <p:cNvPr id="27" name="Content Placeholder 1">
            <a:extLst>
              <a:ext uri="{FF2B5EF4-FFF2-40B4-BE49-F238E27FC236}">
                <a16:creationId xmlns:a16="http://schemas.microsoft.com/office/drawing/2014/main" id="{057BA24F-824C-F813-F48B-B72FDA4806E5}"/>
              </a:ext>
            </a:extLst>
          </p:cNvPr>
          <p:cNvSpPr txBox="1">
            <a:spLocks/>
          </p:cNvSpPr>
          <p:nvPr/>
        </p:nvSpPr>
        <p:spPr>
          <a:xfrm>
            <a:off x="441325" y="5290201"/>
            <a:ext cx="630238" cy="88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4</a:t>
            </a:r>
          </a:p>
        </p:txBody>
      </p:sp>
      <p:sp>
        <p:nvSpPr>
          <p:cNvPr id="32" name="TextBox 31">
            <a:extLst>
              <a:ext uri="{FF2B5EF4-FFF2-40B4-BE49-F238E27FC236}">
                <a16:creationId xmlns:a16="http://schemas.microsoft.com/office/drawing/2014/main" id="{4856FA89-D34A-DD8D-457A-FE1983E9ECD3}"/>
              </a:ext>
            </a:extLst>
          </p:cNvPr>
          <p:cNvSpPr txBox="1"/>
          <p:nvPr/>
        </p:nvSpPr>
        <p:spPr>
          <a:xfrm>
            <a:off x="1297953" y="3712261"/>
            <a:ext cx="5879131" cy="360000"/>
          </a:xfrm>
          <a:prstGeom prst="rect">
            <a:avLst/>
          </a:prstGeom>
          <a:noFill/>
        </p:spPr>
        <p:txBody>
          <a:bodyPr wrap="square" anchor="ctr">
            <a:noAutofit/>
          </a:bodyPr>
          <a:lstStyle/>
          <a:p>
            <a:pPr>
              <a:spcAft>
                <a:spcPts val="0"/>
              </a:spcAft>
            </a:pPr>
            <a:r>
              <a:rPr lang="lv-LV" sz="1400">
                <a:solidFill>
                  <a:schemeClr val="tx1"/>
                </a:solidFill>
              </a:rPr>
              <a:t>Visdrošākā ir glābšana no krasta, pametiet virvē iesietu glābšanas riņķi. Noderēs arī bumba, tukša plastmasas pudele vai kādi citi peldoši priekšmeti, kuri slīkstošajam palīdzētu noturēties virs ūdens.</a:t>
            </a:r>
          </a:p>
        </p:txBody>
      </p:sp>
      <p:sp>
        <p:nvSpPr>
          <p:cNvPr id="33" name="TextBox 32">
            <a:extLst>
              <a:ext uri="{FF2B5EF4-FFF2-40B4-BE49-F238E27FC236}">
                <a16:creationId xmlns:a16="http://schemas.microsoft.com/office/drawing/2014/main" id="{5F20B02B-319A-56A8-B3AD-0245CFA22F57}"/>
              </a:ext>
            </a:extLst>
          </p:cNvPr>
          <p:cNvSpPr txBox="1"/>
          <p:nvPr/>
        </p:nvSpPr>
        <p:spPr>
          <a:xfrm>
            <a:off x="1297953" y="5551201"/>
            <a:ext cx="5879131" cy="360000"/>
          </a:xfrm>
          <a:prstGeom prst="rect">
            <a:avLst/>
          </a:prstGeom>
          <a:noFill/>
        </p:spPr>
        <p:txBody>
          <a:bodyPr wrap="square" anchor="ctr">
            <a:noAutofit/>
          </a:bodyPr>
          <a:lstStyle/>
          <a:p>
            <a:pPr>
              <a:spcAft>
                <a:spcPts val="0"/>
              </a:spcAft>
            </a:pPr>
            <a:r>
              <a:rPr lang="lv-LV" sz="1400">
                <a:solidFill>
                  <a:schemeClr val="tx1"/>
                </a:solidFill>
              </a:rPr>
              <a:t>Veiciet atdzīvināšanas pasākumus, ja nepieciešams.</a:t>
            </a:r>
          </a:p>
        </p:txBody>
      </p:sp>
      <p:sp>
        <p:nvSpPr>
          <p:cNvPr id="37" name="TextBox 36">
            <a:extLst>
              <a:ext uri="{FF2B5EF4-FFF2-40B4-BE49-F238E27FC236}">
                <a16:creationId xmlns:a16="http://schemas.microsoft.com/office/drawing/2014/main" id="{B4A1FCDF-F4EF-2C95-ABB1-CBEA3086D555}"/>
              </a:ext>
            </a:extLst>
          </p:cNvPr>
          <p:cNvSpPr txBox="1"/>
          <p:nvPr/>
        </p:nvSpPr>
        <p:spPr>
          <a:xfrm>
            <a:off x="1297953" y="4631731"/>
            <a:ext cx="5879131" cy="360000"/>
          </a:xfrm>
          <a:prstGeom prst="rect">
            <a:avLst/>
          </a:prstGeom>
          <a:noFill/>
        </p:spPr>
        <p:txBody>
          <a:bodyPr wrap="square" anchor="ctr">
            <a:noAutofit/>
          </a:bodyPr>
          <a:lstStyle/>
          <a:p>
            <a:pPr>
              <a:spcAft>
                <a:spcPts val="0"/>
              </a:spcAft>
            </a:pPr>
            <a:r>
              <a:rPr lang="lv-LV" sz="1400">
                <a:solidFill>
                  <a:schemeClr val="tx1"/>
                </a:solidFill>
              </a:rPr>
              <a:t>Izsauciet Neatliekamo palīdzību.</a:t>
            </a:r>
          </a:p>
        </p:txBody>
      </p:sp>
      <p:cxnSp>
        <p:nvCxnSpPr>
          <p:cNvPr id="39" name="Straight Connector 38">
            <a:extLst>
              <a:ext uri="{FF2B5EF4-FFF2-40B4-BE49-F238E27FC236}">
                <a16:creationId xmlns:a16="http://schemas.microsoft.com/office/drawing/2014/main" id="{E5B5A8D2-DACA-34DC-E1F9-FFE3A65E4C21}"/>
              </a:ext>
            </a:extLst>
          </p:cNvPr>
          <p:cNvCxnSpPr>
            <a:cxnSpLocks/>
          </p:cNvCxnSpPr>
          <p:nvPr/>
        </p:nvCxnSpPr>
        <p:spPr>
          <a:xfrm>
            <a:off x="1297953" y="3431335"/>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0" name="Straight Connector 39">
            <a:extLst>
              <a:ext uri="{FF2B5EF4-FFF2-40B4-BE49-F238E27FC236}">
                <a16:creationId xmlns:a16="http://schemas.microsoft.com/office/drawing/2014/main" id="{942B66D5-0C09-51A1-421D-3AD9CCF09FAE}"/>
              </a:ext>
            </a:extLst>
          </p:cNvPr>
          <p:cNvCxnSpPr>
            <a:cxnSpLocks/>
          </p:cNvCxnSpPr>
          <p:nvPr/>
        </p:nvCxnSpPr>
        <p:spPr>
          <a:xfrm>
            <a:off x="1297953" y="4350805"/>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1" name="Straight Connector 40">
            <a:extLst>
              <a:ext uri="{FF2B5EF4-FFF2-40B4-BE49-F238E27FC236}">
                <a16:creationId xmlns:a16="http://schemas.microsoft.com/office/drawing/2014/main" id="{64D1A3C3-EF5C-5967-D3FE-A630BE40A6E7}"/>
              </a:ext>
            </a:extLst>
          </p:cNvPr>
          <p:cNvCxnSpPr>
            <a:cxnSpLocks/>
          </p:cNvCxnSpPr>
          <p:nvPr/>
        </p:nvCxnSpPr>
        <p:spPr>
          <a:xfrm>
            <a:off x="1297953" y="5270275"/>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48" name="Content Placeholder 1">
            <a:extLst>
              <a:ext uri="{FF2B5EF4-FFF2-40B4-BE49-F238E27FC236}">
                <a16:creationId xmlns:a16="http://schemas.microsoft.com/office/drawing/2014/main" id="{6AC80282-8A0D-F35B-8056-0432B6772D55}"/>
              </a:ext>
            </a:extLst>
          </p:cNvPr>
          <p:cNvSpPr txBox="1">
            <a:spLocks/>
          </p:cNvSpPr>
          <p:nvPr/>
        </p:nvSpPr>
        <p:spPr>
          <a:xfrm>
            <a:off x="441325" y="2531791"/>
            <a:ext cx="630238" cy="88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1</a:t>
            </a:r>
          </a:p>
        </p:txBody>
      </p:sp>
      <p:cxnSp>
        <p:nvCxnSpPr>
          <p:cNvPr id="49" name="Straight Connector 48">
            <a:extLst>
              <a:ext uri="{FF2B5EF4-FFF2-40B4-BE49-F238E27FC236}">
                <a16:creationId xmlns:a16="http://schemas.microsoft.com/office/drawing/2014/main" id="{6812EC73-51E6-27BB-47B7-1E03B679803C}"/>
              </a:ext>
            </a:extLst>
          </p:cNvPr>
          <p:cNvCxnSpPr>
            <a:cxnSpLocks/>
            <a:stCxn id="50" idx="4"/>
            <a:endCxn id="56" idx="3"/>
          </p:cNvCxnSpPr>
          <p:nvPr/>
        </p:nvCxnSpPr>
        <p:spPr>
          <a:xfrm>
            <a:off x="864002" y="3045181"/>
            <a:ext cx="0" cy="2701823"/>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50" name="Oval 49">
            <a:extLst>
              <a:ext uri="{FF2B5EF4-FFF2-40B4-BE49-F238E27FC236}">
                <a16:creationId xmlns:a16="http://schemas.microsoft.com/office/drawing/2014/main" id="{C7A420F0-5CC5-29EF-B3BB-7D5781CABFC2}"/>
              </a:ext>
            </a:extLst>
          </p:cNvPr>
          <p:cNvSpPr/>
          <p:nvPr/>
        </p:nvSpPr>
        <p:spPr>
          <a:xfrm>
            <a:off x="791612" y="2900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1" name="Isosceles Triangle 50">
            <a:extLst>
              <a:ext uri="{FF2B5EF4-FFF2-40B4-BE49-F238E27FC236}">
                <a16:creationId xmlns:a16="http://schemas.microsoft.com/office/drawing/2014/main" id="{4BEF1C2A-C650-BD1B-C954-06A60EF7BAB8}"/>
              </a:ext>
            </a:extLst>
          </p:cNvPr>
          <p:cNvSpPr/>
          <p:nvPr/>
        </p:nvSpPr>
        <p:spPr>
          <a:xfrm flipV="1">
            <a:off x="690171" y="5247662"/>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6" name="Isosceles Triangle 55">
            <a:extLst>
              <a:ext uri="{FF2B5EF4-FFF2-40B4-BE49-F238E27FC236}">
                <a16:creationId xmlns:a16="http://schemas.microsoft.com/office/drawing/2014/main" id="{7BF8F9D7-9A9A-877C-A900-4F3857B14B3E}"/>
              </a:ext>
            </a:extLst>
          </p:cNvPr>
          <p:cNvSpPr/>
          <p:nvPr/>
        </p:nvSpPr>
        <p:spPr>
          <a:xfrm flipV="1">
            <a:off x="809233" y="5747004"/>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7" name="Isosceles Triangle 56">
            <a:extLst>
              <a:ext uri="{FF2B5EF4-FFF2-40B4-BE49-F238E27FC236}">
                <a16:creationId xmlns:a16="http://schemas.microsoft.com/office/drawing/2014/main" id="{E6C32A6B-F4F4-20A4-DBFD-E4DD8B7DC32F}"/>
              </a:ext>
            </a:extLst>
          </p:cNvPr>
          <p:cNvSpPr/>
          <p:nvPr/>
        </p:nvSpPr>
        <p:spPr>
          <a:xfrm flipV="1">
            <a:off x="690171" y="3413791"/>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8" name="Isosceles Triangle 57">
            <a:extLst>
              <a:ext uri="{FF2B5EF4-FFF2-40B4-BE49-F238E27FC236}">
                <a16:creationId xmlns:a16="http://schemas.microsoft.com/office/drawing/2014/main" id="{8CFA9846-2872-E7EB-E30B-CC6BA514198E}"/>
              </a:ext>
            </a:extLst>
          </p:cNvPr>
          <p:cNvSpPr/>
          <p:nvPr/>
        </p:nvSpPr>
        <p:spPr>
          <a:xfrm flipV="1">
            <a:off x="690171" y="4333261"/>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71" name="Rectangle 70">
            <a:extLst>
              <a:ext uri="{FF2B5EF4-FFF2-40B4-BE49-F238E27FC236}">
                <a16:creationId xmlns:a16="http://schemas.microsoft.com/office/drawing/2014/main" id="{3E04E0E7-0EC0-D3DB-7FE5-CC0F07D12428}"/>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72" name="Rectangle 71">
            <a:extLst>
              <a:ext uri="{FF2B5EF4-FFF2-40B4-BE49-F238E27FC236}">
                <a16:creationId xmlns:a16="http://schemas.microsoft.com/office/drawing/2014/main" id="{6ED56BAD-AE11-5901-9D85-F397888A0CC3}"/>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73" name="Content Placeholder 1">
            <a:extLst>
              <a:ext uri="{FF2B5EF4-FFF2-40B4-BE49-F238E27FC236}">
                <a16:creationId xmlns:a16="http://schemas.microsoft.com/office/drawing/2014/main" id="{DF3C57B4-60A3-13A2-E235-62DF01A8E0B9}"/>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74" name="Content Placeholder 1">
            <a:extLst>
              <a:ext uri="{FF2B5EF4-FFF2-40B4-BE49-F238E27FC236}">
                <a16:creationId xmlns:a16="http://schemas.microsoft.com/office/drawing/2014/main" id="{38413369-E04F-F149-0D9B-B962C3B0DD33}"/>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75" name="Content Placeholder 1">
            <a:extLst>
              <a:ext uri="{FF2B5EF4-FFF2-40B4-BE49-F238E27FC236}">
                <a16:creationId xmlns:a16="http://schemas.microsoft.com/office/drawing/2014/main" id="{079A215C-D463-B463-2E11-B6BF21F093DD}"/>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76" name="Content Placeholder 1">
            <a:extLst>
              <a:ext uri="{FF2B5EF4-FFF2-40B4-BE49-F238E27FC236}">
                <a16:creationId xmlns:a16="http://schemas.microsoft.com/office/drawing/2014/main" id="{D53CE3FB-D8DB-2493-59AB-E8018BFB7D6C}"/>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77" name="Google Shape;760;p79">
            <a:extLst>
              <a:ext uri="{FF2B5EF4-FFF2-40B4-BE49-F238E27FC236}">
                <a16:creationId xmlns:a16="http://schemas.microsoft.com/office/drawing/2014/main" id="{47AD76CF-BFB9-FA4C-78FC-9ED47D9FA257}"/>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78" name="Google Shape;794;p79">
            <a:extLst>
              <a:ext uri="{FF2B5EF4-FFF2-40B4-BE49-F238E27FC236}">
                <a16:creationId xmlns:a16="http://schemas.microsoft.com/office/drawing/2014/main" id="{20FDFD41-DB71-D9C8-B2A5-805131BA4C05}"/>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 name="Rectangle 4">
            <a:extLst>
              <a:ext uri="{FF2B5EF4-FFF2-40B4-BE49-F238E27FC236}">
                <a16:creationId xmlns:a16="http://schemas.microsoft.com/office/drawing/2014/main" id="{1806521B-FB80-1F07-D596-6A488A95DE31}"/>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16" name="Group 15">
            <a:extLst>
              <a:ext uri="{FF2B5EF4-FFF2-40B4-BE49-F238E27FC236}">
                <a16:creationId xmlns:a16="http://schemas.microsoft.com/office/drawing/2014/main" id="{FB9AF507-3DC6-14DD-C3D8-12994B3D7208}"/>
              </a:ext>
            </a:extLst>
          </p:cNvPr>
          <p:cNvGrpSpPr/>
          <p:nvPr/>
        </p:nvGrpSpPr>
        <p:grpSpPr>
          <a:xfrm>
            <a:off x="9842140" y="372216"/>
            <a:ext cx="1667215" cy="217488"/>
            <a:chOff x="9842140" y="372216"/>
            <a:chExt cx="1667215" cy="217488"/>
          </a:xfrm>
        </p:grpSpPr>
        <p:sp>
          <p:nvSpPr>
            <p:cNvPr id="19" name="TextBox 18">
              <a:extLst>
                <a:ext uri="{FF2B5EF4-FFF2-40B4-BE49-F238E27FC236}">
                  <a16:creationId xmlns:a16="http://schemas.microsoft.com/office/drawing/2014/main" id="{B8D257DE-4209-7234-19FB-BC85EED328CA}"/>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Slīkšana</a:t>
              </a:r>
            </a:p>
          </p:txBody>
        </p:sp>
        <p:sp>
          <p:nvSpPr>
            <p:cNvPr id="20" name="Freeform 49">
              <a:extLst>
                <a:ext uri="{FF2B5EF4-FFF2-40B4-BE49-F238E27FC236}">
                  <a16:creationId xmlns:a16="http://schemas.microsoft.com/office/drawing/2014/main" id="{0E5C4484-670C-69E1-B82B-46D640643D12}"/>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2" name="Group 1">
            <a:extLst>
              <a:ext uri="{FF2B5EF4-FFF2-40B4-BE49-F238E27FC236}">
                <a16:creationId xmlns:a16="http://schemas.microsoft.com/office/drawing/2014/main" id="{FC907EB6-2D6E-5404-FCE3-B63637740A9A}"/>
              </a:ext>
            </a:extLst>
          </p:cNvPr>
          <p:cNvGrpSpPr/>
          <p:nvPr/>
        </p:nvGrpSpPr>
        <p:grpSpPr>
          <a:xfrm>
            <a:off x="9122935" y="126781"/>
            <a:ext cx="2626153" cy="217488"/>
            <a:chOff x="9122935" y="126781"/>
            <a:chExt cx="2626153" cy="217488"/>
          </a:xfrm>
        </p:grpSpPr>
        <p:sp>
          <p:nvSpPr>
            <p:cNvPr id="14" name="Rectangle 13">
              <a:extLst>
                <a:ext uri="{FF2B5EF4-FFF2-40B4-BE49-F238E27FC236}">
                  <a16:creationId xmlns:a16="http://schemas.microsoft.com/office/drawing/2014/main" id="{D62D9DA4-837D-5F20-8E6A-4B96BCD29AE9}"/>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15" name="Rectangle 14">
              <a:extLst>
                <a:ext uri="{FF2B5EF4-FFF2-40B4-BE49-F238E27FC236}">
                  <a16:creationId xmlns:a16="http://schemas.microsoft.com/office/drawing/2014/main" id="{EE16BCCB-510E-28A1-C615-D77891ED4EAD}"/>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652E9F50-7052-761E-8B22-800DB17BBB76}"/>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2" name="Rectangle 21">
              <a:extLst>
                <a:ext uri="{FF2B5EF4-FFF2-40B4-BE49-F238E27FC236}">
                  <a16:creationId xmlns:a16="http://schemas.microsoft.com/office/drawing/2014/main" id="{AB637F11-D195-13E5-BF30-4EA840F544D4}"/>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CC4D1803-A45D-3636-584E-5636AE521710}"/>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24" name="Rectangle 23">
              <a:extLst>
                <a:ext uri="{FF2B5EF4-FFF2-40B4-BE49-F238E27FC236}">
                  <a16:creationId xmlns:a16="http://schemas.microsoft.com/office/drawing/2014/main" id="{5C57F09C-4DB9-1C81-6846-56E4AD89016A}"/>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31835968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DFB9B2E-C1F9-21A3-00BA-9A57ED0111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3" name="think-cell data - do not delete" hidden="1">
                        <a:extLst>
                          <a:ext uri="{FF2B5EF4-FFF2-40B4-BE49-F238E27FC236}">
                            <a16:creationId xmlns:a16="http://schemas.microsoft.com/office/drawing/2014/main" id="{8DFB9B2E-C1F9-21A3-00BA-9A57ED0111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E8E0A4EB-3147-3688-FC1E-46F571D3FA32}"/>
              </a:ext>
            </a:extLst>
          </p:cNvPr>
          <p:cNvSpPr>
            <a:spLocks noGrp="1"/>
          </p:cNvSpPr>
          <p:nvPr>
            <p:ph type="title"/>
          </p:nvPr>
        </p:nvSpPr>
        <p:spPr>
          <a:xfrm>
            <a:off x="442913" y="432001"/>
            <a:ext cx="5480307" cy="1387274"/>
          </a:xfrm>
        </p:spPr>
        <p:txBody>
          <a:bodyPr vert="horz"/>
          <a:lstStyle/>
          <a:p>
            <a:r>
              <a:rPr lang="en-GB" err="1"/>
              <a:t>Uzdevumi</a:t>
            </a:r>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p:txBody>
          <a:bodyPr/>
          <a:lstStyle/>
          <a:p>
            <a:fld id="{7870704B-CE94-48CC-AF30-84932A1262A7}" type="slidenum">
              <a:rPr lang="en-GB" smtClean="0"/>
              <a:pPr/>
              <a:t>3</a:t>
            </a:fld>
            <a:endParaRPr lang="en-GB"/>
          </a:p>
        </p:txBody>
      </p:sp>
      <p:sp>
        <p:nvSpPr>
          <p:cNvPr id="3" name="TextBox 2">
            <a:extLst>
              <a:ext uri="{FF2B5EF4-FFF2-40B4-BE49-F238E27FC236}">
                <a16:creationId xmlns:a16="http://schemas.microsoft.com/office/drawing/2014/main" id="{4EF6DB77-182C-C281-1C2F-C2E2D9AB6583}"/>
              </a:ext>
            </a:extLst>
          </p:cNvPr>
          <p:cNvSpPr txBox="1"/>
          <p:nvPr/>
        </p:nvSpPr>
        <p:spPr>
          <a:xfrm>
            <a:off x="6281995" y="1819275"/>
            <a:ext cx="5473702" cy="2212642"/>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600"/>
              </a:spcAft>
            </a:pPr>
            <a:r>
              <a:rPr lang="lv-LV" sz="1600">
                <a:cs typeface="Arial"/>
              </a:rPr>
              <a:t>Izglītojamie:</a:t>
            </a:r>
          </a:p>
          <a:p>
            <a:pPr marL="742950" lvl="3" indent="-285750">
              <a:spcAft>
                <a:spcPts val="600"/>
              </a:spcAft>
              <a:buBlip>
                <a:blip r:embed="rId5"/>
              </a:buBlip>
            </a:pPr>
            <a:r>
              <a:rPr lang="lv-LV" sz="1600">
                <a:cs typeface="Arial"/>
              </a:rPr>
              <a:t>prot paskaidrot, kas ir pirmā palīdzība; </a:t>
            </a:r>
          </a:p>
          <a:p>
            <a:pPr marL="742950" lvl="3" indent="-285750">
              <a:spcAft>
                <a:spcPts val="600"/>
              </a:spcAft>
              <a:buBlip>
                <a:blip r:embed="rId5"/>
              </a:buBlip>
            </a:pPr>
            <a:r>
              <a:rPr lang="lv-LV" sz="1600">
                <a:cs typeface="Arial"/>
              </a:rPr>
              <a:t>zina, kā rīkoties negadījuma vietā; </a:t>
            </a:r>
          </a:p>
          <a:p>
            <a:pPr marL="742950" lvl="3" indent="-285750">
              <a:spcAft>
                <a:spcPts val="600"/>
              </a:spcAft>
              <a:buBlip>
                <a:blip r:embed="rId5"/>
              </a:buBlip>
            </a:pPr>
            <a:r>
              <a:rPr lang="lv-LV" sz="1600">
                <a:cs typeface="Arial"/>
              </a:rPr>
              <a:t>prot sniegt pirmo palīdzību dzīvībai bīstamās situācijās.</a:t>
            </a:r>
          </a:p>
        </p:txBody>
      </p:sp>
      <p:sp>
        <p:nvSpPr>
          <p:cNvPr id="4" name="Title 1">
            <a:extLst>
              <a:ext uri="{FF2B5EF4-FFF2-40B4-BE49-F238E27FC236}">
                <a16:creationId xmlns:a16="http://schemas.microsoft.com/office/drawing/2014/main" id="{DE559977-5422-3158-C786-2983A20A2674}"/>
              </a:ext>
            </a:extLst>
          </p:cNvPr>
          <p:cNvSpPr txBox="1">
            <a:spLocks/>
          </p:cNvSpPr>
          <p:nvPr/>
        </p:nvSpPr>
        <p:spPr>
          <a:xfrm>
            <a:off x="6268782" y="438960"/>
            <a:ext cx="5473700" cy="138727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buSzPct val="100000"/>
            </a:pPr>
            <a:r>
              <a:rPr lang="en-GB" sz="3600" err="1">
                <a:latin typeface="Georgia"/>
                <a:cs typeface="Arial"/>
              </a:rPr>
              <a:t>Sasniedzamie</a:t>
            </a:r>
            <a:r>
              <a:rPr lang="en-GB" sz="3600">
                <a:latin typeface="Georgia"/>
                <a:cs typeface="Arial"/>
              </a:rPr>
              <a:t> </a:t>
            </a:r>
            <a:r>
              <a:rPr lang="en-GB" sz="3600" err="1">
                <a:latin typeface="Georgia"/>
                <a:cs typeface="Arial"/>
              </a:rPr>
              <a:t>rezultāti</a:t>
            </a:r>
            <a:endParaRPr lang="en-GB" sz="3600" err="1">
              <a:cs typeface="Arial"/>
            </a:endParaRPr>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26234"/>
            <a:ext cx="5473702"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600">
                <a:cs typeface="Arial"/>
              </a:rPr>
              <a:t>Iepazīstināt izglītojamos ar: </a:t>
            </a:r>
          </a:p>
          <a:p>
            <a:pPr marL="740664" indent="-285750">
              <a:spcAft>
                <a:spcPts val="600"/>
              </a:spcAft>
              <a:buBlip>
                <a:blip r:embed="rId5"/>
              </a:buBlip>
            </a:pPr>
            <a:r>
              <a:rPr lang="lv-LV" sz="1600">
                <a:cs typeface="Arial"/>
              </a:rPr>
              <a:t>pirmās palīdzības jēdzienu; </a:t>
            </a:r>
          </a:p>
          <a:p>
            <a:pPr marL="740664" indent="-285750">
              <a:spcAft>
                <a:spcPts val="600"/>
              </a:spcAft>
              <a:buBlip>
                <a:blip r:embed="rId5"/>
              </a:buBlip>
            </a:pPr>
            <a:r>
              <a:rPr lang="lv-LV" sz="1600">
                <a:cs typeface="Arial"/>
              </a:rPr>
              <a:t>rīcības algoritmu negadījuma vietā; </a:t>
            </a:r>
          </a:p>
          <a:p>
            <a:pPr marL="740664" indent="-285750">
              <a:spcAft>
                <a:spcPts val="600"/>
              </a:spcAft>
              <a:buBlip>
                <a:blip r:embed="rId5"/>
              </a:buBlip>
            </a:pPr>
            <a:r>
              <a:rPr lang="lv-LV" sz="1600">
                <a:cs typeface="Arial"/>
              </a:rPr>
              <a:t>atdzīvināšanas pasākumiem un pirmās palīdzības soļiem.</a:t>
            </a: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54737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 name="Rectangle 8">
            <a:extLst>
              <a:ext uri="{FF2B5EF4-FFF2-40B4-BE49-F238E27FC236}">
                <a16:creationId xmlns:a16="http://schemas.microsoft.com/office/drawing/2014/main" id="{A8B3E759-01F6-3FCC-7165-6B1BE6AFC21E}"/>
              </a:ext>
            </a:extLst>
          </p:cNvPr>
          <p:cNvSpPr/>
          <p:nvPr/>
        </p:nvSpPr>
        <p:spPr>
          <a:xfrm>
            <a:off x="6281995" y="955047"/>
            <a:ext cx="54737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4" name="Freeform 128">
            <a:extLst>
              <a:ext uri="{FF2B5EF4-FFF2-40B4-BE49-F238E27FC236}">
                <a16:creationId xmlns:a16="http://schemas.microsoft.com/office/drawing/2014/main" id="{19F3A3EA-1A15-1B4C-8DCB-26EE245E8AFC}"/>
              </a:ext>
            </a:extLst>
          </p:cNvPr>
          <p:cNvSpPr>
            <a:spLocks noChangeAspect="1" noEditPoints="1"/>
          </p:cNvSpPr>
          <p:nvPr/>
        </p:nvSpPr>
        <p:spPr bwMode="auto">
          <a:xfrm>
            <a:off x="8790893" y="1028955"/>
            <a:ext cx="455905" cy="4572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0"/>
                  <a:pt x="176" y="455"/>
                </a:cubicBezTo>
                <a:cubicBezTo>
                  <a:pt x="176" y="430"/>
                  <a:pt x="155" y="410"/>
                  <a:pt x="130" y="410"/>
                </a:cubicBezTo>
                <a:cubicBezTo>
                  <a:pt x="105" y="410"/>
                  <a:pt x="85" y="430"/>
                  <a:pt x="85" y="455"/>
                </a:cubicBezTo>
                <a:cubicBezTo>
                  <a:pt x="85" y="480"/>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25" name="Freeform 106">
            <a:extLst>
              <a:ext uri="{FF2B5EF4-FFF2-40B4-BE49-F238E27FC236}">
                <a16:creationId xmlns:a16="http://schemas.microsoft.com/office/drawing/2014/main" id="{014F40D3-F5E9-404A-8FA7-2C2BFB358B3B}"/>
              </a:ext>
            </a:extLst>
          </p:cNvPr>
          <p:cNvSpPr/>
          <p:nvPr/>
        </p:nvSpPr>
        <p:spPr>
          <a:xfrm>
            <a:off x="3181757"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pic>
        <p:nvPicPr>
          <p:cNvPr id="28" name="Picture 27">
            <a:extLst>
              <a:ext uri="{FF2B5EF4-FFF2-40B4-BE49-F238E27FC236}">
                <a16:creationId xmlns:a16="http://schemas.microsoft.com/office/drawing/2014/main" id="{57146472-1E12-8599-0248-F6AE825AAC25}"/>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42892" b="30359"/>
          <a:stretch/>
        </p:blipFill>
        <p:spPr>
          <a:xfrm>
            <a:off x="442911" y="4402207"/>
            <a:ext cx="11309609" cy="1769992"/>
          </a:xfrm>
          <a:prstGeom prst="rect">
            <a:avLst/>
          </a:prstGeom>
        </p:spPr>
      </p:pic>
      <p:sp>
        <p:nvSpPr>
          <p:cNvPr id="2" name="Rectangle 1">
            <a:extLst>
              <a:ext uri="{FF2B5EF4-FFF2-40B4-BE49-F238E27FC236}">
                <a16:creationId xmlns:a16="http://schemas.microsoft.com/office/drawing/2014/main" id="{56F2AB26-56CB-48B7-4C20-5421B6EF2D40}"/>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spTree>
    <p:extLst>
      <p:ext uri="{BB962C8B-B14F-4D97-AF65-F5344CB8AC3E}">
        <p14:creationId xmlns:p14="http://schemas.microsoft.com/office/powerpoint/2010/main" val="41776760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9E6BB6A-4571-FBF8-9A7D-06ADE4374D4D}"/>
              </a:ext>
            </a:extLst>
          </p:cNvPr>
          <p:cNvGraphicFramePr>
            <a:graphicFrameLocks noChangeAspect="1"/>
          </p:cNvGraphicFramePr>
          <p:nvPr>
            <p:custDataLst>
              <p:tags r:id="rId1"/>
            </p:custDataLst>
            <p:extLst>
              <p:ext uri="{D42A27DB-BD31-4B8C-83A1-F6EECF244321}">
                <p14:modId xmlns:p14="http://schemas.microsoft.com/office/powerpoint/2010/main" val="1210207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D9E6BB6A-4571-FBF8-9A7D-06ADE4374D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C358ECA5-580C-4D30-BF72-626041BBD184}"/>
              </a:ext>
            </a:extLst>
          </p:cNvPr>
          <p:cNvSpPr/>
          <p:nvPr/>
        </p:nvSpPr>
        <p:spPr>
          <a:xfrm>
            <a:off x="2651760" y="4513587"/>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19" name="Rectangle 18">
            <a:extLst>
              <a:ext uri="{FF2B5EF4-FFF2-40B4-BE49-F238E27FC236}">
                <a16:creationId xmlns:a16="http://schemas.microsoft.com/office/drawing/2014/main" id="{C2CAF418-662D-647B-4968-27F9C89FEFAA}"/>
              </a:ext>
            </a:extLst>
          </p:cNvPr>
          <p:cNvSpPr/>
          <p:nvPr/>
        </p:nvSpPr>
        <p:spPr>
          <a:xfrm>
            <a:off x="2651760" y="2630366"/>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5" name="Rectangle 4">
            <a:extLst>
              <a:ext uri="{FF2B5EF4-FFF2-40B4-BE49-F238E27FC236}">
                <a16:creationId xmlns:a16="http://schemas.microsoft.com/office/drawing/2014/main" id="{A6348025-BDE2-3284-C987-59428C8223D8}"/>
              </a:ext>
            </a:extLst>
          </p:cNvPr>
          <p:cNvSpPr/>
          <p:nvPr/>
        </p:nvSpPr>
        <p:spPr>
          <a:xfrm>
            <a:off x="284753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6" name="Rectangle 5">
            <a:extLst>
              <a:ext uri="{FF2B5EF4-FFF2-40B4-BE49-F238E27FC236}">
                <a16:creationId xmlns:a16="http://schemas.microsoft.com/office/drawing/2014/main" id="{5627C378-61D8-9614-828E-3783B2D838FA}"/>
              </a:ext>
            </a:extLst>
          </p:cNvPr>
          <p:cNvSpPr/>
          <p:nvPr/>
        </p:nvSpPr>
        <p:spPr>
          <a:xfrm>
            <a:off x="739616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37" name="Rectangle 36">
            <a:extLst>
              <a:ext uri="{FF2B5EF4-FFF2-40B4-BE49-F238E27FC236}">
                <a16:creationId xmlns:a16="http://schemas.microsoft.com/office/drawing/2014/main" id="{BD11DB78-D65B-9D3C-EED7-1721F1C9BCF6}"/>
              </a:ext>
            </a:extLst>
          </p:cNvPr>
          <p:cNvSpPr/>
          <p:nvPr/>
        </p:nvSpPr>
        <p:spPr>
          <a:xfrm>
            <a:off x="442912" y="4513587"/>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Mugurkaula traumas</a:t>
            </a:r>
          </a:p>
          <a:p>
            <a:pPr>
              <a:lnSpc>
                <a:spcPct val="100000"/>
              </a:lnSpc>
            </a:pPr>
            <a:r>
              <a:rPr lang="lv-LV" sz="1200"/>
              <a:t>(ceļu satiksmes negadījums,</a:t>
            </a:r>
          </a:p>
          <a:p>
            <a:pPr>
              <a:lnSpc>
                <a:spcPct val="100000"/>
              </a:lnSpc>
            </a:pPr>
            <a:r>
              <a:rPr lang="lv-LV" sz="1200"/>
              <a:t>kritiens no augstuma,</a:t>
            </a:r>
          </a:p>
          <a:p>
            <a:pPr>
              <a:lnSpc>
                <a:spcPct val="100000"/>
              </a:lnSpc>
            </a:pPr>
            <a:r>
              <a:rPr lang="lv-LV" sz="1200"/>
              <a:t>lēciens ūdenī)</a:t>
            </a:r>
          </a:p>
          <a:p>
            <a:pPr>
              <a:lnSpc>
                <a:spcPct val="100000"/>
              </a:lnSpc>
            </a:pPr>
            <a:endParaRPr lang="lv-LV" sz="1400" b="1"/>
          </a:p>
        </p:txBody>
      </p:sp>
      <p:sp>
        <p:nvSpPr>
          <p:cNvPr id="39" name="Content Placeholder 1">
            <a:extLst>
              <a:ext uri="{FF2B5EF4-FFF2-40B4-BE49-F238E27FC236}">
                <a16:creationId xmlns:a16="http://schemas.microsoft.com/office/drawing/2014/main" id="{DCB78F50-A328-CF00-9A1A-F2F677D9CB38}"/>
              </a:ext>
            </a:extLst>
          </p:cNvPr>
          <p:cNvSpPr txBox="1">
            <a:spLocks/>
          </p:cNvSpPr>
          <p:nvPr/>
        </p:nvSpPr>
        <p:spPr>
          <a:xfrm>
            <a:off x="2579759" y="4513587"/>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6" name="Rectangle 35">
            <a:extLst>
              <a:ext uri="{FF2B5EF4-FFF2-40B4-BE49-F238E27FC236}">
                <a16:creationId xmlns:a16="http://schemas.microsoft.com/office/drawing/2014/main" id="{A8F39C25-781C-A7DA-387A-D92FCABEE1F5}"/>
              </a:ext>
            </a:extLst>
          </p:cNvPr>
          <p:cNvSpPr/>
          <p:nvPr/>
        </p:nvSpPr>
        <p:spPr>
          <a:xfrm>
            <a:off x="442912" y="2630366"/>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dirty="0"/>
              <a:t>Roku un kāju traumas </a:t>
            </a:r>
            <a:r>
              <a:rPr lang="lv-LV" sz="1200" dirty="0"/>
              <a:t>(cietušais sūdzas par sāpēm, iespējama deformācija, pietūkums, apgrūtinātas kustības)</a:t>
            </a:r>
          </a:p>
          <a:p>
            <a:pPr>
              <a:lnSpc>
                <a:spcPct val="100000"/>
              </a:lnSpc>
            </a:pPr>
            <a:endParaRPr lang="lv-LV" sz="1400" b="1"/>
          </a:p>
        </p:txBody>
      </p:sp>
      <p:sp>
        <p:nvSpPr>
          <p:cNvPr id="38" name="Content Placeholder 1">
            <a:extLst>
              <a:ext uri="{FF2B5EF4-FFF2-40B4-BE49-F238E27FC236}">
                <a16:creationId xmlns:a16="http://schemas.microsoft.com/office/drawing/2014/main" id="{7B1F3CCD-2DE1-C2A8-D340-EAF5B3993679}"/>
              </a:ext>
            </a:extLst>
          </p:cNvPr>
          <p:cNvSpPr txBox="1">
            <a:spLocks/>
          </p:cNvSpPr>
          <p:nvPr/>
        </p:nvSpPr>
        <p:spPr>
          <a:xfrm>
            <a:off x="2579759" y="2630366"/>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a:lstStyle/>
          <a:p>
            <a:r>
              <a:rPr lang="lv-LV"/>
              <a:t>Kā rīkoties traumu gadījum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30</a:t>
            </a:fld>
            <a:endParaRPr lang="en-GB"/>
          </a:p>
        </p:txBody>
      </p:sp>
      <p:sp>
        <p:nvSpPr>
          <p:cNvPr id="16" name="TextBox 15">
            <a:extLst>
              <a:ext uri="{FF2B5EF4-FFF2-40B4-BE49-F238E27FC236}">
                <a16:creationId xmlns:a16="http://schemas.microsoft.com/office/drawing/2014/main" id="{30819613-CE74-49B6-0807-44FDBB81D466}"/>
              </a:ext>
            </a:extLst>
          </p:cNvPr>
          <p:cNvSpPr txBox="1"/>
          <p:nvPr/>
        </p:nvSpPr>
        <p:spPr>
          <a:xfrm>
            <a:off x="2847530" y="2630366"/>
            <a:ext cx="4352925" cy="1658938"/>
          </a:xfrm>
          <a:prstGeom prst="rect">
            <a:avLst/>
          </a:prstGeom>
          <a:noFill/>
        </p:spPr>
        <p:txBody>
          <a:bodyPr wrap="square" lIns="72000" rIns="72000" anchor="ctr">
            <a:noAutofit/>
          </a:bodyPr>
          <a:lstStyle/>
          <a:p>
            <a:pPr marL="284400" lvl="1" indent="-284400" hangingPunct="0">
              <a:buBlip>
                <a:blip r:embed="rId6"/>
              </a:buBlip>
              <a:tabLst>
                <a:tab pos="457200" algn="l"/>
                <a:tab pos="1586230" algn="l"/>
              </a:tabLst>
            </a:pPr>
            <a:r>
              <a:rPr lang="lv-LV" sz="1400">
                <a:effectLst/>
                <a:ea typeface="Times New Roman" panose="02020603050405020304" pitchFamily="18" charset="0"/>
              </a:rPr>
              <a:t>Nekustiniet, nepārvietojiet cietušo.</a:t>
            </a:r>
          </a:p>
          <a:p>
            <a:pPr marL="284400" lvl="1" indent="-284400" hangingPunct="0">
              <a:buBlip>
                <a:blip r:embed="rId6"/>
              </a:buBlip>
              <a:tabLst>
                <a:tab pos="457200" algn="l"/>
                <a:tab pos="1586230" algn="l"/>
              </a:tabLst>
            </a:pPr>
            <a:r>
              <a:rPr lang="lv-LV" sz="1400">
                <a:effectLst/>
                <a:ea typeface="Times New Roman" panose="02020603050405020304" pitchFamily="18" charset="0"/>
              </a:rPr>
              <a:t>Saglabājiet traumas radīto deformāciju.</a:t>
            </a:r>
          </a:p>
          <a:p>
            <a:pPr marL="284400" lvl="1" indent="-284400" hangingPunct="0">
              <a:buBlip>
                <a:blip r:embed="rId6"/>
              </a:buBlip>
              <a:tabLst>
                <a:tab pos="457200" algn="l"/>
                <a:tab pos="1586230" algn="l"/>
              </a:tabLst>
            </a:pPr>
            <a:r>
              <a:rPr lang="lv-LV" sz="1400">
                <a:effectLst/>
                <a:ea typeface="Times New Roman" panose="02020603050405020304" pitchFamily="18" charset="0"/>
              </a:rPr>
              <a:t>Izsauciet Neatliekamo palīdzību.</a:t>
            </a:r>
          </a:p>
          <a:p>
            <a:pPr marL="284400" lvl="1" indent="-284400" hangingPunct="0">
              <a:buBlip>
                <a:blip r:embed="rId6"/>
              </a:buBlip>
              <a:tabLst>
                <a:tab pos="457200" algn="l"/>
                <a:tab pos="1586230" algn="l"/>
              </a:tabLst>
            </a:pPr>
            <a:r>
              <a:rPr lang="lv-LV" sz="1400">
                <a:effectLst/>
                <a:ea typeface="Times New Roman" panose="02020603050405020304" pitchFamily="18" charset="0"/>
              </a:rPr>
              <a:t>Aprūpējiet, nomieriniet cietušo.</a:t>
            </a:r>
          </a:p>
        </p:txBody>
      </p:sp>
      <p:sp>
        <p:nvSpPr>
          <p:cNvPr id="18" name="TextBox 17">
            <a:extLst>
              <a:ext uri="{FF2B5EF4-FFF2-40B4-BE49-F238E27FC236}">
                <a16:creationId xmlns:a16="http://schemas.microsoft.com/office/drawing/2014/main" id="{E1D4AC8F-0322-E8A8-E509-5AF71473A8F4}"/>
              </a:ext>
            </a:extLst>
          </p:cNvPr>
          <p:cNvSpPr txBox="1"/>
          <p:nvPr/>
        </p:nvSpPr>
        <p:spPr>
          <a:xfrm>
            <a:off x="7396160" y="2630366"/>
            <a:ext cx="4352925" cy="1658938"/>
          </a:xfrm>
          <a:prstGeom prst="rect">
            <a:avLst/>
          </a:prstGeom>
          <a:noFill/>
        </p:spPr>
        <p:txBody>
          <a:bodyPr wrap="square" lIns="72000" rIns="72000" anchor="ctr">
            <a:noAutofit/>
          </a:bodyPr>
          <a:lstStyle/>
          <a:p>
            <a:pPr marL="284400" lvl="0" indent="-284400" hangingPunct="0">
              <a:buSzPts val="1200"/>
              <a:buBlip>
                <a:blip r:embed="rId6"/>
              </a:buBlip>
            </a:pPr>
            <a:r>
              <a:rPr lang="lv-LV" sz="1400">
                <a:effectLst/>
                <a:ea typeface="Calibri" panose="020F0502020204030204" pitchFamily="34" charset="0"/>
                <a:cs typeface="Times New Roman" panose="02020603050405020304" pitchFamily="18" charset="0"/>
              </a:rPr>
              <a:t>Necentieties atšķirt dažādus traumu veidus. Pieņemiet, ka trauma var būt lūzums.</a:t>
            </a:r>
          </a:p>
          <a:p>
            <a:pPr marL="284400" lvl="0" indent="-284400" hangingPunct="0">
              <a:buSzPts val="1200"/>
              <a:buBlip>
                <a:blip r:embed="rId6"/>
              </a:buBlip>
            </a:pPr>
            <a:r>
              <a:rPr lang="lv-LV" sz="1400">
                <a:effectLst/>
                <a:ea typeface="Calibri" panose="020F0502020204030204" pitchFamily="34" charset="0"/>
                <a:cs typeface="Times New Roman" panose="02020603050405020304" pitchFamily="18" charset="0"/>
              </a:rPr>
              <a:t>Pārvietojiet cietušo tikai tad, ja draud briesmas dzīvībai. Dariet to saudzīgi.</a:t>
            </a:r>
          </a:p>
        </p:txBody>
      </p:sp>
      <p:sp>
        <p:nvSpPr>
          <p:cNvPr id="20" name="TextBox 19">
            <a:extLst>
              <a:ext uri="{FF2B5EF4-FFF2-40B4-BE49-F238E27FC236}">
                <a16:creationId xmlns:a16="http://schemas.microsoft.com/office/drawing/2014/main" id="{BCB0856A-D775-E9B2-A22B-A661D9F8D43C}"/>
              </a:ext>
            </a:extLst>
          </p:cNvPr>
          <p:cNvSpPr txBox="1"/>
          <p:nvPr/>
        </p:nvSpPr>
        <p:spPr>
          <a:xfrm>
            <a:off x="2847530" y="4513587"/>
            <a:ext cx="4352925" cy="1658938"/>
          </a:xfrm>
          <a:prstGeom prst="rect">
            <a:avLst/>
          </a:prstGeom>
          <a:noFill/>
        </p:spPr>
        <p:txBody>
          <a:bodyPr wrap="square" lIns="72000" rIns="72000" anchor="ctr">
            <a:noAutofit/>
          </a:bodyPr>
          <a:lstStyle/>
          <a:p>
            <a:pPr marL="284400" lvl="0" indent="-284400" hangingPunct="0">
              <a:buBlip>
                <a:blip r:embed="rId6"/>
              </a:buBlip>
              <a:tabLst>
                <a:tab pos="457200" algn="l"/>
              </a:tabLst>
            </a:pPr>
            <a:r>
              <a:rPr lang="lv-LV" sz="1400">
                <a:effectLst/>
                <a:ea typeface="Times New Roman" panose="02020603050405020304" pitchFamily="18" charset="0"/>
              </a:rPr>
              <a:t>Aiciniet cietušo nekustēties, negrozīt galvu.</a:t>
            </a:r>
          </a:p>
          <a:p>
            <a:pPr marL="284400" lvl="0" indent="-284400" hangingPunct="0">
              <a:buBlip>
                <a:blip r:embed="rId6"/>
              </a:buBlip>
              <a:tabLst>
                <a:tab pos="457200" algn="l"/>
              </a:tabLst>
            </a:pPr>
            <a:r>
              <a:rPr lang="lv-LV" sz="1400">
                <a:effectLst/>
                <a:ea typeface="Times New Roman" panose="02020603050405020304" pitchFamily="18" charset="0"/>
              </a:rPr>
              <a:t>Nekustiniet, nepārvietojiet cietušo pats!</a:t>
            </a:r>
            <a:r>
              <a:rPr lang="lv-LV" sz="1400">
                <a:ea typeface="Times New Roman" panose="02020603050405020304" pitchFamily="18" charset="0"/>
              </a:rPr>
              <a:t> N</a:t>
            </a:r>
            <a:r>
              <a:rPr lang="lv-LV" sz="1400">
                <a:effectLst/>
                <a:ea typeface="Times New Roman" panose="02020603050405020304" pitchFamily="18" charset="0"/>
              </a:rPr>
              <a:t>eļaujiet cietušo kustināt citiem!</a:t>
            </a:r>
          </a:p>
          <a:p>
            <a:pPr marL="284400" lvl="0" indent="-284400" hangingPunct="0">
              <a:buBlip>
                <a:blip r:embed="rId6"/>
              </a:buBlip>
              <a:tabLst>
                <a:tab pos="457200" algn="l"/>
              </a:tabLst>
            </a:pPr>
            <a:r>
              <a:rPr lang="lv-LV" sz="1400">
                <a:effectLst/>
                <a:ea typeface="Times New Roman" panose="02020603050405020304" pitchFamily="18" charset="0"/>
              </a:rPr>
              <a:t>Izsauciet Neatliekamo palīdzību.</a:t>
            </a:r>
          </a:p>
          <a:p>
            <a:pPr marL="284400" lvl="0" indent="-284400" hangingPunct="0">
              <a:buBlip>
                <a:blip r:embed="rId6"/>
              </a:buBlip>
              <a:tabLst>
                <a:tab pos="457200" algn="l"/>
              </a:tabLst>
            </a:pPr>
            <a:r>
              <a:rPr lang="lv-LV" sz="1400">
                <a:effectLst/>
                <a:ea typeface="Times New Roman" panose="02020603050405020304" pitchFamily="18" charset="0"/>
              </a:rPr>
              <a:t>Aprūpējiet, nomieriniet cietušo.</a:t>
            </a:r>
          </a:p>
          <a:p>
            <a:pPr marL="284400" lvl="0" indent="-284400" hangingPunct="0">
              <a:buBlip>
                <a:blip r:embed="rId6"/>
              </a:buBlip>
              <a:tabLst>
                <a:tab pos="457200" algn="l"/>
              </a:tabLst>
            </a:pPr>
            <a:r>
              <a:rPr lang="lv-LV" sz="1400">
                <a:effectLst/>
                <a:ea typeface="Times New Roman" panose="02020603050405020304" pitchFamily="18" charset="0"/>
              </a:rPr>
              <a:t>Veiciet atdzīvināšanas pasākumus, ja nepieciešams.</a:t>
            </a:r>
          </a:p>
        </p:txBody>
      </p:sp>
      <p:sp>
        <p:nvSpPr>
          <p:cNvPr id="22" name="TextBox 21">
            <a:extLst>
              <a:ext uri="{FF2B5EF4-FFF2-40B4-BE49-F238E27FC236}">
                <a16:creationId xmlns:a16="http://schemas.microsoft.com/office/drawing/2014/main" id="{044C1CE5-09D8-63ED-7E23-4A59A70CC41B}"/>
              </a:ext>
            </a:extLst>
          </p:cNvPr>
          <p:cNvSpPr txBox="1"/>
          <p:nvPr/>
        </p:nvSpPr>
        <p:spPr>
          <a:xfrm>
            <a:off x="7396160" y="4513587"/>
            <a:ext cx="4352925" cy="1658938"/>
          </a:xfrm>
          <a:prstGeom prst="rect">
            <a:avLst/>
          </a:prstGeom>
          <a:noFill/>
        </p:spPr>
        <p:txBody>
          <a:bodyPr wrap="square" lIns="72000" rIns="72000" anchor="ctr">
            <a:noAutofit/>
          </a:bodyPr>
          <a:lstStyle/>
          <a:p>
            <a:pPr marL="284400" lvl="0" indent="-284400" hangingPunct="0">
              <a:buBlip>
                <a:blip r:embed="rId6"/>
              </a:buBlip>
            </a:pPr>
            <a:r>
              <a:rPr lang="lv-LV" sz="1400">
                <a:effectLst/>
                <a:ea typeface="Calibri" panose="020F0502020204030204" pitchFamily="34" charset="0"/>
                <a:cs typeface="Times New Roman" panose="02020603050405020304" pitchFamily="18" charset="0"/>
              </a:rPr>
              <a:t>Par ceļu satiksmes negadījumu uzskata arī notriektu gājēju, velosipēdistu un tamlīdzīgi.</a:t>
            </a:r>
          </a:p>
          <a:p>
            <a:pPr marL="284400" lvl="0" indent="-284400" hangingPunct="0">
              <a:buBlip>
                <a:blip r:embed="rId6"/>
              </a:buBlip>
            </a:pPr>
            <a:r>
              <a:rPr lang="lv-LV" sz="1400">
                <a:effectLst/>
                <a:ea typeface="Calibri" panose="020F0502020204030204" pitchFamily="34" charset="0"/>
                <a:cs typeface="Times New Roman" panose="02020603050405020304" pitchFamily="18" charset="0"/>
              </a:rPr>
              <a:t>Pārvietojiet cietušo tikai tad, ja draud briesmas dzīvībai.</a:t>
            </a:r>
          </a:p>
          <a:p>
            <a:pPr marL="284400" lvl="0" indent="-284400" hangingPunct="0">
              <a:buBlip>
                <a:blip r:embed="rId6"/>
              </a:buBlip>
            </a:pPr>
            <a:r>
              <a:rPr lang="lv-LV" sz="1400">
                <a:effectLst/>
                <a:ea typeface="Calibri" panose="020F0502020204030204" pitchFamily="34" charset="0"/>
                <a:cs typeface="Times New Roman" panose="02020603050405020304" pitchFamily="18" charset="0"/>
              </a:rPr>
              <a:t>Pārvietojot saudzējiet cietušā mugurkaulu.</a:t>
            </a:r>
          </a:p>
        </p:txBody>
      </p:sp>
      <p:sp>
        <p:nvSpPr>
          <p:cNvPr id="7" name="Rectangle 6">
            <a:extLst>
              <a:ext uri="{FF2B5EF4-FFF2-40B4-BE49-F238E27FC236}">
                <a16:creationId xmlns:a16="http://schemas.microsoft.com/office/drawing/2014/main" id="{86696790-9AF2-90F5-9181-2D41BE60EB49}"/>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8" name="Content Placeholder 1">
            <a:extLst>
              <a:ext uri="{FF2B5EF4-FFF2-40B4-BE49-F238E27FC236}">
                <a16:creationId xmlns:a16="http://schemas.microsoft.com/office/drawing/2014/main" id="{6D829F90-6705-E69A-21A5-90476098A43C}"/>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0" name="Content Placeholder 1">
            <a:extLst>
              <a:ext uri="{FF2B5EF4-FFF2-40B4-BE49-F238E27FC236}">
                <a16:creationId xmlns:a16="http://schemas.microsoft.com/office/drawing/2014/main" id="{286A557C-8709-63A2-4121-A57CE2733DB1}"/>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1" name="Google Shape;794;p79">
            <a:extLst>
              <a:ext uri="{FF2B5EF4-FFF2-40B4-BE49-F238E27FC236}">
                <a16:creationId xmlns:a16="http://schemas.microsoft.com/office/drawing/2014/main" id="{D2A8BC78-A9E1-D6DD-60C1-C2973B2EAC78}"/>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2" name="Rectangle 11">
            <a:extLst>
              <a:ext uri="{FF2B5EF4-FFF2-40B4-BE49-F238E27FC236}">
                <a16:creationId xmlns:a16="http://schemas.microsoft.com/office/drawing/2014/main" id="{2FDDF60C-37C1-6CF7-C1D0-493FE821D2A6}"/>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13" name="Content Placeholder 1">
            <a:extLst>
              <a:ext uri="{FF2B5EF4-FFF2-40B4-BE49-F238E27FC236}">
                <a16:creationId xmlns:a16="http://schemas.microsoft.com/office/drawing/2014/main" id="{E8384D8D-0F30-F782-8C4C-3A886A9E470F}"/>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4" name="Content Placeholder 1">
            <a:extLst>
              <a:ext uri="{FF2B5EF4-FFF2-40B4-BE49-F238E27FC236}">
                <a16:creationId xmlns:a16="http://schemas.microsoft.com/office/drawing/2014/main" id="{F608F83C-ACC0-64A4-5EB7-0ED67D40858A}"/>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5" name="Google Shape;760;p79">
            <a:extLst>
              <a:ext uri="{FF2B5EF4-FFF2-40B4-BE49-F238E27FC236}">
                <a16:creationId xmlns:a16="http://schemas.microsoft.com/office/drawing/2014/main" id="{41752F61-58C1-707D-9CA8-6885DB40EDE2}"/>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42" name="Google Shape;1646;p92">
            <a:extLst>
              <a:ext uri="{FF2B5EF4-FFF2-40B4-BE49-F238E27FC236}">
                <a16:creationId xmlns:a16="http://schemas.microsoft.com/office/drawing/2014/main" id="{9983B4C6-2A5E-EDE9-F2A8-E4730B664094}"/>
              </a:ext>
            </a:extLst>
          </p:cNvPr>
          <p:cNvGrpSpPr/>
          <p:nvPr/>
        </p:nvGrpSpPr>
        <p:grpSpPr>
          <a:xfrm>
            <a:off x="2021278" y="3724727"/>
            <a:ext cx="360363" cy="360363"/>
            <a:chOff x="9433602" y="4634724"/>
            <a:chExt cx="457200" cy="457200"/>
          </a:xfrm>
          <a:solidFill>
            <a:schemeClr val="bg1"/>
          </a:solidFill>
        </p:grpSpPr>
        <p:sp>
          <p:nvSpPr>
            <p:cNvPr id="43" name="Google Shape;1647;p92">
              <a:extLst>
                <a:ext uri="{FF2B5EF4-FFF2-40B4-BE49-F238E27FC236}">
                  <a16:creationId xmlns:a16="http://schemas.microsoft.com/office/drawing/2014/main" id="{DDCF7E12-93FA-263B-9031-ADE10BE80E06}"/>
                </a:ext>
              </a:extLst>
            </p:cNvPr>
            <p:cNvSpPr/>
            <p:nvPr/>
          </p:nvSpPr>
          <p:spPr>
            <a:xfrm>
              <a:off x="9433602" y="4634724"/>
              <a:ext cx="457200" cy="457200"/>
            </a:xfrm>
            <a:custGeom>
              <a:avLst/>
              <a:gdLst/>
              <a:ahLst/>
              <a:cxnLst/>
              <a:rect l="l" t="t" r="r" b="b"/>
              <a:pathLst>
                <a:path w="457200" h="457200" extrusionOk="0">
                  <a:moveTo>
                    <a:pt x="335883" y="318"/>
                  </a:moveTo>
                  <a:lnTo>
                    <a:pt x="335725" y="0"/>
                  </a:lnTo>
                  <a:lnTo>
                    <a:pt x="334963" y="318"/>
                  </a:lnTo>
                  <a:lnTo>
                    <a:pt x="0" y="318"/>
                  </a:lnTo>
                  <a:lnTo>
                    <a:pt x="0" y="457200"/>
                  </a:lnTo>
                  <a:lnTo>
                    <a:pt x="457200" y="457200"/>
                  </a:lnTo>
                  <a:lnTo>
                    <a:pt x="457200" y="318"/>
                  </a:lnTo>
                  <a:close/>
                  <a:moveTo>
                    <a:pt x="437674" y="90678"/>
                  </a:moveTo>
                  <a:lnTo>
                    <a:pt x="253016" y="148685"/>
                  </a:lnTo>
                  <a:cubicBezTo>
                    <a:pt x="236442" y="153892"/>
                    <a:pt x="215360" y="166307"/>
                    <a:pt x="208979" y="179007"/>
                  </a:cubicBezTo>
                  <a:cubicBezTo>
                    <a:pt x="207345" y="182590"/>
                    <a:pt x="204623" y="185567"/>
                    <a:pt x="201200" y="187516"/>
                  </a:cubicBezTo>
                  <a:cubicBezTo>
                    <a:pt x="199405" y="186001"/>
                    <a:pt x="198267" y="183850"/>
                    <a:pt x="198025" y="181515"/>
                  </a:cubicBezTo>
                  <a:cubicBezTo>
                    <a:pt x="196775" y="170265"/>
                    <a:pt x="188591" y="161014"/>
                    <a:pt x="177578" y="158401"/>
                  </a:cubicBezTo>
                  <a:cubicBezTo>
                    <a:pt x="171838" y="156258"/>
                    <a:pt x="166819" y="152538"/>
                    <a:pt x="163100" y="147669"/>
                  </a:cubicBezTo>
                  <a:cubicBezTo>
                    <a:pt x="162264" y="146588"/>
                    <a:pt x="161918" y="145206"/>
                    <a:pt x="162147" y="143859"/>
                  </a:cubicBezTo>
                  <a:cubicBezTo>
                    <a:pt x="162423" y="142180"/>
                    <a:pt x="163361" y="140682"/>
                    <a:pt x="164751" y="139700"/>
                  </a:cubicBezTo>
                  <a:cubicBezTo>
                    <a:pt x="169132" y="136525"/>
                    <a:pt x="180340" y="134906"/>
                    <a:pt x="188214" y="137382"/>
                  </a:cubicBezTo>
                  <a:cubicBezTo>
                    <a:pt x="202375" y="141859"/>
                    <a:pt x="226981" y="137954"/>
                    <a:pt x="242919" y="132048"/>
                  </a:cubicBezTo>
                  <a:lnTo>
                    <a:pt x="437674" y="59944"/>
                  </a:lnTo>
                  <a:close/>
                  <a:moveTo>
                    <a:pt x="437674" y="39053"/>
                  </a:moveTo>
                  <a:lnTo>
                    <a:pt x="236125" y="113665"/>
                  </a:lnTo>
                  <a:cubicBezTo>
                    <a:pt x="220885" y="119317"/>
                    <a:pt x="201200" y="120967"/>
                    <a:pt x="194088" y="118682"/>
                  </a:cubicBezTo>
                  <a:cubicBezTo>
                    <a:pt x="180975" y="114522"/>
                    <a:pt x="163354" y="116650"/>
                    <a:pt x="153448" y="123825"/>
                  </a:cubicBezTo>
                  <a:cubicBezTo>
                    <a:pt x="147675" y="127879"/>
                    <a:pt x="143792" y="134099"/>
                    <a:pt x="142685" y="141065"/>
                  </a:cubicBezTo>
                  <a:cubicBezTo>
                    <a:pt x="141651" y="147653"/>
                    <a:pt x="143361" y="154377"/>
                    <a:pt x="147415" y="159671"/>
                  </a:cubicBezTo>
                  <a:cubicBezTo>
                    <a:pt x="153321" y="167354"/>
                    <a:pt x="164306" y="176022"/>
                    <a:pt x="173990" y="177737"/>
                  </a:cubicBezTo>
                  <a:cubicBezTo>
                    <a:pt x="176422" y="178907"/>
                    <a:pt x="178104" y="181221"/>
                    <a:pt x="178467" y="183896"/>
                  </a:cubicBezTo>
                  <a:cubicBezTo>
                    <a:pt x="179769" y="195167"/>
                    <a:pt x="187992" y="205105"/>
                    <a:pt x="197834" y="206978"/>
                  </a:cubicBezTo>
                  <a:cubicBezTo>
                    <a:pt x="198879" y="207194"/>
                    <a:pt x="199943" y="207300"/>
                    <a:pt x="201009" y="207296"/>
                  </a:cubicBezTo>
                  <a:cubicBezTo>
                    <a:pt x="211328" y="207296"/>
                    <a:pt x="221361" y="197993"/>
                    <a:pt x="226409" y="187865"/>
                  </a:cubicBezTo>
                  <a:cubicBezTo>
                    <a:pt x="228886" y="182912"/>
                    <a:pt x="242761" y="172498"/>
                    <a:pt x="258858" y="167450"/>
                  </a:cubicBezTo>
                  <a:lnTo>
                    <a:pt x="437674" y="111125"/>
                  </a:lnTo>
                  <a:lnTo>
                    <a:pt x="437674" y="168561"/>
                  </a:lnTo>
                  <a:lnTo>
                    <a:pt x="248444" y="207677"/>
                  </a:lnTo>
                  <a:cubicBezTo>
                    <a:pt x="228573" y="211309"/>
                    <a:pt x="215408" y="230362"/>
                    <a:pt x="219040" y="250233"/>
                  </a:cubicBezTo>
                  <a:cubicBezTo>
                    <a:pt x="219449" y="252473"/>
                    <a:pt x="220067" y="254669"/>
                    <a:pt x="220885" y="256794"/>
                  </a:cubicBezTo>
                  <a:lnTo>
                    <a:pt x="230664" y="283972"/>
                  </a:lnTo>
                  <a:cubicBezTo>
                    <a:pt x="236369" y="302252"/>
                    <a:pt x="238324" y="321497"/>
                    <a:pt x="236411" y="340551"/>
                  </a:cubicBezTo>
                  <a:lnTo>
                    <a:pt x="222536" y="437674"/>
                  </a:lnTo>
                  <a:lnTo>
                    <a:pt x="182785" y="437674"/>
                  </a:lnTo>
                  <a:lnTo>
                    <a:pt x="182785" y="309563"/>
                  </a:lnTo>
                  <a:cubicBezTo>
                    <a:pt x="182785" y="292767"/>
                    <a:pt x="188182" y="273812"/>
                    <a:pt x="193040" y="267303"/>
                  </a:cubicBezTo>
                  <a:cubicBezTo>
                    <a:pt x="201359" y="256191"/>
                    <a:pt x="205740" y="239967"/>
                    <a:pt x="198215" y="230473"/>
                  </a:cubicBezTo>
                  <a:cubicBezTo>
                    <a:pt x="191611" y="222250"/>
                    <a:pt x="177387" y="220218"/>
                    <a:pt x="165100" y="225743"/>
                  </a:cubicBezTo>
                  <a:cubicBezTo>
                    <a:pt x="157319" y="228512"/>
                    <a:pt x="148898" y="228942"/>
                    <a:pt x="140875" y="226981"/>
                  </a:cubicBezTo>
                  <a:cubicBezTo>
                    <a:pt x="127032" y="222853"/>
                    <a:pt x="112300" y="228663"/>
                    <a:pt x="107347" y="240221"/>
                  </a:cubicBezTo>
                  <a:cubicBezTo>
                    <a:pt x="102394" y="251778"/>
                    <a:pt x="109633" y="267208"/>
                    <a:pt x="124365" y="275685"/>
                  </a:cubicBezTo>
                  <a:cubicBezTo>
                    <a:pt x="130715" y="279368"/>
                    <a:pt x="137859" y="294735"/>
                    <a:pt x="137859" y="309563"/>
                  </a:cubicBezTo>
                  <a:lnTo>
                    <a:pt x="137859" y="437674"/>
                  </a:lnTo>
                  <a:lnTo>
                    <a:pt x="100203" y="437674"/>
                  </a:lnTo>
                  <a:lnTo>
                    <a:pt x="79375" y="162782"/>
                  </a:lnTo>
                  <a:cubicBezTo>
                    <a:pt x="79281" y="148173"/>
                    <a:pt x="87305" y="134719"/>
                    <a:pt x="100203" y="127857"/>
                  </a:cubicBezTo>
                  <a:lnTo>
                    <a:pt x="339344" y="19907"/>
                  </a:lnTo>
                  <a:lnTo>
                    <a:pt x="437769" y="19907"/>
                  </a:lnTo>
                  <a:close/>
                  <a:moveTo>
                    <a:pt x="134144" y="258794"/>
                  </a:moveTo>
                  <a:cubicBezTo>
                    <a:pt x="127540" y="254984"/>
                    <a:pt x="124968" y="249269"/>
                    <a:pt x="125286" y="247904"/>
                  </a:cubicBezTo>
                  <a:cubicBezTo>
                    <a:pt x="125603" y="246539"/>
                    <a:pt x="130302" y="244221"/>
                    <a:pt x="135287" y="245681"/>
                  </a:cubicBezTo>
                  <a:cubicBezTo>
                    <a:pt x="147801" y="249000"/>
                    <a:pt x="161046" y="248243"/>
                    <a:pt x="173101" y="243522"/>
                  </a:cubicBezTo>
                  <a:cubicBezTo>
                    <a:pt x="176081" y="242155"/>
                    <a:pt x="179425" y="241799"/>
                    <a:pt x="182626" y="242506"/>
                  </a:cubicBezTo>
                  <a:cubicBezTo>
                    <a:pt x="182254" y="247318"/>
                    <a:pt x="180427" y="251903"/>
                    <a:pt x="177387" y="255651"/>
                  </a:cubicBezTo>
                  <a:cubicBezTo>
                    <a:pt x="168529" y="267494"/>
                    <a:pt x="163259" y="292354"/>
                    <a:pt x="163259" y="309626"/>
                  </a:cubicBezTo>
                  <a:lnTo>
                    <a:pt x="163259" y="437737"/>
                  </a:lnTo>
                  <a:lnTo>
                    <a:pt x="157385" y="437737"/>
                  </a:lnTo>
                  <a:lnTo>
                    <a:pt x="157385" y="309563"/>
                  </a:lnTo>
                  <a:cubicBezTo>
                    <a:pt x="157385" y="288258"/>
                    <a:pt x="147384" y="266446"/>
                    <a:pt x="134144" y="258794"/>
                  </a:cubicBezTo>
                  <a:close/>
                  <a:moveTo>
                    <a:pt x="19526" y="19844"/>
                  </a:moveTo>
                  <a:lnTo>
                    <a:pt x="291719" y="19844"/>
                  </a:lnTo>
                  <a:lnTo>
                    <a:pt x="92075" y="109950"/>
                  </a:lnTo>
                  <a:cubicBezTo>
                    <a:pt x="71538" y="120107"/>
                    <a:pt x="58881" y="141379"/>
                    <a:pt x="59754" y="164275"/>
                  </a:cubicBezTo>
                  <a:lnTo>
                    <a:pt x="80613" y="437674"/>
                  </a:lnTo>
                  <a:lnTo>
                    <a:pt x="19526" y="437674"/>
                  </a:lnTo>
                  <a:close/>
                  <a:moveTo>
                    <a:pt x="242253" y="437674"/>
                  </a:moveTo>
                  <a:lnTo>
                    <a:pt x="255746" y="343313"/>
                  </a:lnTo>
                  <a:cubicBezTo>
                    <a:pt x="258146" y="321104"/>
                    <a:pt x="255853" y="298635"/>
                    <a:pt x="249015" y="277368"/>
                  </a:cubicBezTo>
                  <a:lnTo>
                    <a:pt x="239236" y="250190"/>
                  </a:lnTo>
                  <a:cubicBezTo>
                    <a:pt x="235633" y="241471"/>
                    <a:pt x="239780" y="231483"/>
                    <a:pt x="248499" y="227880"/>
                  </a:cubicBezTo>
                  <a:cubicBezTo>
                    <a:pt x="249746" y="227365"/>
                    <a:pt x="251049" y="226999"/>
                    <a:pt x="252381" y="226790"/>
                  </a:cubicBezTo>
                  <a:lnTo>
                    <a:pt x="437674" y="188500"/>
                  </a:lnTo>
                  <a:lnTo>
                    <a:pt x="437674" y="437674"/>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4" name="Google Shape;1648;p92">
              <a:extLst>
                <a:ext uri="{FF2B5EF4-FFF2-40B4-BE49-F238E27FC236}">
                  <a16:creationId xmlns:a16="http://schemas.microsoft.com/office/drawing/2014/main" id="{DC7C1083-EC91-872C-7493-DADB72E816DE}"/>
                </a:ext>
              </a:extLst>
            </p:cNvPr>
            <p:cNvSpPr/>
            <p:nvPr/>
          </p:nvSpPr>
          <p:spPr>
            <a:xfrm>
              <a:off x="9534725" y="4792489"/>
              <a:ext cx="57277" cy="60198"/>
            </a:xfrm>
            <a:custGeom>
              <a:avLst/>
              <a:gdLst/>
              <a:ahLst/>
              <a:cxnLst/>
              <a:rect l="l" t="t" r="r" b="b"/>
              <a:pathLst>
                <a:path w="57277" h="60198" extrusionOk="0">
                  <a:moveTo>
                    <a:pt x="19113" y="32"/>
                  </a:moveTo>
                  <a:cubicBezTo>
                    <a:pt x="14969" y="-22"/>
                    <a:pt x="11032" y="1841"/>
                    <a:pt x="8445" y="5080"/>
                  </a:cubicBezTo>
                  <a:cubicBezTo>
                    <a:pt x="2921" y="12128"/>
                    <a:pt x="0" y="25368"/>
                    <a:pt x="0" y="34798"/>
                  </a:cubicBezTo>
                  <a:cubicBezTo>
                    <a:pt x="0" y="49022"/>
                    <a:pt x="15335" y="60198"/>
                    <a:pt x="34925" y="60198"/>
                  </a:cubicBezTo>
                  <a:cubicBezTo>
                    <a:pt x="44450" y="60198"/>
                    <a:pt x="52038" y="56198"/>
                    <a:pt x="55404" y="49213"/>
                  </a:cubicBezTo>
                  <a:cubicBezTo>
                    <a:pt x="57690" y="44514"/>
                    <a:pt x="59880" y="34512"/>
                    <a:pt x="49054" y="20638"/>
                  </a:cubicBezTo>
                  <a:cubicBezTo>
                    <a:pt x="44133" y="14288"/>
                    <a:pt x="31337" y="0"/>
                    <a:pt x="19272" y="0"/>
                  </a:cubicBezTo>
                  <a:close/>
                  <a:moveTo>
                    <a:pt x="21876" y="21273"/>
                  </a:moveTo>
                  <a:cubicBezTo>
                    <a:pt x="26310" y="24523"/>
                    <a:pt x="30265" y="28381"/>
                    <a:pt x="33623" y="32734"/>
                  </a:cubicBezTo>
                  <a:cubicBezTo>
                    <a:pt x="35563" y="34892"/>
                    <a:pt x="36957" y="37483"/>
                    <a:pt x="37687" y="40291"/>
                  </a:cubicBezTo>
                  <a:cubicBezTo>
                    <a:pt x="36786" y="40525"/>
                    <a:pt x="35856" y="40632"/>
                    <a:pt x="34925" y="40608"/>
                  </a:cubicBezTo>
                  <a:cubicBezTo>
                    <a:pt x="25400" y="40608"/>
                    <a:pt x="19653" y="36195"/>
                    <a:pt x="19526" y="34735"/>
                  </a:cubicBezTo>
                  <a:cubicBezTo>
                    <a:pt x="19608" y="30153"/>
                    <a:pt x="20400" y="25611"/>
                    <a:pt x="21876" y="21273"/>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grpSp>
        <p:nvGrpSpPr>
          <p:cNvPr id="45" name="Google Shape;1582;p92">
            <a:extLst>
              <a:ext uri="{FF2B5EF4-FFF2-40B4-BE49-F238E27FC236}">
                <a16:creationId xmlns:a16="http://schemas.microsoft.com/office/drawing/2014/main" id="{46B9523D-B1A2-DFB9-CE6B-DBB65D7141F1}"/>
              </a:ext>
            </a:extLst>
          </p:cNvPr>
          <p:cNvGrpSpPr/>
          <p:nvPr/>
        </p:nvGrpSpPr>
        <p:grpSpPr>
          <a:xfrm>
            <a:off x="2021278" y="5642770"/>
            <a:ext cx="360363" cy="360363"/>
            <a:chOff x="5493778" y="3895566"/>
            <a:chExt cx="457200" cy="457200"/>
          </a:xfrm>
          <a:solidFill>
            <a:schemeClr val="bg1"/>
          </a:solidFill>
        </p:grpSpPr>
        <p:sp>
          <p:nvSpPr>
            <p:cNvPr id="46" name="Google Shape;1583;p92">
              <a:extLst>
                <a:ext uri="{FF2B5EF4-FFF2-40B4-BE49-F238E27FC236}">
                  <a16:creationId xmlns:a16="http://schemas.microsoft.com/office/drawing/2014/main" id="{CD2B455F-A780-2503-AC7D-743CC8FD7AD0}"/>
                </a:ext>
              </a:extLst>
            </p:cNvPr>
            <p:cNvSpPr/>
            <p:nvPr/>
          </p:nvSpPr>
          <p:spPr>
            <a:xfrm>
              <a:off x="5493778" y="3895566"/>
              <a:ext cx="457200" cy="457200"/>
            </a:xfrm>
            <a:custGeom>
              <a:avLst/>
              <a:gdLst/>
              <a:ahLst/>
              <a:cxnLst/>
              <a:rect l="l" t="t" r="r" b="b"/>
              <a:pathLst>
                <a:path w="457200" h="457200" extrusionOk="0">
                  <a:moveTo>
                    <a:pt x="0" y="0"/>
                  </a:moveTo>
                  <a:lnTo>
                    <a:pt x="0" y="457200"/>
                  </a:lnTo>
                  <a:lnTo>
                    <a:pt x="457200" y="457200"/>
                  </a:lnTo>
                  <a:lnTo>
                    <a:pt x="457200" y="0"/>
                  </a:lnTo>
                  <a:close/>
                  <a:moveTo>
                    <a:pt x="256159" y="437674"/>
                  </a:moveTo>
                  <a:lnTo>
                    <a:pt x="201041" y="437674"/>
                  </a:lnTo>
                  <a:lnTo>
                    <a:pt x="201041" y="405479"/>
                  </a:lnTo>
                  <a:lnTo>
                    <a:pt x="256159" y="405479"/>
                  </a:lnTo>
                  <a:close/>
                  <a:moveTo>
                    <a:pt x="256159" y="385953"/>
                  </a:moveTo>
                  <a:lnTo>
                    <a:pt x="201041" y="385953"/>
                  </a:lnTo>
                  <a:lnTo>
                    <a:pt x="201041" y="354743"/>
                  </a:lnTo>
                  <a:lnTo>
                    <a:pt x="256159" y="354743"/>
                  </a:lnTo>
                  <a:close/>
                  <a:moveTo>
                    <a:pt x="256159" y="335153"/>
                  </a:moveTo>
                  <a:lnTo>
                    <a:pt x="201041" y="335153"/>
                  </a:lnTo>
                  <a:lnTo>
                    <a:pt x="201041" y="297688"/>
                  </a:lnTo>
                  <a:lnTo>
                    <a:pt x="256159" y="297688"/>
                  </a:lnTo>
                  <a:close/>
                  <a:moveTo>
                    <a:pt x="274098" y="288195"/>
                  </a:moveTo>
                  <a:cubicBezTo>
                    <a:pt x="271299" y="282047"/>
                    <a:pt x="265168" y="278100"/>
                    <a:pt x="258413" y="278098"/>
                  </a:cubicBezTo>
                  <a:lnTo>
                    <a:pt x="198787" y="278098"/>
                  </a:lnTo>
                  <a:cubicBezTo>
                    <a:pt x="191958" y="278039"/>
                    <a:pt x="185736" y="282009"/>
                    <a:pt x="182912" y="288227"/>
                  </a:cubicBezTo>
                  <a:lnTo>
                    <a:pt x="145764" y="332994"/>
                  </a:lnTo>
                  <a:cubicBezTo>
                    <a:pt x="143544" y="335137"/>
                    <a:pt x="140673" y="336477"/>
                    <a:pt x="137605" y="336804"/>
                  </a:cubicBezTo>
                  <a:lnTo>
                    <a:pt x="124905" y="336804"/>
                  </a:lnTo>
                  <a:cubicBezTo>
                    <a:pt x="122932" y="336464"/>
                    <a:pt x="121193" y="335312"/>
                    <a:pt x="120110" y="333629"/>
                  </a:cubicBezTo>
                  <a:lnTo>
                    <a:pt x="73406" y="235712"/>
                  </a:lnTo>
                  <a:cubicBezTo>
                    <a:pt x="71545" y="231286"/>
                    <a:pt x="70471" y="226569"/>
                    <a:pt x="70231" y="221774"/>
                  </a:cubicBezTo>
                  <a:lnTo>
                    <a:pt x="70231" y="117475"/>
                  </a:lnTo>
                  <a:cubicBezTo>
                    <a:pt x="70511" y="115747"/>
                    <a:pt x="71532" y="114229"/>
                    <a:pt x="73025" y="113316"/>
                  </a:cubicBezTo>
                  <a:lnTo>
                    <a:pt x="90678" y="105982"/>
                  </a:lnTo>
                  <a:cubicBezTo>
                    <a:pt x="91652" y="105811"/>
                    <a:pt x="92650" y="106105"/>
                    <a:pt x="93377" y="106775"/>
                  </a:cubicBezTo>
                  <a:lnTo>
                    <a:pt x="166402" y="208185"/>
                  </a:lnTo>
                  <a:cubicBezTo>
                    <a:pt x="171931" y="215335"/>
                    <a:pt x="180356" y="219652"/>
                    <a:pt x="189389" y="219964"/>
                  </a:cubicBezTo>
                  <a:lnTo>
                    <a:pt x="267780" y="219964"/>
                  </a:lnTo>
                  <a:cubicBezTo>
                    <a:pt x="276812" y="219652"/>
                    <a:pt x="285238" y="215335"/>
                    <a:pt x="290767" y="208185"/>
                  </a:cubicBezTo>
                  <a:lnTo>
                    <a:pt x="363792" y="106775"/>
                  </a:lnTo>
                  <a:cubicBezTo>
                    <a:pt x="364519" y="106105"/>
                    <a:pt x="365516" y="105811"/>
                    <a:pt x="366490" y="105982"/>
                  </a:cubicBezTo>
                  <a:lnTo>
                    <a:pt x="384175" y="113316"/>
                  </a:lnTo>
                  <a:cubicBezTo>
                    <a:pt x="385667" y="114228"/>
                    <a:pt x="386690" y="115747"/>
                    <a:pt x="386969" y="117475"/>
                  </a:cubicBezTo>
                  <a:lnTo>
                    <a:pt x="386969" y="221774"/>
                  </a:lnTo>
                  <a:cubicBezTo>
                    <a:pt x="386731" y="226569"/>
                    <a:pt x="385655" y="231286"/>
                    <a:pt x="383794" y="235712"/>
                  </a:cubicBezTo>
                  <a:lnTo>
                    <a:pt x="337185" y="333756"/>
                  </a:lnTo>
                  <a:cubicBezTo>
                    <a:pt x="336109" y="335445"/>
                    <a:pt x="334366" y="336598"/>
                    <a:pt x="332391" y="336931"/>
                  </a:cubicBezTo>
                  <a:lnTo>
                    <a:pt x="319691" y="336931"/>
                  </a:lnTo>
                  <a:cubicBezTo>
                    <a:pt x="316623" y="336604"/>
                    <a:pt x="313752" y="335264"/>
                    <a:pt x="311531" y="333121"/>
                  </a:cubicBezTo>
                  <a:close/>
                  <a:moveTo>
                    <a:pt x="437674" y="437610"/>
                  </a:moveTo>
                  <a:lnTo>
                    <a:pt x="275749" y="437610"/>
                  </a:lnTo>
                  <a:lnTo>
                    <a:pt x="275749" y="320675"/>
                  </a:lnTo>
                  <a:lnTo>
                    <a:pt x="296513" y="345567"/>
                  </a:lnTo>
                  <a:cubicBezTo>
                    <a:pt x="302437" y="352171"/>
                    <a:pt x="310793" y="356079"/>
                    <a:pt x="319659" y="356394"/>
                  </a:cubicBezTo>
                  <a:lnTo>
                    <a:pt x="332359" y="356394"/>
                  </a:lnTo>
                  <a:cubicBezTo>
                    <a:pt x="341852" y="356054"/>
                    <a:pt x="350428" y="350631"/>
                    <a:pt x="354806" y="342202"/>
                  </a:cubicBezTo>
                  <a:lnTo>
                    <a:pt x="401384" y="244158"/>
                  </a:lnTo>
                  <a:cubicBezTo>
                    <a:pt x="404470" y="237139"/>
                    <a:pt x="406184" y="229595"/>
                    <a:pt x="406432" y="221933"/>
                  </a:cubicBezTo>
                  <a:lnTo>
                    <a:pt x="406432" y="117475"/>
                  </a:lnTo>
                  <a:cubicBezTo>
                    <a:pt x="406098" y="107856"/>
                    <a:pt x="400358" y="99251"/>
                    <a:pt x="391605" y="95250"/>
                  </a:cubicBezTo>
                  <a:lnTo>
                    <a:pt x="373952" y="87916"/>
                  </a:lnTo>
                  <a:cubicBezTo>
                    <a:pt x="364598" y="84204"/>
                    <a:pt x="353920" y="87239"/>
                    <a:pt x="347917" y="95314"/>
                  </a:cubicBezTo>
                  <a:lnTo>
                    <a:pt x="274923" y="196850"/>
                  </a:lnTo>
                  <a:cubicBezTo>
                    <a:pt x="273060" y="198888"/>
                    <a:pt x="270523" y="200184"/>
                    <a:pt x="267780" y="200501"/>
                  </a:cubicBezTo>
                  <a:lnTo>
                    <a:pt x="189421" y="200501"/>
                  </a:lnTo>
                  <a:cubicBezTo>
                    <a:pt x="186677" y="200184"/>
                    <a:pt x="184140" y="198888"/>
                    <a:pt x="182277" y="196850"/>
                  </a:cubicBezTo>
                  <a:lnTo>
                    <a:pt x="109252" y="95250"/>
                  </a:lnTo>
                  <a:cubicBezTo>
                    <a:pt x="103248" y="87175"/>
                    <a:pt x="92569" y="84140"/>
                    <a:pt x="83217" y="87852"/>
                  </a:cubicBezTo>
                  <a:lnTo>
                    <a:pt x="65564" y="95250"/>
                  </a:lnTo>
                  <a:cubicBezTo>
                    <a:pt x="56834" y="99269"/>
                    <a:pt x="51121" y="107870"/>
                    <a:pt x="50800" y="117475"/>
                  </a:cubicBezTo>
                  <a:lnTo>
                    <a:pt x="50800" y="221774"/>
                  </a:lnTo>
                  <a:cubicBezTo>
                    <a:pt x="51033" y="229439"/>
                    <a:pt x="52748" y="236985"/>
                    <a:pt x="55848" y="243999"/>
                  </a:cubicBezTo>
                  <a:lnTo>
                    <a:pt x="102457" y="342043"/>
                  </a:lnTo>
                  <a:cubicBezTo>
                    <a:pt x="106819" y="350472"/>
                    <a:pt x="115387" y="355898"/>
                    <a:pt x="124873" y="356235"/>
                  </a:cubicBezTo>
                  <a:lnTo>
                    <a:pt x="137573" y="356235"/>
                  </a:lnTo>
                  <a:cubicBezTo>
                    <a:pt x="146439" y="355921"/>
                    <a:pt x="154795" y="352012"/>
                    <a:pt x="160719" y="345408"/>
                  </a:cubicBezTo>
                  <a:lnTo>
                    <a:pt x="181515" y="320675"/>
                  </a:lnTo>
                  <a:lnTo>
                    <a:pt x="181515" y="437737"/>
                  </a:lnTo>
                  <a:lnTo>
                    <a:pt x="19590" y="437737"/>
                  </a:lnTo>
                  <a:lnTo>
                    <a:pt x="19590" y="19526"/>
                  </a:lnTo>
                  <a:lnTo>
                    <a:pt x="437737" y="1952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7" name="Google Shape;1584;p92">
              <a:extLst>
                <a:ext uri="{FF2B5EF4-FFF2-40B4-BE49-F238E27FC236}">
                  <a16:creationId xmlns:a16="http://schemas.microsoft.com/office/drawing/2014/main" id="{3D790F82-3547-EF9A-7C8B-74D7CF2F700B}"/>
                </a:ext>
              </a:extLst>
            </p:cNvPr>
            <p:cNvSpPr/>
            <p:nvPr/>
          </p:nvSpPr>
          <p:spPr>
            <a:xfrm>
              <a:off x="5610141" y="4133659"/>
              <a:ext cx="28701" cy="28701"/>
            </a:xfrm>
            <a:custGeom>
              <a:avLst/>
              <a:gdLst/>
              <a:ahLst/>
              <a:cxnLst/>
              <a:rect l="l" t="t" r="r" b="b"/>
              <a:pathLst>
                <a:path w="28701" h="28701" extrusionOk="0">
                  <a:moveTo>
                    <a:pt x="28702" y="14351"/>
                  </a:moveTo>
                  <a:cubicBezTo>
                    <a:pt x="28702" y="22277"/>
                    <a:pt x="22277" y="28702"/>
                    <a:pt x="14351" y="28702"/>
                  </a:cubicBezTo>
                  <a:cubicBezTo>
                    <a:pt x="6425" y="28702"/>
                    <a:pt x="0" y="22277"/>
                    <a:pt x="0" y="14351"/>
                  </a:cubicBezTo>
                  <a:cubicBezTo>
                    <a:pt x="0" y="6425"/>
                    <a:pt x="6425" y="0"/>
                    <a:pt x="14351" y="0"/>
                  </a:cubicBezTo>
                  <a:cubicBezTo>
                    <a:pt x="22277" y="0"/>
                    <a:pt x="28702" y="6425"/>
                    <a:pt x="28702" y="14351"/>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8" name="Google Shape;1585;p92">
              <a:extLst>
                <a:ext uri="{FF2B5EF4-FFF2-40B4-BE49-F238E27FC236}">
                  <a16:creationId xmlns:a16="http://schemas.microsoft.com/office/drawing/2014/main" id="{D5B76281-7D96-4E19-A4FF-B4C20BF4729A}"/>
                </a:ext>
              </a:extLst>
            </p:cNvPr>
            <p:cNvSpPr/>
            <p:nvPr/>
          </p:nvSpPr>
          <p:spPr>
            <a:xfrm>
              <a:off x="5588742" y="4097750"/>
              <a:ext cx="28702" cy="28701"/>
            </a:xfrm>
            <a:custGeom>
              <a:avLst/>
              <a:gdLst/>
              <a:ahLst/>
              <a:cxnLst/>
              <a:rect l="l" t="t" r="r" b="b"/>
              <a:pathLst>
                <a:path w="28702" h="28701" extrusionOk="0">
                  <a:moveTo>
                    <a:pt x="28702" y="14351"/>
                  </a:moveTo>
                  <a:cubicBezTo>
                    <a:pt x="28702" y="22277"/>
                    <a:pt x="22277" y="28702"/>
                    <a:pt x="14351" y="28702"/>
                  </a:cubicBezTo>
                  <a:cubicBezTo>
                    <a:pt x="6425" y="28702"/>
                    <a:pt x="0" y="22277"/>
                    <a:pt x="0" y="14351"/>
                  </a:cubicBezTo>
                  <a:cubicBezTo>
                    <a:pt x="0" y="6425"/>
                    <a:pt x="6425" y="0"/>
                    <a:pt x="14351" y="0"/>
                  </a:cubicBezTo>
                  <a:cubicBezTo>
                    <a:pt x="22277" y="0"/>
                    <a:pt x="28702" y="6425"/>
                    <a:pt x="28702" y="14351"/>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9" name="Google Shape;1586;p92">
              <a:extLst>
                <a:ext uri="{FF2B5EF4-FFF2-40B4-BE49-F238E27FC236}">
                  <a16:creationId xmlns:a16="http://schemas.microsoft.com/office/drawing/2014/main" id="{24362322-A3F3-FF69-8DDF-1FEE575B8E04}"/>
                </a:ext>
              </a:extLst>
            </p:cNvPr>
            <p:cNvSpPr/>
            <p:nvPr/>
          </p:nvSpPr>
          <p:spPr>
            <a:xfrm>
              <a:off x="5799594" y="4133659"/>
              <a:ext cx="28701" cy="28701"/>
            </a:xfrm>
            <a:custGeom>
              <a:avLst/>
              <a:gdLst/>
              <a:ahLst/>
              <a:cxnLst/>
              <a:rect l="l" t="t" r="r" b="b"/>
              <a:pathLst>
                <a:path w="28701" h="28701" extrusionOk="0">
                  <a:moveTo>
                    <a:pt x="28702" y="14351"/>
                  </a:moveTo>
                  <a:cubicBezTo>
                    <a:pt x="28702" y="22277"/>
                    <a:pt x="22277" y="28702"/>
                    <a:pt x="14351" y="28702"/>
                  </a:cubicBezTo>
                  <a:cubicBezTo>
                    <a:pt x="6425" y="28702"/>
                    <a:pt x="0" y="22277"/>
                    <a:pt x="0" y="14351"/>
                  </a:cubicBezTo>
                  <a:cubicBezTo>
                    <a:pt x="0" y="6425"/>
                    <a:pt x="6425" y="0"/>
                    <a:pt x="14351" y="0"/>
                  </a:cubicBezTo>
                  <a:cubicBezTo>
                    <a:pt x="22277" y="0"/>
                    <a:pt x="28702" y="6425"/>
                    <a:pt x="28702" y="14351"/>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0" name="Google Shape;1587;p92">
              <a:extLst>
                <a:ext uri="{FF2B5EF4-FFF2-40B4-BE49-F238E27FC236}">
                  <a16:creationId xmlns:a16="http://schemas.microsoft.com/office/drawing/2014/main" id="{1BE8142D-74E9-D6AF-D449-1F0C63E9D113}"/>
                </a:ext>
              </a:extLst>
            </p:cNvPr>
            <p:cNvSpPr/>
            <p:nvPr/>
          </p:nvSpPr>
          <p:spPr>
            <a:xfrm>
              <a:off x="5820993" y="4097750"/>
              <a:ext cx="28701" cy="28701"/>
            </a:xfrm>
            <a:custGeom>
              <a:avLst/>
              <a:gdLst/>
              <a:ahLst/>
              <a:cxnLst/>
              <a:rect l="l" t="t" r="r" b="b"/>
              <a:pathLst>
                <a:path w="28701" h="28701" extrusionOk="0">
                  <a:moveTo>
                    <a:pt x="28702" y="14351"/>
                  </a:moveTo>
                  <a:cubicBezTo>
                    <a:pt x="28702" y="22277"/>
                    <a:pt x="22277" y="28702"/>
                    <a:pt x="14351" y="28702"/>
                  </a:cubicBezTo>
                  <a:cubicBezTo>
                    <a:pt x="6425" y="28702"/>
                    <a:pt x="0" y="22277"/>
                    <a:pt x="0" y="14351"/>
                  </a:cubicBezTo>
                  <a:cubicBezTo>
                    <a:pt x="0" y="6425"/>
                    <a:pt x="6425" y="0"/>
                    <a:pt x="14351" y="0"/>
                  </a:cubicBezTo>
                  <a:cubicBezTo>
                    <a:pt x="22277" y="0"/>
                    <a:pt x="28702" y="6425"/>
                    <a:pt x="28702" y="14351"/>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sp>
        <p:nvSpPr>
          <p:cNvPr id="2" name="Rectangle 1">
            <a:extLst>
              <a:ext uri="{FF2B5EF4-FFF2-40B4-BE49-F238E27FC236}">
                <a16:creationId xmlns:a16="http://schemas.microsoft.com/office/drawing/2014/main" id="{68CC9B95-24B4-F548-79EA-0FC37F46459D}"/>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32" name="Group 31">
            <a:extLst>
              <a:ext uri="{FF2B5EF4-FFF2-40B4-BE49-F238E27FC236}">
                <a16:creationId xmlns:a16="http://schemas.microsoft.com/office/drawing/2014/main" id="{5A407E46-3D4F-F074-EB86-6DE17D8F3CCD}"/>
              </a:ext>
            </a:extLst>
          </p:cNvPr>
          <p:cNvGrpSpPr/>
          <p:nvPr/>
        </p:nvGrpSpPr>
        <p:grpSpPr>
          <a:xfrm>
            <a:off x="9842140" y="372216"/>
            <a:ext cx="1667215" cy="217488"/>
            <a:chOff x="9842140" y="372216"/>
            <a:chExt cx="1667215" cy="217488"/>
          </a:xfrm>
        </p:grpSpPr>
        <p:sp>
          <p:nvSpPr>
            <p:cNvPr id="33" name="TextBox 32">
              <a:extLst>
                <a:ext uri="{FF2B5EF4-FFF2-40B4-BE49-F238E27FC236}">
                  <a16:creationId xmlns:a16="http://schemas.microsoft.com/office/drawing/2014/main" id="{4343A1D4-278C-9976-9B7F-C63811EF9DC9}"/>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Traumas</a:t>
              </a:r>
            </a:p>
          </p:txBody>
        </p:sp>
        <p:sp>
          <p:nvSpPr>
            <p:cNvPr id="34" name="Freeform 49">
              <a:extLst>
                <a:ext uri="{FF2B5EF4-FFF2-40B4-BE49-F238E27FC236}">
                  <a16:creationId xmlns:a16="http://schemas.microsoft.com/office/drawing/2014/main" id="{CA8E062C-8775-CB06-C7C0-2EF0A1AFC4EB}"/>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23" name="Group 22">
            <a:extLst>
              <a:ext uri="{FF2B5EF4-FFF2-40B4-BE49-F238E27FC236}">
                <a16:creationId xmlns:a16="http://schemas.microsoft.com/office/drawing/2014/main" id="{CB62257A-DFA7-C5AC-81EB-42FA29E186E1}"/>
              </a:ext>
            </a:extLst>
          </p:cNvPr>
          <p:cNvGrpSpPr/>
          <p:nvPr/>
        </p:nvGrpSpPr>
        <p:grpSpPr>
          <a:xfrm>
            <a:off x="9122935" y="126781"/>
            <a:ext cx="2626153" cy="217488"/>
            <a:chOff x="9122935" y="126781"/>
            <a:chExt cx="2626153" cy="217488"/>
          </a:xfrm>
        </p:grpSpPr>
        <p:sp>
          <p:nvSpPr>
            <p:cNvPr id="30" name="Rectangle 29">
              <a:extLst>
                <a:ext uri="{FF2B5EF4-FFF2-40B4-BE49-F238E27FC236}">
                  <a16:creationId xmlns:a16="http://schemas.microsoft.com/office/drawing/2014/main" id="{0ACE784C-9643-4E34-2C76-AB0B91BBD56A}"/>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31" name="Rectangle 30">
              <a:extLst>
                <a:ext uri="{FF2B5EF4-FFF2-40B4-BE49-F238E27FC236}">
                  <a16:creationId xmlns:a16="http://schemas.microsoft.com/office/drawing/2014/main" id="{EFD13C4D-4450-F771-E774-94B59D7D0BAB}"/>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5" name="Rectangle 34">
              <a:extLst>
                <a:ext uri="{FF2B5EF4-FFF2-40B4-BE49-F238E27FC236}">
                  <a16:creationId xmlns:a16="http://schemas.microsoft.com/office/drawing/2014/main" id="{0F48C417-784C-0034-A5B2-CE742ADC1FB5}"/>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40" name="Rectangle 39">
              <a:extLst>
                <a:ext uri="{FF2B5EF4-FFF2-40B4-BE49-F238E27FC236}">
                  <a16:creationId xmlns:a16="http://schemas.microsoft.com/office/drawing/2014/main" id="{7A2A40D2-701B-C463-7D2C-EA911A2E890C}"/>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41" name="Rectangle 40">
              <a:extLst>
                <a:ext uri="{FF2B5EF4-FFF2-40B4-BE49-F238E27FC236}">
                  <a16:creationId xmlns:a16="http://schemas.microsoft.com/office/drawing/2014/main" id="{232A0F99-25A5-7805-5CDC-762BE5A433F5}"/>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51" name="Rectangle 50">
              <a:extLst>
                <a:ext uri="{FF2B5EF4-FFF2-40B4-BE49-F238E27FC236}">
                  <a16:creationId xmlns:a16="http://schemas.microsoft.com/office/drawing/2014/main" id="{60918515-4152-10AE-F7B4-27C77C1F3DE5}"/>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26300996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9E6BB6A-4571-FBF8-9A7D-06ADE4374D4D}"/>
              </a:ext>
            </a:extLst>
          </p:cNvPr>
          <p:cNvGraphicFramePr>
            <a:graphicFrameLocks noChangeAspect="1"/>
          </p:cNvGraphicFramePr>
          <p:nvPr>
            <p:custDataLst>
              <p:tags r:id="rId1"/>
            </p:custDataLst>
            <p:extLst>
              <p:ext uri="{D42A27DB-BD31-4B8C-83A1-F6EECF244321}">
                <p14:modId xmlns:p14="http://schemas.microsoft.com/office/powerpoint/2010/main" val="4215085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D9E6BB6A-4571-FBF8-9A7D-06ADE4374D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C5CAEA48-B979-EC6F-981E-261068A25315}"/>
              </a:ext>
            </a:extLst>
          </p:cNvPr>
          <p:cNvSpPr/>
          <p:nvPr/>
        </p:nvSpPr>
        <p:spPr>
          <a:xfrm>
            <a:off x="2651760" y="4513587"/>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6" name="Rectangle 5">
            <a:extLst>
              <a:ext uri="{FF2B5EF4-FFF2-40B4-BE49-F238E27FC236}">
                <a16:creationId xmlns:a16="http://schemas.microsoft.com/office/drawing/2014/main" id="{184C075A-DD9A-7A1D-015C-2F785FEDF36B}"/>
              </a:ext>
            </a:extLst>
          </p:cNvPr>
          <p:cNvSpPr/>
          <p:nvPr/>
        </p:nvSpPr>
        <p:spPr>
          <a:xfrm>
            <a:off x="2651760" y="2630366"/>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7" name="Rectangle 6">
            <a:extLst>
              <a:ext uri="{FF2B5EF4-FFF2-40B4-BE49-F238E27FC236}">
                <a16:creationId xmlns:a16="http://schemas.microsoft.com/office/drawing/2014/main" id="{B480EC34-640F-A759-BC1B-46090E9E4985}"/>
              </a:ext>
            </a:extLst>
          </p:cNvPr>
          <p:cNvSpPr/>
          <p:nvPr/>
        </p:nvSpPr>
        <p:spPr>
          <a:xfrm>
            <a:off x="284753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8" name="Rectangle 7">
            <a:extLst>
              <a:ext uri="{FF2B5EF4-FFF2-40B4-BE49-F238E27FC236}">
                <a16:creationId xmlns:a16="http://schemas.microsoft.com/office/drawing/2014/main" id="{AFB34B36-403F-ED4C-6EF1-55C1DBB36EA3}"/>
              </a:ext>
            </a:extLst>
          </p:cNvPr>
          <p:cNvSpPr/>
          <p:nvPr/>
        </p:nvSpPr>
        <p:spPr>
          <a:xfrm>
            <a:off x="739616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10" name="Rectangle 9">
            <a:extLst>
              <a:ext uri="{FF2B5EF4-FFF2-40B4-BE49-F238E27FC236}">
                <a16:creationId xmlns:a16="http://schemas.microsoft.com/office/drawing/2014/main" id="{05DE4226-7C1B-B38B-5004-5E77F23CE44D}"/>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11" name="Content Placeholder 1">
            <a:extLst>
              <a:ext uri="{FF2B5EF4-FFF2-40B4-BE49-F238E27FC236}">
                <a16:creationId xmlns:a16="http://schemas.microsoft.com/office/drawing/2014/main" id="{47EBD6B7-CBD3-6D96-E822-C13AFE2A15AD}"/>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2" name="Content Placeholder 1">
            <a:extLst>
              <a:ext uri="{FF2B5EF4-FFF2-40B4-BE49-F238E27FC236}">
                <a16:creationId xmlns:a16="http://schemas.microsoft.com/office/drawing/2014/main" id="{3ABDDA66-98A9-A8E6-63B6-B02C77AC084E}"/>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3" name="Google Shape;794;p79">
            <a:extLst>
              <a:ext uri="{FF2B5EF4-FFF2-40B4-BE49-F238E27FC236}">
                <a16:creationId xmlns:a16="http://schemas.microsoft.com/office/drawing/2014/main" id="{EE63BB20-3EF9-9EF1-9D68-A5E2FD06303C}"/>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4" name="Rectangle 13">
            <a:extLst>
              <a:ext uri="{FF2B5EF4-FFF2-40B4-BE49-F238E27FC236}">
                <a16:creationId xmlns:a16="http://schemas.microsoft.com/office/drawing/2014/main" id="{CD9216D1-EF98-9672-ACDE-4EEE135E44BB}"/>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15" name="Content Placeholder 1">
            <a:extLst>
              <a:ext uri="{FF2B5EF4-FFF2-40B4-BE49-F238E27FC236}">
                <a16:creationId xmlns:a16="http://schemas.microsoft.com/office/drawing/2014/main" id="{A59FD308-3084-7A9B-3D8B-6B2666B11ED4}"/>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7" name="Content Placeholder 1">
            <a:extLst>
              <a:ext uri="{FF2B5EF4-FFF2-40B4-BE49-F238E27FC236}">
                <a16:creationId xmlns:a16="http://schemas.microsoft.com/office/drawing/2014/main" id="{ED43572E-9BCA-81C8-D35A-43B7B450EB3B}"/>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9" name="Google Shape;760;p79">
            <a:extLst>
              <a:ext uri="{FF2B5EF4-FFF2-40B4-BE49-F238E27FC236}">
                <a16:creationId xmlns:a16="http://schemas.microsoft.com/office/drawing/2014/main" id="{0A93DE12-D9B5-3489-10B2-18CCAC67A954}"/>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6" name="Rectangle 35">
            <a:extLst>
              <a:ext uri="{FF2B5EF4-FFF2-40B4-BE49-F238E27FC236}">
                <a16:creationId xmlns:a16="http://schemas.microsoft.com/office/drawing/2014/main" id="{A8F39C25-781C-A7DA-387A-D92FCABEE1F5}"/>
              </a:ext>
            </a:extLst>
          </p:cNvPr>
          <p:cNvSpPr/>
          <p:nvPr/>
        </p:nvSpPr>
        <p:spPr>
          <a:xfrm>
            <a:off x="442912" y="2630366"/>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Vēdera traumas</a:t>
            </a:r>
          </a:p>
        </p:txBody>
      </p:sp>
      <p:sp>
        <p:nvSpPr>
          <p:cNvPr id="37" name="Rectangle 36">
            <a:extLst>
              <a:ext uri="{FF2B5EF4-FFF2-40B4-BE49-F238E27FC236}">
                <a16:creationId xmlns:a16="http://schemas.microsoft.com/office/drawing/2014/main" id="{BD11DB78-D65B-9D3C-EED7-1721F1C9BCF6}"/>
              </a:ext>
            </a:extLst>
          </p:cNvPr>
          <p:cNvSpPr/>
          <p:nvPr/>
        </p:nvSpPr>
        <p:spPr>
          <a:xfrm>
            <a:off x="442912" y="4513587"/>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Krūškurvja traumas</a:t>
            </a:r>
          </a:p>
        </p:txBody>
      </p:sp>
      <p:sp>
        <p:nvSpPr>
          <p:cNvPr id="38" name="Content Placeholder 1">
            <a:extLst>
              <a:ext uri="{FF2B5EF4-FFF2-40B4-BE49-F238E27FC236}">
                <a16:creationId xmlns:a16="http://schemas.microsoft.com/office/drawing/2014/main" id="{7B1F3CCD-2DE1-C2A8-D340-EAF5B3993679}"/>
              </a:ext>
            </a:extLst>
          </p:cNvPr>
          <p:cNvSpPr txBox="1">
            <a:spLocks/>
          </p:cNvSpPr>
          <p:nvPr/>
        </p:nvSpPr>
        <p:spPr>
          <a:xfrm>
            <a:off x="2579759" y="2630366"/>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9" name="Content Placeholder 1">
            <a:extLst>
              <a:ext uri="{FF2B5EF4-FFF2-40B4-BE49-F238E27FC236}">
                <a16:creationId xmlns:a16="http://schemas.microsoft.com/office/drawing/2014/main" id="{DCB78F50-A328-CF00-9A1A-F2F677D9CB38}"/>
              </a:ext>
            </a:extLst>
          </p:cNvPr>
          <p:cNvSpPr txBox="1">
            <a:spLocks/>
          </p:cNvSpPr>
          <p:nvPr/>
        </p:nvSpPr>
        <p:spPr>
          <a:xfrm>
            <a:off x="2579759" y="4513587"/>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a:lstStyle/>
          <a:p>
            <a:r>
              <a:rPr lang="lv-LV"/>
              <a:t>Kā rīkoties traumu gadījum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31</a:t>
            </a:fld>
            <a:endParaRPr lang="en-GB"/>
          </a:p>
        </p:txBody>
      </p:sp>
      <p:sp>
        <p:nvSpPr>
          <p:cNvPr id="16" name="TextBox 15">
            <a:extLst>
              <a:ext uri="{FF2B5EF4-FFF2-40B4-BE49-F238E27FC236}">
                <a16:creationId xmlns:a16="http://schemas.microsoft.com/office/drawing/2014/main" id="{30819613-CE74-49B6-0807-44FDBB81D466}"/>
              </a:ext>
            </a:extLst>
          </p:cNvPr>
          <p:cNvSpPr txBox="1"/>
          <p:nvPr/>
        </p:nvSpPr>
        <p:spPr>
          <a:xfrm>
            <a:off x="2847530" y="2630366"/>
            <a:ext cx="4129088" cy="1658938"/>
          </a:xfrm>
          <a:prstGeom prst="rect">
            <a:avLst/>
          </a:prstGeom>
          <a:noFill/>
        </p:spPr>
        <p:txBody>
          <a:bodyPr wrap="square" lIns="72000" rIns="72000" anchor="ctr">
            <a:noAutofit/>
          </a:bodyPr>
          <a:lstStyle/>
          <a:p>
            <a:pPr marL="284400" lvl="1" indent="-284400" hangingPunct="0">
              <a:buBlip>
                <a:blip r:embed="rId6"/>
              </a:buBlip>
              <a:tabLst>
                <a:tab pos="457200" algn="l"/>
                <a:tab pos="1586230" algn="l"/>
              </a:tabLst>
            </a:pPr>
            <a:r>
              <a:rPr lang="lv-LV" sz="1400">
                <a:effectLst/>
                <a:ea typeface="Times New Roman" panose="02020603050405020304" pitchFamily="18" charset="0"/>
              </a:rPr>
              <a:t>Palīdziet/ļaujiet cietušajam ieņemt ērtāko ķermeņa pozu.</a:t>
            </a:r>
          </a:p>
          <a:p>
            <a:pPr marL="284400" lvl="1" indent="-284400" hangingPunct="0">
              <a:buBlip>
                <a:blip r:embed="rId6"/>
              </a:buBlip>
              <a:tabLst>
                <a:tab pos="457200" algn="l"/>
                <a:tab pos="1586230" algn="l"/>
              </a:tabLst>
            </a:pPr>
            <a:r>
              <a:rPr lang="lv-LV" sz="1400">
                <a:effectLst/>
                <a:ea typeface="Times New Roman" panose="02020603050405020304" pitchFamily="18" charset="0"/>
              </a:rPr>
              <a:t>Izsauciet Neatliekamo palīdzību.</a:t>
            </a:r>
          </a:p>
          <a:p>
            <a:pPr marL="284400" lvl="1" indent="-284400" hangingPunct="0">
              <a:buBlip>
                <a:blip r:embed="rId6"/>
              </a:buBlip>
              <a:tabLst>
                <a:tab pos="457200" algn="l"/>
                <a:tab pos="1586230" algn="l"/>
              </a:tabLst>
            </a:pPr>
            <a:r>
              <a:rPr lang="lv-LV" sz="1400">
                <a:effectLst/>
                <a:ea typeface="Times New Roman" panose="02020603050405020304" pitchFamily="18" charset="0"/>
              </a:rPr>
              <a:t>Ja ir brūce, pārklājiet ar marles salveti.</a:t>
            </a:r>
          </a:p>
          <a:p>
            <a:pPr marL="284400" lvl="1" indent="-284400" hangingPunct="0">
              <a:buBlip>
                <a:blip r:embed="rId6"/>
              </a:buBlip>
              <a:tabLst>
                <a:tab pos="457200" algn="l"/>
                <a:tab pos="1586230" algn="l"/>
              </a:tabLst>
            </a:pPr>
            <a:r>
              <a:rPr lang="lv-LV" sz="1400">
                <a:effectLst/>
                <a:ea typeface="Times New Roman" panose="02020603050405020304" pitchFamily="18" charset="0"/>
              </a:rPr>
              <a:t>Aprūpējiet, nomieriniet cietušo.</a:t>
            </a:r>
          </a:p>
          <a:p>
            <a:pPr marL="284400" lvl="1" indent="-284400" hangingPunct="0">
              <a:buBlip>
                <a:blip r:embed="rId6"/>
              </a:buBlip>
              <a:tabLst>
                <a:tab pos="457200" algn="l"/>
                <a:tab pos="1586230" algn="l"/>
              </a:tabLst>
            </a:pPr>
            <a:r>
              <a:rPr lang="lv-LV" sz="1400">
                <a:effectLst/>
                <a:ea typeface="Times New Roman" panose="02020603050405020304" pitchFamily="18" charset="0"/>
              </a:rPr>
              <a:t>Veiciet atdzīvināšanas pasākumus, ja nepieciešams.</a:t>
            </a:r>
          </a:p>
        </p:txBody>
      </p:sp>
      <p:sp>
        <p:nvSpPr>
          <p:cNvPr id="18" name="TextBox 17">
            <a:extLst>
              <a:ext uri="{FF2B5EF4-FFF2-40B4-BE49-F238E27FC236}">
                <a16:creationId xmlns:a16="http://schemas.microsoft.com/office/drawing/2014/main" id="{E1D4AC8F-0322-E8A8-E509-5AF71473A8F4}"/>
              </a:ext>
            </a:extLst>
          </p:cNvPr>
          <p:cNvSpPr txBox="1"/>
          <p:nvPr/>
        </p:nvSpPr>
        <p:spPr>
          <a:xfrm>
            <a:off x="7396160" y="2630366"/>
            <a:ext cx="4129088" cy="1658938"/>
          </a:xfrm>
          <a:prstGeom prst="rect">
            <a:avLst/>
          </a:prstGeom>
          <a:noFill/>
        </p:spPr>
        <p:txBody>
          <a:bodyPr wrap="square" lIns="72000" rIns="72000" anchor="ctr">
            <a:noAutofit/>
          </a:bodyPr>
          <a:lstStyle/>
          <a:p>
            <a:pPr marL="284400" lvl="0" indent="-284400" hangingPunct="0">
              <a:buSzPts val="1200"/>
              <a:buBlip>
                <a:blip r:embed="rId6"/>
              </a:buBlip>
            </a:pPr>
            <a:r>
              <a:rPr lang="lv-LV" sz="1400">
                <a:effectLst/>
                <a:ea typeface="Calibri" panose="020F0502020204030204" pitchFamily="34" charset="0"/>
                <a:cs typeface="Times New Roman" panose="02020603050405020304" pitchFamily="18" charset="0"/>
              </a:rPr>
              <a:t>Cietušajam ērtākās pozas varētu būt guļus uz muguras ar valnīti zem ceļiem vai guļus uz sāniem ar saliektiem ceļiem.</a:t>
            </a:r>
          </a:p>
          <a:p>
            <a:pPr marL="284400" lvl="0" indent="-284400" hangingPunct="0">
              <a:buSzPts val="1200"/>
              <a:buBlip>
                <a:blip r:embed="rId6"/>
              </a:buBlip>
            </a:pPr>
            <a:r>
              <a:rPr lang="lv-LV" sz="1400">
                <a:effectLst/>
                <a:ea typeface="Calibri" panose="020F0502020204030204" pitchFamily="34" charset="0"/>
                <a:cs typeface="Times New Roman" panose="02020603050405020304" pitchFamily="18" charset="0"/>
              </a:rPr>
              <a:t>Nedodiet medikamentus, nedodiet ēst vai dzert.</a:t>
            </a:r>
          </a:p>
        </p:txBody>
      </p:sp>
      <p:sp>
        <p:nvSpPr>
          <p:cNvPr id="20" name="TextBox 19">
            <a:extLst>
              <a:ext uri="{FF2B5EF4-FFF2-40B4-BE49-F238E27FC236}">
                <a16:creationId xmlns:a16="http://schemas.microsoft.com/office/drawing/2014/main" id="{BCB0856A-D775-E9B2-A22B-A661D9F8D43C}"/>
              </a:ext>
            </a:extLst>
          </p:cNvPr>
          <p:cNvSpPr txBox="1"/>
          <p:nvPr/>
        </p:nvSpPr>
        <p:spPr>
          <a:xfrm>
            <a:off x="2847530" y="4513587"/>
            <a:ext cx="4129088" cy="1658938"/>
          </a:xfrm>
          <a:prstGeom prst="rect">
            <a:avLst/>
          </a:prstGeom>
          <a:noFill/>
        </p:spPr>
        <p:txBody>
          <a:bodyPr wrap="square" lIns="72000" rIns="72000" anchor="ctr">
            <a:noAutofit/>
          </a:bodyPr>
          <a:lstStyle/>
          <a:p>
            <a:pPr marL="284400" lvl="0" indent="-284400" hangingPunct="0">
              <a:buBlip>
                <a:blip r:embed="rId6"/>
              </a:buBlip>
              <a:tabLst>
                <a:tab pos="457200" algn="l"/>
              </a:tabLst>
            </a:pPr>
            <a:r>
              <a:rPr lang="lv-LV" sz="1400">
                <a:effectLst/>
                <a:ea typeface="Times New Roman" panose="02020603050405020304" pitchFamily="18" charset="0"/>
              </a:rPr>
              <a:t>Palīdziet/ļaujiet cietušajam ieņemt ērtāko ķermeņa pozu.</a:t>
            </a:r>
          </a:p>
          <a:p>
            <a:pPr marL="284400" lvl="0" indent="-284400" hangingPunct="0">
              <a:buBlip>
                <a:blip r:embed="rId6"/>
              </a:buBlip>
              <a:tabLst>
                <a:tab pos="457200" algn="l"/>
              </a:tabLst>
            </a:pPr>
            <a:r>
              <a:rPr lang="lv-LV" sz="1400">
                <a:effectLst/>
                <a:ea typeface="Times New Roman" panose="02020603050405020304" pitchFamily="18" charset="0"/>
              </a:rPr>
              <a:t>Izsauciet Neatliekamo palīdzību.</a:t>
            </a:r>
          </a:p>
          <a:p>
            <a:pPr marL="284400" lvl="0" indent="-284400" hangingPunct="0">
              <a:buBlip>
                <a:blip r:embed="rId6"/>
              </a:buBlip>
              <a:tabLst>
                <a:tab pos="457200" algn="l"/>
              </a:tabLst>
            </a:pPr>
            <a:r>
              <a:rPr lang="lv-LV" sz="1400">
                <a:effectLst/>
                <a:ea typeface="Times New Roman" panose="02020603050405020304" pitchFamily="18" charset="0"/>
              </a:rPr>
              <a:t>Ja ir brūce, pārklājiet ar marles salveti.</a:t>
            </a:r>
          </a:p>
          <a:p>
            <a:pPr marL="284400" lvl="0" indent="-284400" hangingPunct="0">
              <a:buBlip>
                <a:blip r:embed="rId6"/>
              </a:buBlip>
              <a:tabLst>
                <a:tab pos="457200" algn="l"/>
              </a:tabLst>
            </a:pPr>
            <a:r>
              <a:rPr lang="lv-LV" sz="1400">
                <a:effectLst/>
                <a:ea typeface="Times New Roman" panose="02020603050405020304" pitchFamily="18" charset="0"/>
              </a:rPr>
              <a:t>Aprūpējiet, nomieriniet cietušo.</a:t>
            </a:r>
          </a:p>
          <a:p>
            <a:pPr marL="284400" lvl="0" indent="-284400" hangingPunct="0">
              <a:buBlip>
                <a:blip r:embed="rId6"/>
              </a:buBlip>
              <a:tabLst>
                <a:tab pos="457200" algn="l"/>
              </a:tabLst>
            </a:pPr>
            <a:r>
              <a:rPr lang="lv-LV" sz="1400">
                <a:effectLst/>
                <a:ea typeface="Times New Roman" panose="02020603050405020304" pitchFamily="18" charset="0"/>
              </a:rPr>
              <a:t>Veiciet atdzīvināšanas pasākumus, ja nepieciešams.</a:t>
            </a:r>
          </a:p>
        </p:txBody>
      </p:sp>
      <p:sp>
        <p:nvSpPr>
          <p:cNvPr id="22" name="TextBox 21">
            <a:extLst>
              <a:ext uri="{FF2B5EF4-FFF2-40B4-BE49-F238E27FC236}">
                <a16:creationId xmlns:a16="http://schemas.microsoft.com/office/drawing/2014/main" id="{044C1CE5-09D8-63ED-7E23-4A59A70CC41B}"/>
              </a:ext>
            </a:extLst>
          </p:cNvPr>
          <p:cNvSpPr txBox="1"/>
          <p:nvPr/>
        </p:nvSpPr>
        <p:spPr>
          <a:xfrm>
            <a:off x="7396160" y="4513587"/>
            <a:ext cx="4129088" cy="1658938"/>
          </a:xfrm>
          <a:prstGeom prst="rect">
            <a:avLst/>
          </a:prstGeom>
          <a:noFill/>
        </p:spPr>
        <p:txBody>
          <a:bodyPr wrap="square" lIns="72000" rIns="72000" anchor="ctr">
            <a:noAutofit/>
          </a:bodyPr>
          <a:lstStyle/>
          <a:p>
            <a:pPr marL="284400" lvl="0" indent="-284400" hangingPunct="0">
              <a:buBlip>
                <a:blip r:embed="rId6"/>
              </a:buBlip>
            </a:pPr>
            <a:r>
              <a:rPr lang="lv-LV" sz="1400">
                <a:effectLst/>
                <a:ea typeface="Calibri" panose="020F0502020204030204" pitchFamily="34" charset="0"/>
                <a:cs typeface="Times New Roman" panose="02020603050405020304" pitchFamily="18" charset="0"/>
              </a:rPr>
              <a:t>Cietušajam ērtākā poza varētu būt pusguļus.</a:t>
            </a:r>
          </a:p>
        </p:txBody>
      </p:sp>
      <p:grpSp>
        <p:nvGrpSpPr>
          <p:cNvPr id="49" name="Google Shape;1622;p92">
            <a:extLst>
              <a:ext uri="{FF2B5EF4-FFF2-40B4-BE49-F238E27FC236}">
                <a16:creationId xmlns:a16="http://schemas.microsoft.com/office/drawing/2014/main" id="{9D9605C7-C39E-9047-42DC-7227ED31A182}"/>
              </a:ext>
            </a:extLst>
          </p:cNvPr>
          <p:cNvGrpSpPr/>
          <p:nvPr/>
        </p:nvGrpSpPr>
        <p:grpSpPr>
          <a:xfrm>
            <a:off x="2021278" y="3724727"/>
            <a:ext cx="360363" cy="360363"/>
            <a:chOff x="4508822" y="3895566"/>
            <a:chExt cx="457200" cy="457200"/>
          </a:xfrm>
          <a:solidFill>
            <a:schemeClr val="bg1"/>
          </a:solidFill>
        </p:grpSpPr>
        <p:sp>
          <p:nvSpPr>
            <p:cNvPr id="50" name="Google Shape;1623;p92">
              <a:extLst>
                <a:ext uri="{FF2B5EF4-FFF2-40B4-BE49-F238E27FC236}">
                  <a16:creationId xmlns:a16="http://schemas.microsoft.com/office/drawing/2014/main" id="{882403BF-7120-276B-2F13-F5707C75AC33}"/>
                </a:ext>
              </a:extLst>
            </p:cNvPr>
            <p:cNvSpPr/>
            <p:nvPr/>
          </p:nvSpPr>
          <p:spPr>
            <a:xfrm>
              <a:off x="4508822" y="3895566"/>
              <a:ext cx="457200" cy="457200"/>
            </a:xfrm>
            <a:custGeom>
              <a:avLst/>
              <a:gdLst/>
              <a:ahLst/>
              <a:cxnLst/>
              <a:rect l="l" t="t" r="r" b="b"/>
              <a:pathLst>
                <a:path w="457200" h="457200" extrusionOk="0">
                  <a:moveTo>
                    <a:pt x="0" y="0"/>
                  </a:moveTo>
                  <a:lnTo>
                    <a:pt x="0" y="457200"/>
                  </a:lnTo>
                  <a:lnTo>
                    <a:pt x="457200" y="457200"/>
                  </a:lnTo>
                  <a:lnTo>
                    <a:pt x="457200" y="0"/>
                  </a:lnTo>
                  <a:close/>
                  <a:moveTo>
                    <a:pt x="247333" y="135731"/>
                  </a:moveTo>
                  <a:lnTo>
                    <a:pt x="261874" y="127508"/>
                  </a:lnTo>
                  <a:cubicBezTo>
                    <a:pt x="267748" y="124333"/>
                    <a:pt x="274066" y="120682"/>
                    <a:pt x="280638" y="117316"/>
                  </a:cubicBezTo>
                  <a:cubicBezTo>
                    <a:pt x="287973" y="113570"/>
                    <a:pt x="294481" y="110585"/>
                    <a:pt x="300514" y="108204"/>
                  </a:cubicBezTo>
                  <a:lnTo>
                    <a:pt x="301784" y="107601"/>
                  </a:lnTo>
                  <a:cubicBezTo>
                    <a:pt x="317849" y="98457"/>
                    <a:pt x="336264" y="98616"/>
                    <a:pt x="349790" y="108014"/>
                  </a:cubicBezTo>
                  <a:cubicBezTo>
                    <a:pt x="351723" y="109362"/>
                    <a:pt x="353539" y="110870"/>
                    <a:pt x="355219" y="112522"/>
                  </a:cubicBezTo>
                  <a:cubicBezTo>
                    <a:pt x="373221" y="129984"/>
                    <a:pt x="373063" y="151162"/>
                    <a:pt x="372904" y="175705"/>
                  </a:cubicBezTo>
                  <a:cubicBezTo>
                    <a:pt x="372904" y="181578"/>
                    <a:pt x="372904" y="187674"/>
                    <a:pt x="372904" y="193739"/>
                  </a:cubicBezTo>
                  <a:cubicBezTo>
                    <a:pt x="372904" y="197104"/>
                    <a:pt x="372904" y="200470"/>
                    <a:pt x="372904" y="203803"/>
                  </a:cubicBezTo>
                  <a:cubicBezTo>
                    <a:pt x="371843" y="237082"/>
                    <a:pt x="365509" y="269982"/>
                    <a:pt x="354140" y="301276"/>
                  </a:cubicBezTo>
                  <a:cubicBezTo>
                    <a:pt x="351206" y="308642"/>
                    <a:pt x="347758" y="315793"/>
                    <a:pt x="343821" y="322675"/>
                  </a:cubicBezTo>
                  <a:cubicBezTo>
                    <a:pt x="328136" y="351022"/>
                    <a:pt x="302038" y="372154"/>
                    <a:pt x="271050" y="381603"/>
                  </a:cubicBezTo>
                  <a:cubicBezTo>
                    <a:pt x="240951" y="389033"/>
                    <a:pt x="203581" y="379063"/>
                    <a:pt x="168339" y="354267"/>
                  </a:cubicBezTo>
                  <a:cubicBezTo>
                    <a:pt x="165164" y="351092"/>
                    <a:pt x="152908" y="339344"/>
                    <a:pt x="139986" y="334582"/>
                  </a:cubicBezTo>
                  <a:cubicBezTo>
                    <a:pt x="128270" y="330264"/>
                    <a:pt x="120428" y="333248"/>
                    <a:pt x="115951" y="336550"/>
                  </a:cubicBezTo>
                  <a:cubicBezTo>
                    <a:pt x="106807" y="343186"/>
                    <a:pt x="102807" y="356870"/>
                    <a:pt x="103696" y="378397"/>
                  </a:cubicBezTo>
                  <a:lnTo>
                    <a:pt x="103696" y="437674"/>
                  </a:lnTo>
                  <a:lnTo>
                    <a:pt x="82550" y="437674"/>
                  </a:lnTo>
                  <a:lnTo>
                    <a:pt x="82550" y="289497"/>
                  </a:lnTo>
                  <a:cubicBezTo>
                    <a:pt x="80836" y="247650"/>
                    <a:pt x="140399" y="244475"/>
                    <a:pt x="142875" y="244285"/>
                  </a:cubicBezTo>
                  <a:lnTo>
                    <a:pt x="144082" y="244285"/>
                  </a:lnTo>
                  <a:cubicBezTo>
                    <a:pt x="205931" y="233966"/>
                    <a:pt x="220281" y="178880"/>
                    <a:pt x="219202" y="151003"/>
                  </a:cubicBezTo>
                  <a:lnTo>
                    <a:pt x="219202" y="19526"/>
                  </a:lnTo>
                  <a:lnTo>
                    <a:pt x="247237" y="19526"/>
                  </a:lnTo>
                  <a:close/>
                  <a:moveTo>
                    <a:pt x="19526" y="19526"/>
                  </a:moveTo>
                  <a:lnTo>
                    <a:pt x="199739" y="19526"/>
                  </a:lnTo>
                  <a:lnTo>
                    <a:pt x="199739" y="151448"/>
                  </a:lnTo>
                  <a:cubicBezTo>
                    <a:pt x="199739" y="154019"/>
                    <a:pt x="201581" y="214408"/>
                    <a:pt x="141478" y="224790"/>
                  </a:cubicBezTo>
                  <a:cubicBezTo>
                    <a:pt x="113189" y="226155"/>
                    <a:pt x="61214" y="241300"/>
                    <a:pt x="62865" y="290036"/>
                  </a:cubicBezTo>
                  <a:lnTo>
                    <a:pt x="62865" y="437674"/>
                  </a:lnTo>
                  <a:lnTo>
                    <a:pt x="19526" y="437674"/>
                  </a:lnTo>
                  <a:close/>
                  <a:moveTo>
                    <a:pt x="437674" y="437674"/>
                  </a:moveTo>
                  <a:lnTo>
                    <a:pt x="123349" y="437674"/>
                  </a:lnTo>
                  <a:lnTo>
                    <a:pt x="123349" y="377825"/>
                  </a:lnTo>
                  <a:cubicBezTo>
                    <a:pt x="122492" y="356711"/>
                    <a:pt x="127064" y="352743"/>
                    <a:pt x="127603" y="352425"/>
                  </a:cubicBezTo>
                  <a:cubicBezTo>
                    <a:pt x="128143" y="352108"/>
                    <a:pt x="130778" y="351981"/>
                    <a:pt x="133414" y="352997"/>
                  </a:cubicBezTo>
                  <a:cubicBezTo>
                    <a:pt x="141859" y="356172"/>
                    <a:pt x="151956" y="365316"/>
                    <a:pt x="155131" y="368586"/>
                  </a:cubicBezTo>
                  <a:lnTo>
                    <a:pt x="155766" y="369253"/>
                  </a:lnTo>
                  <a:lnTo>
                    <a:pt x="156496" y="369792"/>
                  </a:lnTo>
                  <a:cubicBezTo>
                    <a:pt x="180118" y="386556"/>
                    <a:pt x="227076" y="412845"/>
                    <a:pt x="276193" y="400590"/>
                  </a:cubicBezTo>
                  <a:lnTo>
                    <a:pt x="276733" y="400590"/>
                  </a:lnTo>
                  <a:cubicBezTo>
                    <a:pt x="312556" y="389763"/>
                    <a:pt x="342751" y="365401"/>
                    <a:pt x="360902" y="332677"/>
                  </a:cubicBezTo>
                  <a:cubicBezTo>
                    <a:pt x="365360" y="324907"/>
                    <a:pt x="369246" y="316820"/>
                    <a:pt x="372523" y="308483"/>
                  </a:cubicBezTo>
                  <a:cubicBezTo>
                    <a:pt x="384680" y="275171"/>
                    <a:pt x="391452" y="240135"/>
                    <a:pt x="392589" y="204692"/>
                  </a:cubicBezTo>
                  <a:cubicBezTo>
                    <a:pt x="392589" y="201073"/>
                    <a:pt x="392589" y="197453"/>
                    <a:pt x="392589" y="193834"/>
                  </a:cubicBezTo>
                  <a:lnTo>
                    <a:pt x="392589" y="193453"/>
                  </a:lnTo>
                  <a:cubicBezTo>
                    <a:pt x="392367" y="187738"/>
                    <a:pt x="392589" y="181832"/>
                    <a:pt x="392589" y="176086"/>
                  </a:cubicBezTo>
                  <a:cubicBezTo>
                    <a:pt x="392748" y="150686"/>
                    <a:pt x="392970" y="122111"/>
                    <a:pt x="368999" y="98774"/>
                  </a:cubicBezTo>
                  <a:cubicBezTo>
                    <a:pt x="366541" y="96376"/>
                    <a:pt x="363884" y="94189"/>
                    <a:pt x="361061" y="92234"/>
                  </a:cubicBezTo>
                  <a:cubicBezTo>
                    <a:pt x="341503" y="78613"/>
                    <a:pt x="315436" y="78010"/>
                    <a:pt x="292894" y="90551"/>
                  </a:cubicBezTo>
                  <a:cubicBezTo>
                    <a:pt x="286544" y="93123"/>
                    <a:pt x="279559" y="96266"/>
                    <a:pt x="271907" y="100076"/>
                  </a:cubicBezTo>
                  <a:lnTo>
                    <a:pt x="267018" y="102616"/>
                  </a:lnTo>
                  <a:lnTo>
                    <a:pt x="267018" y="19526"/>
                  </a:lnTo>
                  <a:lnTo>
                    <a:pt x="437864" y="1952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1" name="Google Shape;1624;p92">
              <a:extLst>
                <a:ext uri="{FF2B5EF4-FFF2-40B4-BE49-F238E27FC236}">
                  <a16:creationId xmlns:a16="http://schemas.microsoft.com/office/drawing/2014/main" id="{DB9474BC-A3DA-259F-37B3-620DAC058BCF}"/>
                </a:ext>
              </a:extLst>
            </p:cNvPr>
            <p:cNvSpPr/>
            <p:nvPr/>
          </p:nvSpPr>
          <p:spPr>
            <a:xfrm>
              <a:off x="4678493" y="4202461"/>
              <a:ext cx="142430" cy="47116"/>
            </a:xfrm>
            <a:custGeom>
              <a:avLst/>
              <a:gdLst/>
              <a:ahLst/>
              <a:cxnLst/>
              <a:rect l="l" t="t" r="r" b="b"/>
              <a:pathLst>
                <a:path w="142430" h="47116" extrusionOk="0">
                  <a:moveTo>
                    <a:pt x="14192" y="0"/>
                  </a:moveTo>
                  <a:lnTo>
                    <a:pt x="0" y="13430"/>
                  </a:lnTo>
                  <a:cubicBezTo>
                    <a:pt x="1302" y="14827"/>
                    <a:pt x="32258" y="47117"/>
                    <a:pt x="73978" y="47117"/>
                  </a:cubicBezTo>
                  <a:lnTo>
                    <a:pt x="74581" y="47117"/>
                  </a:lnTo>
                  <a:cubicBezTo>
                    <a:pt x="99250" y="46926"/>
                    <a:pt x="122206" y="35560"/>
                    <a:pt x="142431" y="13335"/>
                  </a:cubicBezTo>
                  <a:lnTo>
                    <a:pt x="128016" y="127"/>
                  </a:lnTo>
                  <a:cubicBezTo>
                    <a:pt x="111506" y="18161"/>
                    <a:pt x="93536" y="27400"/>
                    <a:pt x="74549" y="27591"/>
                  </a:cubicBezTo>
                  <a:lnTo>
                    <a:pt x="73978" y="27591"/>
                  </a:lnTo>
                  <a:cubicBezTo>
                    <a:pt x="40831" y="27591"/>
                    <a:pt x="14478" y="286"/>
                    <a:pt x="14192" y="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grpSp>
        <p:nvGrpSpPr>
          <p:cNvPr id="52" name="Google Shape;1696;p92">
            <a:extLst>
              <a:ext uri="{FF2B5EF4-FFF2-40B4-BE49-F238E27FC236}">
                <a16:creationId xmlns:a16="http://schemas.microsoft.com/office/drawing/2014/main" id="{1E565628-D9DC-F695-17A2-02933C2B5EB6}"/>
              </a:ext>
            </a:extLst>
          </p:cNvPr>
          <p:cNvGrpSpPr/>
          <p:nvPr/>
        </p:nvGrpSpPr>
        <p:grpSpPr>
          <a:xfrm>
            <a:off x="2021278" y="5642770"/>
            <a:ext cx="360363" cy="360363"/>
            <a:chOff x="6478734" y="4634724"/>
            <a:chExt cx="457200" cy="457200"/>
          </a:xfrm>
          <a:solidFill>
            <a:schemeClr val="bg1"/>
          </a:solidFill>
        </p:grpSpPr>
        <p:sp>
          <p:nvSpPr>
            <p:cNvPr id="53" name="Google Shape;1697;p92">
              <a:extLst>
                <a:ext uri="{FF2B5EF4-FFF2-40B4-BE49-F238E27FC236}">
                  <a16:creationId xmlns:a16="http://schemas.microsoft.com/office/drawing/2014/main" id="{A4947BD2-EC32-C8A0-6FA6-08FF86A2D127}"/>
                </a:ext>
              </a:extLst>
            </p:cNvPr>
            <p:cNvSpPr/>
            <p:nvPr/>
          </p:nvSpPr>
          <p:spPr>
            <a:xfrm>
              <a:off x="6478734" y="4634724"/>
              <a:ext cx="457200" cy="457200"/>
            </a:xfrm>
            <a:custGeom>
              <a:avLst/>
              <a:gdLst/>
              <a:ahLst/>
              <a:cxnLst/>
              <a:rect l="l" t="t" r="r" b="b"/>
              <a:pathLst>
                <a:path w="457200" h="457200" extrusionOk="0">
                  <a:moveTo>
                    <a:pt x="0" y="0"/>
                  </a:moveTo>
                  <a:lnTo>
                    <a:pt x="0" y="457200"/>
                  </a:lnTo>
                  <a:lnTo>
                    <a:pt x="457200" y="457200"/>
                  </a:lnTo>
                  <a:lnTo>
                    <a:pt x="457200" y="0"/>
                  </a:lnTo>
                  <a:close/>
                  <a:moveTo>
                    <a:pt x="236569" y="19526"/>
                  </a:moveTo>
                  <a:lnTo>
                    <a:pt x="236569" y="105029"/>
                  </a:lnTo>
                  <a:cubicBezTo>
                    <a:pt x="236542" y="123542"/>
                    <a:pt x="244930" y="141064"/>
                    <a:pt x="259366" y="152654"/>
                  </a:cubicBezTo>
                  <a:lnTo>
                    <a:pt x="261906" y="155226"/>
                  </a:lnTo>
                  <a:lnTo>
                    <a:pt x="276225" y="169482"/>
                  </a:lnTo>
                  <a:lnTo>
                    <a:pt x="321151" y="214376"/>
                  </a:lnTo>
                  <a:lnTo>
                    <a:pt x="334963" y="200565"/>
                  </a:lnTo>
                  <a:lnTo>
                    <a:pt x="301847" y="167418"/>
                  </a:lnTo>
                  <a:lnTo>
                    <a:pt x="300355" y="165894"/>
                  </a:lnTo>
                  <a:lnTo>
                    <a:pt x="287655" y="153194"/>
                  </a:lnTo>
                  <a:cubicBezTo>
                    <a:pt x="296450" y="144494"/>
                    <a:pt x="309372" y="137859"/>
                    <a:pt x="318802" y="137859"/>
                  </a:cubicBezTo>
                  <a:cubicBezTo>
                    <a:pt x="330073" y="137859"/>
                    <a:pt x="345059" y="148685"/>
                    <a:pt x="350838" y="161004"/>
                  </a:cubicBezTo>
                  <a:lnTo>
                    <a:pt x="370840" y="203200"/>
                  </a:lnTo>
                  <a:cubicBezTo>
                    <a:pt x="378450" y="221050"/>
                    <a:pt x="382753" y="240135"/>
                    <a:pt x="383540" y="259525"/>
                  </a:cubicBezTo>
                  <a:lnTo>
                    <a:pt x="383540" y="366014"/>
                  </a:lnTo>
                  <a:cubicBezTo>
                    <a:pt x="383540" y="370935"/>
                    <a:pt x="382143" y="374618"/>
                    <a:pt x="379698" y="376142"/>
                  </a:cubicBezTo>
                  <a:cubicBezTo>
                    <a:pt x="377254" y="377666"/>
                    <a:pt x="373348" y="377381"/>
                    <a:pt x="368903" y="375253"/>
                  </a:cubicBezTo>
                  <a:lnTo>
                    <a:pt x="287306" y="336074"/>
                  </a:lnTo>
                  <a:cubicBezTo>
                    <a:pt x="275019" y="330200"/>
                    <a:pt x="264224" y="313055"/>
                    <a:pt x="264224" y="299434"/>
                  </a:cubicBezTo>
                  <a:lnTo>
                    <a:pt x="264224" y="215424"/>
                  </a:lnTo>
                  <a:cubicBezTo>
                    <a:pt x="264224" y="214979"/>
                    <a:pt x="264224" y="214535"/>
                    <a:pt x="264224" y="214090"/>
                  </a:cubicBezTo>
                  <a:lnTo>
                    <a:pt x="291783" y="241618"/>
                  </a:lnTo>
                  <a:lnTo>
                    <a:pt x="292862" y="242729"/>
                  </a:lnTo>
                  <a:lnTo>
                    <a:pt x="306673" y="228918"/>
                  </a:lnTo>
                  <a:lnTo>
                    <a:pt x="274003" y="196247"/>
                  </a:lnTo>
                  <a:lnTo>
                    <a:pt x="271113" y="193326"/>
                  </a:lnTo>
                  <a:cubicBezTo>
                    <a:pt x="270161" y="192437"/>
                    <a:pt x="269177" y="191643"/>
                    <a:pt x="268161" y="190818"/>
                  </a:cubicBezTo>
                  <a:cubicBezTo>
                    <a:pt x="256606" y="181065"/>
                    <a:pt x="242005" y="175663"/>
                    <a:pt x="226886" y="175546"/>
                  </a:cubicBezTo>
                  <a:lnTo>
                    <a:pt x="226314" y="176149"/>
                  </a:lnTo>
                  <a:lnTo>
                    <a:pt x="225711" y="175546"/>
                  </a:lnTo>
                  <a:cubicBezTo>
                    <a:pt x="210964" y="175722"/>
                    <a:pt x="196705" y="180855"/>
                    <a:pt x="185230" y="190119"/>
                  </a:cubicBezTo>
                  <a:cubicBezTo>
                    <a:pt x="183960" y="191135"/>
                    <a:pt x="182690" y="192215"/>
                    <a:pt x="181483" y="193294"/>
                  </a:cubicBezTo>
                  <a:lnTo>
                    <a:pt x="178594" y="196215"/>
                  </a:lnTo>
                  <a:lnTo>
                    <a:pt x="145637" y="229203"/>
                  </a:lnTo>
                  <a:lnTo>
                    <a:pt x="159417" y="243015"/>
                  </a:lnTo>
                  <a:lnTo>
                    <a:pt x="160814" y="241618"/>
                  </a:lnTo>
                  <a:lnTo>
                    <a:pt x="189389" y="213043"/>
                  </a:lnTo>
                  <a:cubicBezTo>
                    <a:pt x="189389" y="213836"/>
                    <a:pt x="189389" y="214598"/>
                    <a:pt x="189389" y="215360"/>
                  </a:cubicBezTo>
                  <a:lnTo>
                    <a:pt x="189389" y="299434"/>
                  </a:lnTo>
                  <a:cubicBezTo>
                    <a:pt x="189389" y="313055"/>
                    <a:pt x="178594" y="330200"/>
                    <a:pt x="166275" y="336074"/>
                  </a:cubicBezTo>
                  <a:lnTo>
                    <a:pt x="84836" y="375095"/>
                  </a:lnTo>
                  <a:cubicBezTo>
                    <a:pt x="80423" y="377222"/>
                    <a:pt x="76486" y="377539"/>
                    <a:pt x="74041" y="375984"/>
                  </a:cubicBezTo>
                  <a:cubicBezTo>
                    <a:pt x="71596" y="374428"/>
                    <a:pt x="70199" y="370777"/>
                    <a:pt x="70199" y="365855"/>
                  </a:cubicBezTo>
                  <a:lnTo>
                    <a:pt x="70199" y="259366"/>
                  </a:lnTo>
                  <a:cubicBezTo>
                    <a:pt x="70986" y="239977"/>
                    <a:pt x="75289" y="220892"/>
                    <a:pt x="82899" y="203041"/>
                  </a:cubicBezTo>
                  <a:lnTo>
                    <a:pt x="102743" y="160877"/>
                  </a:lnTo>
                  <a:cubicBezTo>
                    <a:pt x="108553" y="148558"/>
                    <a:pt x="123539" y="137732"/>
                    <a:pt x="134779" y="137732"/>
                  </a:cubicBezTo>
                  <a:cubicBezTo>
                    <a:pt x="144082" y="137732"/>
                    <a:pt x="156718" y="144082"/>
                    <a:pt x="165481" y="152591"/>
                  </a:cubicBezTo>
                  <a:lnTo>
                    <a:pt x="152400" y="165894"/>
                  </a:lnTo>
                  <a:lnTo>
                    <a:pt x="150876" y="167450"/>
                  </a:lnTo>
                  <a:lnTo>
                    <a:pt x="117284" y="200851"/>
                  </a:lnTo>
                  <a:lnTo>
                    <a:pt x="131096" y="214662"/>
                  </a:lnTo>
                  <a:lnTo>
                    <a:pt x="176975" y="168783"/>
                  </a:lnTo>
                  <a:lnTo>
                    <a:pt x="191326" y="154464"/>
                  </a:lnTo>
                  <a:lnTo>
                    <a:pt x="193231" y="152527"/>
                  </a:lnTo>
                  <a:cubicBezTo>
                    <a:pt x="207667" y="140937"/>
                    <a:pt x="216054" y="123415"/>
                    <a:pt x="216027" y="104902"/>
                  </a:cubicBezTo>
                  <a:lnTo>
                    <a:pt x="216027" y="19526"/>
                  </a:lnTo>
                  <a:close/>
                  <a:moveTo>
                    <a:pt x="437674" y="437674"/>
                  </a:moveTo>
                  <a:lnTo>
                    <a:pt x="19526" y="437674"/>
                  </a:lnTo>
                  <a:lnTo>
                    <a:pt x="19526" y="19526"/>
                  </a:lnTo>
                  <a:lnTo>
                    <a:pt x="196501" y="19526"/>
                  </a:lnTo>
                  <a:lnTo>
                    <a:pt x="196501" y="97187"/>
                  </a:lnTo>
                  <a:cubicBezTo>
                    <a:pt x="196844" y="100353"/>
                    <a:pt x="196844" y="103546"/>
                    <a:pt x="196501" y="106712"/>
                  </a:cubicBezTo>
                  <a:cubicBezTo>
                    <a:pt x="196501" y="106966"/>
                    <a:pt x="196501" y="107252"/>
                    <a:pt x="196501" y="107537"/>
                  </a:cubicBezTo>
                  <a:cubicBezTo>
                    <a:pt x="195751" y="120023"/>
                    <a:pt x="189404" y="131503"/>
                    <a:pt x="179229" y="138779"/>
                  </a:cubicBezTo>
                  <a:cubicBezTo>
                    <a:pt x="166783" y="126746"/>
                    <a:pt x="149225" y="118269"/>
                    <a:pt x="134779" y="118269"/>
                  </a:cubicBezTo>
                  <a:cubicBezTo>
                    <a:pt x="115983" y="118269"/>
                    <a:pt x="94139" y="133350"/>
                    <a:pt x="85090" y="152622"/>
                  </a:cubicBezTo>
                  <a:lnTo>
                    <a:pt x="65119" y="194755"/>
                  </a:lnTo>
                  <a:cubicBezTo>
                    <a:pt x="56328" y="215200"/>
                    <a:pt x="51470" y="237120"/>
                    <a:pt x="50800" y="259366"/>
                  </a:cubicBezTo>
                  <a:lnTo>
                    <a:pt x="50800" y="365855"/>
                  </a:lnTo>
                  <a:cubicBezTo>
                    <a:pt x="50800" y="377603"/>
                    <a:pt x="55531" y="387318"/>
                    <a:pt x="63786" y="392525"/>
                  </a:cubicBezTo>
                  <a:cubicBezTo>
                    <a:pt x="68026" y="395154"/>
                    <a:pt x="72927" y="396519"/>
                    <a:pt x="77915" y="396462"/>
                  </a:cubicBezTo>
                  <a:cubicBezTo>
                    <a:pt x="83305" y="396389"/>
                    <a:pt x="88610" y="395110"/>
                    <a:pt x="93440" y="392716"/>
                  </a:cubicBezTo>
                  <a:lnTo>
                    <a:pt x="174625" y="353695"/>
                  </a:lnTo>
                  <a:cubicBezTo>
                    <a:pt x="193675" y="344519"/>
                    <a:pt x="208820" y="320675"/>
                    <a:pt x="208820" y="299434"/>
                  </a:cubicBezTo>
                  <a:lnTo>
                    <a:pt x="208820" y="215424"/>
                  </a:lnTo>
                  <a:cubicBezTo>
                    <a:pt x="208754" y="209992"/>
                    <a:pt x="208234" y="204576"/>
                    <a:pt x="207264" y="199231"/>
                  </a:cubicBezTo>
                  <a:cubicBezTo>
                    <a:pt x="219596" y="193503"/>
                    <a:pt x="233856" y="193655"/>
                    <a:pt x="246063" y="199644"/>
                  </a:cubicBezTo>
                  <a:cubicBezTo>
                    <a:pt x="245147" y="204888"/>
                    <a:pt x="244659" y="210196"/>
                    <a:pt x="244602" y="215519"/>
                  </a:cubicBezTo>
                  <a:lnTo>
                    <a:pt x="244602" y="299434"/>
                  </a:lnTo>
                  <a:cubicBezTo>
                    <a:pt x="244602" y="320675"/>
                    <a:pt x="259620" y="344519"/>
                    <a:pt x="278797" y="353695"/>
                  </a:cubicBezTo>
                  <a:lnTo>
                    <a:pt x="360236" y="392716"/>
                  </a:lnTo>
                  <a:cubicBezTo>
                    <a:pt x="365065" y="395110"/>
                    <a:pt x="370370" y="396389"/>
                    <a:pt x="375761" y="396462"/>
                  </a:cubicBezTo>
                  <a:cubicBezTo>
                    <a:pt x="380749" y="396519"/>
                    <a:pt x="385651" y="395154"/>
                    <a:pt x="389890" y="392525"/>
                  </a:cubicBezTo>
                  <a:cubicBezTo>
                    <a:pt x="398113" y="387318"/>
                    <a:pt x="402844" y="377603"/>
                    <a:pt x="402844" y="365855"/>
                  </a:cubicBezTo>
                  <a:lnTo>
                    <a:pt x="402844" y="259366"/>
                  </a:lnTo>
                  <a:cubicBezTo>
                    <a:pt x="402117" y="237114"/>
                    <a:pt x="397215" y="215197"/>
                    <a:pt x="388398" y="194755"/>
                  </a:cubicBezTo>
                  <a:lnTo>
                    <a:pt x="368554" y="152559"/>
                  </a:lnTo>
                  <a:cubicBezTo>
                    <a:pt x="359505" y="133287"/>
                    <a:pt x="337661" y="118205"/>
                    <a:pt x="318834" y="118205"/>
                  </a:cubicBezTo>
                  <a:cubicBezTo>
                    <a:pt x="304229" y="118205"/>
                    <a:pt x="286417" y="126873"/>
                    <a:pt x="274003" y="139129"/>
                  </a:cubicBezTo>
                  <a:cubicBezTo>
                    <a:pt x="262735" y="131436"/>
                    <a:pt x="255996" y="118672"/>
                    <a:pt x="256000" y="105029"/>
                  </a:cubicBezTo>
                  <a:cubicBezTo>
                    <a:pt x="256000" y="104204"/>
                    <a:pt x="256000" y="103442"/>
                    <a:pt x="256000" y="102648"/>
                  </a:cubicBezTo>
                  <a:cubicBezTo>
                    <a:pt x="256000" y="102394"/>
                    <a:pt x="256000" y="102172"/>
                    <a:pt x="256000" y="101917"/>
                  </a:cubicBezTo>
                  <a:lnTo>
                    <a:pt x="256000" y="101917"/>
                  </a:lnTo>
                  <a:lnTo>
                    <a:pt x="256000" y="19526"/>
                  </a:lnTo>
                  <a:lnTo>
                    <a:pt x="437579" y="1952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54" name="Google Shape;1698;p92">
              <a:extLst>
                <a:ext uri="{FF2B5EF4-FFF2-40B4-BE49-F238E27FC236}">
                  <a16:creationId xmlns:a16="http://schemas.microsoft.com/office/drawing/2014/main" id="{7FC17974-286E-6EF3-A2F5-F2252864A004}"/>
                </a:ext>
              </a:extLst>
            </p:cNvPr>
            <p:cNvSpPr/>
            <p:nvPr/>
          </p:nvSpPr>
          <p:spPr>
            <a:xfrm>
              <a:off x="6791979" y="4881739"/>
              <a:ext cx="49150" cy="94838"/>
            </a:xfrm>
            <a:custGeom>
              <a:avLst/>
              <a:gdLst/>
              <a:ahLst/>
              <a:cxnLst/>
              <a:rect l="l" t="t" r="r" b="b"/>
              <a:pathLst>
                <a:path w="49150" h="94838" extrusionOk="0">
                  <a:moveTo>
                    <a:pt x="37497" y="94837"/>
                  </a:moveTo>
                  <a:cubicBezTo>
                    <a:pt x="39745" y="94869"/>
                    <a:pt x="41951" y="94240"/>
                    <a:pt x="43847" y="93027"/>
                  </a:cubicBezTo>
                  <a:cubicBezTo>
                    <a:pt x="47215" y="90795"/>
                    <a:pt x="49216" y="87001"/>
                    <a:pt x="49149" y="82963"/>
                  </a:cubicBezTo>
                  <a:lnTo>
                    <a:pt x="49149" y="0"/>
                  </a:lnTo>
                  <a:lnTo>
                    <a:pt x="29654" y="0"/>
                  </a:lnTo>
                  <a:lnTo>
                    <a:pt x="29654" y="70993"/>
                  </a:lnTo>
                  <a:lnTo>
                    <a:pt x="8033" y="61182"/>
                  </a:lnTo>
                  <a:lnTo>
                    <a:pt x="0" y="78994"/>
                  </a:lnTo>
                  <a:lnTo>
                    <a:pt x="32512" y="93726"/>
                  </a:lnTo>
                  <a:cubicBezTo>
                    <a:pt x="34080" y="94431"/>
                    <a:pt x="35776" y="94809"/>
                    <a:pt x="37497" y="94837"/>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55" name="Google Shape;1699;p92">
              <a:extLst>
                <a:ext uri="{FF2B5EF4-FFF2-40B4-BE49-F238E27FC236}">
                  <a16:creationId xmlns:a16="http://schemas.microsoft.com/office/drawing/2014/main" id="{6CC5BE16-A0F7-904D-47E4-53C9647CC8FD}"/>
                </a:ext>
              </a:extLst>
            </p:cNvPr>
            <p:cNvSpPr/>
            <p:nvPr/>
          </p:nvSpPr>
          <p:spPr>
            <a:xfrm>
              <a:off x="6569696" y="4881739"/>
              <a:ext cx="49309" cy="94838"/>
            </a:xfrm>
            <a:custGeom>
              <a:avLst/>
              <a:gdLst/>
              <a:ahLst/>
              <a:cxnLst/>
              <a:rect l="l" t="t" r="r" b="b"/>
              <a:pathLst>
                <a:path w="49309" h="94838" extrusionOk="0">
                  <a:moveTo>
                    <a:pt x="19528" y="70993"/>
                  </a:moveTo>
                  <a:lnTo>
                    <a:pt x="19528" y="0"/>
                  </a:lnTo>
                  <a:lnTo>
                    <a:pt x="2" y="0"/>
                  </a:lnTo>
                  <a:lnTo>
                    <a:pt x="2" y="82963"/>
                  </a:lnTo>
                  <a:cubicBezTo>
                    <a:pt x="-64" y="87001"/>
                    <a:pt x="1935" y="90795"/>
                    <a:pt x="5304" y="93027"/>
                  </a:cubicBezTo>
                  <a:cubicBezTo>
                    <a:pt x="7198" y="94240"/>
                    <a:pt x="9406" y="94869"/>
                    <a:pt x="11654" y="94837"/>
                  </a:cubicBezTo>
                  <a:cubicBezTo>
                    <a:pt x="13416" y="94825"/>
                    <a:pt x="15157" y="94447"/>
                    <a:pt x="16766" y="93726"/>
                  </a:cubicBezTo>
                  <a:lnTo>
                    <a:pt x="49309" y="78994"/>
                  </a:lnTo>
                  <a:lnTo>
                    <a:pt x="41245" y="61182"/>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grpSp>
      <p:sp>
        <p:nvSpPr>
          <p:cNvPr id="2" name="Rectangle 1">
            <a:extLst>
              <a:ext uri="{FF2B5EF4-FFF2-40B4-BE49-F238E27FC236}">
                <a16:creationId xmlns:a16="http://schemas.microsoft.com/office/drawing/2014/main" id="{D1D6AC03-28D5-6F25-B774-213412140BFB}"/>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23" name="Group 22">
            <a:extLst>
              <a:ext uri="{FF2B5EF4-FFF2-40B4-BE49-F238E27FC236}">
                <a16:creationId xmlns:a16="http://schemas.microsoft.com/office/drawing/2014/main" id="{2212D7A8-04E3-121E-8A55-82CEFDF779DF}"/>
              </a:ext>
            </a:extLst>
          </p:cNvPr>
          <p:cNvGrpSpPr/>
          <p:nvPr/>
        </p:nvGrpSpPr>
        <p:grpSpPr>
          <a:xfrm>
            <a:off x="9842140" y="372216"/>
            <a:ext cx="1667215" cy="217488"/>
            <a:chOff x="9842140" y="372216"/>
            <a:chExt cx="1667215" cy="217488"/>
          </a:xfrm>
        </p:grpSpPr>
        <p:sp>
          <p:nvSpPr>
            <p:cNvPr id="31" name="TextBox 30">
              <a:extLst>
                <a:ext uri="{FF2B5EF4-FFF2-40B4-BE49-F238E27FC236}">
                  <a16:creationId xmlns:a16="http://schemas.microsoft.com/office/drawing/2014/main" id="{4AA8C989-94BD-8BD9-560F-3B2617F2772F}"/>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Traumas</a:t>
              </a:r>
            </a:p>
          </p:txBody>
        </p:sp>
        <p:sp>
          <p:nvSpPr>
            <p:cNvPr id="32" name="Freeform 49">
              <a:extLst>
                <a:ext uri="{FF2B5EF4-FFF2-40B4-BE49-F238E27FC236}">
                  <a16:creationId xmlns:a16="http://schemas.microsoft.com/office/drawing/2014/main" id="{B6766F76-46FE-25AC-24EA-2AEA2F66950A}"/>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30" name="Group 29">
            <a:extLst>
              <a:ext uri="{FF2B5EF4-FFF2-40B4-BE49-F238E27FC236}">
                <a16:creationId xmlns:a16="http://schemas.microsoft.com/office/drawing/2014/main" id="{2E04678C-E2CD-36D9-1DAA-A4A61AD37794}"/>
              </a:ext>
            </a:extLst>
          </p:cNvPr>
          <p:cNvGrpSpPr/>
          <p:nvPr/>
        </p:nvGrpSpPr>
        <p:grpSpPr>
          <a:xfrm>
            <a:off x="9122935" y="126781"/>
            <a:ext cx="2626153" cy="217488"/>
            <a:chOff x="9122935" y="126781"/>
            <a:chExt cx="2626153" cy="217488"/>
          </a:xfrm>
        </p:grpSpPr>
        <p:sp>
          <p:nvSpPr>
            <p:cNvPr id="33" name="Rectangle 32">
              <a:extLst>
                <a:ext uri="{FF2B5EF4-FFF2-40B4-BE49-F238E27FC236}">
                  <a16:creationId xmlns:a16="http://schemas.microsoft.com/office/drawing/2014/main" id="{5C2874F9-D8C6-887C-E1EA-11F77DA653D6}"/>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34" name="Rectangle 33">
              <a:extLst>
                <a:ext uri="{FF2B5EF4-FFF2-40B4-BE49-F238E27FC236}">
                  <a16:creationId xmlns:a16="http://schemas.microsoft.com/office/drawing/2014/main" id="{5223CBAF-7A63-BCAC-510F-10D5585B9BB3}"/>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5" name="Rectangle 34">
              <a:extLst>
                <a:ext uri="{FF2B5EF4-FFF2-40B4-BE49-F238E27FC236}">
                  <a16:creationId xmlns:a16="http://schemas.microsoft.com/office/drawing/2014/main" id="{F08F99D6-421A-10B7-0530-A21AA7636244}"/>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40" name="Rectangle 39">
              <a:extLst>
                <a:ext uri="{FF2B5EF4-FFF2-40B4-BE49-F238E27FC236}">
                  <a16:creationId xmlns:a16="http://schemas.microsoft.com/office/drawing/2014/main" id="{806B46B4-806A-3701-D59F-2019028C52E0}"/>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41" name="Rectangle 40">
              <a:extLst>
                <a:ext uri="{FF2B5EF4-FFF2-40B4-BE49-F238E27FC236}">
                  <a16:creationId xmlns:a16="http://schemas.microsoft.com/office/drawing/2014/main" id="{31E79E96-A186-A7B3-914A-AB85A56D63B1}"/>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42" name="Rectangle 41">
              <a:extLst>
                <a:ext uri="{FF2B5EF4-FFF2-40B4-BE49-F238E27FC236}">
                  <a16:creationId xmlns:a16="http://schemas.microsoft.com/office/drawing/2014/main" id="{818B4649-1B8B-DF2A-AE4C-A046164ECF62}"/>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1561829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descr="a rack filled with lots of yellow hard hats">
            <a:extLst>
              <a:ext uri="{FF2B5EF4-FFF2-40B4-BE49-F238E27FC236}">
                <a16:creationId xmlns:a16="http://schemas.microsoft.com/office/drawing/2014/main" id="{D8119A36-804E-F47B-8A01-4636EC10088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469" b="60444"/>
          <a:stretch/>
        </p:blipFill>
        <p:spPr bwMode="auto">
          <a:xfrm>
            <a:off x="1" y="4843199"/>
            <a:ext cx="12222480" cy="20148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think-cell data - do not delete" hidden="1">
            <a:extLst>
              <a:ext uri="{FF2B5EF4-FFF2-40B4-BE49-F238E27FC236}">
                <a16:creationId xmlns:a16="http://schemas.microsoft.com/office/drawing/2014/main" id="{D9E6BB6A-4571-FBF8-9A7D-06ADE4374D4D}"/>
              </a:ext>
            </a:extLst>
          </p:cNvPr>
          <p:cNvGraphicFramePr>
            <a:graphicFrameLocks noChangeAspect="1"/>
          </p:cNvGraphicFramePr>
          <p:nvPr>
            <p:custDataLst>
              <p:tags r:id="rId1"/>
            </p:custDataLst>
            <p:extLst>
              <p:ext uri="{D42A27DB-BD31-4B8C-83A1-F6EECF244321}">
                <p14:modId xmlns:p14="http://schemas.microsoft.com/office/powerpoint/2010/main" val="1655054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9" name="think-cell data - do not delete" hidden="1">
                        <a:extLst>
                          <a:ext uri="{FF2B5EF4-FFF2-40B4-BE49-F238E27FC236}">
                            <a16:creationId xmlns:a16="http://schemas.microsoft.com/office/drawing/2014/main" id="{D9E6BB6A-4571-FBF8-9A7D-06ADE4374D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3C13FF64-7107-E400-47C3-F95CE48F674D}"/>
              </a:ext>
            </a:extLst>
          </p:cNvPr>
          <p:cNvSpPr/>
          <p:nvPr/>
        </p:nvSpPr>
        <p:spPr>
          <a:xfrm>
            <a:off x="2651760" y="2630366"/>
            <a:ext cx="9097328" cy="182576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15" name="Rectangle 14">
            <a:extLst>
              <a:ext uri="{FF2B5EF4-FFF2-40B4-BE49-F238E27FC236}">
                <a16:creationId xmlns:a16="http://schemas.microsoft.com/office/drawing/2014/main" id="{6FF324E6-AF46-409C-599B-E1C9ECC94CF9}"/>
              </a:ext>
            </a:extLst>
          </p:cNvPr>
          <p:cNvSpPr/>
          <p:nvPr/>
        </p:nvSpPr>
        <p:spPr>
          <a:xfrm>
            <a:off x="2847530" y="2419349"/>
            <a:ext cx="4352925" cy="2031657"/>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17" name="Rectangle 16">
            <a:extLst>
              <a:ext uri="{FF2B5EF4-FFF2-40B4-BE49-F238E27FC236}">
                <a16:creationId xmlns:a16="http://schemas.microsoft.com/office/drawing/2014/main" id="{2D5601AF-A39D-8CD4-7B2A-0E35C1C67F64}"/>
              </a:ext>
            </a:extLst>
          </p:cNvPr>
          <p:cNvSpPr/>
          <p:nvPr/>
        </p:nvSpPr>
        <p:spPr>
          <a:xfrm>
            <a:off x="7396160" y="2419349"/>
            <a:ext cx="4352925" cy="2031657"/>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36" name="Rectangle 35">
            <a:extLst>
              <a:ext uri="{FF2B5EF4-FFF2-40B4-BE49-F238E27FC236}">
                <a16:creationId xmlns:a16="http://schemas.microsoft.com/office/drawing/2014/main" id="{A8F39C25-781C-A7DA-387A-D92FCABEE1F5}"/>
              </a:ext>
            </a:extLst>
          </p:cNvPr>
          <p:cNvSpPr/>
          <p:nvPr/>
        </p:nvSpPr>
        <p:spPr>
          <a:xfrm>
            <a:off x="442912" y="2630488"/>
            <a:ext cx="2208847" cy="1825764"/>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Galvas traumas</a:t>
            </a:r>
          </a:p>
        </p:txBody>
      </p:sp>
      <p:sp>
        <p:nvSpPr>
          <p:cNvPr id="38" name="Content Placeholder 1">
            <a:extLst>
              <a:ext uri="{FF2B5EF4-FFF2-40B4-BE49-F238E27FC236}">
                <a16:creationId xmlns:a16="http://schemas.microsoft.com/office/drawing/2014/main" id="{7B1F3CCD-2DE1-C2A8-D340-EAF5B3993679}"/>
              </a:ext>
            </a:extLst>
          </p:cNvPr>
          <p:cNvSpPr txBox="1">
            <a:spLocks/>
          </p:cNvSpPr>
          <p:nvPr/>
        </p:nvSpPr>
        <p:spPr>
          <a:xfrm>
            <a:off x="2579759" y="2630488"/>
            <a:ext cx="72000" cy="1825764"/>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a:lstStyle/>
          <a:p>
            <a:r>
              <a:rPr lang="lv-LV"/>
              <a:t>Kā rīkoties traumu gadījum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32</a:t>
            </a:fld>
            <a:endParaRPr lang="en-GB"/>
          </a:p>
        </p:txBody>
      </p:sp>
      <p:sp>
        <p:nvSpPr>
          <p:cNvPr id="16" name="TextBox 15">
            <a:extLst>
              <a:ext uri="{FF2B5EF4-FFF2-40B4-BE49-F238E27FC236}">
                <a16:creationId xmlns:a16="http://schemas.microsoft.com/office/drawing/2014/main" id="{30819613-CE74-49B6-0807-44FDBB81D466}"/>
              </a:ext>
            </a:extLst>
          </p:cNvPr>
          <p:cNvSpPr txBox="1"/>
          <p:nvPr/>
        </p:nvSpPr>
        <p:spPr>
          <a:xfrm>
            <a:off x="2847530" y="2630488"/>
            <a:ext cx="4352925" cy="1825765"/>
          </a:xfrm>
          <a:prstGeom prst="rect">
            <a:avLst/>
          </a:prstGeom>
          <a:noFill/>
        </p:spPr>
        <p:txBody>
          <a:bodyPr wrap="square" lIns="72000" rIns="72000" anchor="ctr">
            <a:noAutofit/>
          </a:bodyPr>
          <a:lstStyle/>
          <a:p>
            <a:pPr marL="284400" lvl="1" indent="-284400" hangingPunct="0">
              <a:buBlip>
                <a:blip r:embed="rId7"/>
              </a:buBlip>
              <a:tabLst>
                <a:tab pos="457200" algn="l"/>
                <a:tab pos="1586230" algn="l"/>
              </a:tabLst>
            </a:pPr>
            <a:r>
              <a:rPr lang="lv-LV" sz="1400">
                <a:effectLst/>
                <a:ea typeface="Times New Roman" panose="02020603050405020304" pitchFamily="18" charset="0"/>
              </a:rPr>
              <a:t>Palīdziet/ļaujiet cietušajam ieņemt ērtāko ķermeņa pozu.</a:t>
            </a:r>
          </a:p>
          <a:p>
            <a:pPr marL="284400" lvl="1" indent="-284400" hangingPunct="0">
              <a:buBlip>
                <a:blip r:embed="rId7"/>
              </a:buBlip>
              <a:tabLst>
                <a:tab pos="457200" algn="l"/>
                <a:tab pos="1586230" algn="l"/>
              </a:tabLst>
            </a:pPr>
            <a:r>
              <a:rPr lang="lv-LV" sz="1400">
                <a:effectLst/>
                <a:ea typeface="Times New Roman" panose="02020603050405020304" pitchFamily="18" charset="0"/>
              </a:rPr>
              <a:t>Izsauciet Neatliekamo palīdzību.</a:t>
            </a:r>
          </a:p>
          <a:p>
            <a:pPr marL="284400" lvl="1" indent="-284400" hangingPunct="0">
              <a:buBlip>
                <a:blip r:embed="rId7"/>
              </a:buBlip>
              <a:tabLst>
                <a:tab pos="457200" algn="l"/>
                <a:tab pos="1586230" algn="l"/>
              </a:tabLst>
            </a:pPr>
            <a:r>
              <a:rPr lang="lv-LV" sz="1400">
                <a:effectLst/>
                <a:ea typeface="Times New Roman" panose="02020603050405020304" pitchFamily="18" charset="0"/>
              </a:rPr>
              <a:t>Ja cietušais vemj, pagrieziet viņu uz sāniem.</a:t>
            </a:r>
          </a:p>
          <a:p>
            <a:pPr marL="284400" lvl="1" indent="-284400" hangingPunct="0">
              <a:buBlip>
                <a:blip r:embed="rId7"/>
              </a:buBlip>
              <a:tabLst>
                <a:tab pos="457200" algn="l"/>
                <a:tab pos="1586230" algn="l"/>
              </a:tabLst>
            </a:pPr>
            <a:r>
              <a:rPr lang="lv-LV" sz="1400">
                <a:effectLst/>
                <a:ea typeface="Times New Roman" panose="02020603050405020304" pitchFamily="18" charset="0"/>
              </a:rPr>
              <a:t>Ja ir brūce, pārklājiet ar marles salveti.</a:t>
            </a:r>
          </a:p>
          <a:p>
            <a:pPr marL="284400" lvl="1" indent="-284400" hangingPunct="0">
              <a:buBlip>
                <a:blip r:embed="rId7"/>
              </a:buBlip>
              <a:tabLst>
                <a:tab pos="457200" algn="l"/>
                <a:tab pos="1586230" algn="l"/>
              </a:tabLst>
            </a:pPr>
            <a:r>
              <a:rPr lang="lv-LV" sz="1400">
                <a:effectLst/>
                <a:ea typeface="Times New Roman" panose="02020603050405020304" pitchFamily="18" charset="0"/>
              </a:rPr>
              <a:t>Aprūpējiet, nomieriniet cietušo.</a:t>
            </a:r>
          </a:p>
          <a:p>
            <a:pPr marL="284400" lvl="1" indent="-284400" hangingPunct="0">
              <a:buBlip>
                <a:blip r:embed="rId7"/>
              </a:buBlip>
              <a:tabLst>
                <a:tab pos="457200" algn="l"/>
                <a:tab pos="1586230" algn="l"/>
              </a:tabLst>
            </a:pPr>
            <a:r>
              <a:rPr lang="lv-LV" sz="1400">
                <a:effectLst/>
                <a:ea typeface="Times New Roman" panose="02020603050405020304" pitchFamily="18" charset="0"/>
              </a:rPr>
              <a:t>Veiciet atdzīvināšanas pasākumus, ja nepieciešams.</a:t>
            </a:r>
          </a:p>
        </p:txBody>
      </p:sp>
      <p:sp>
        <p:nvSpPr>
          <p:cNvPr id="18" name="TextBox 17">
            <a:extLst>
              <a:ext uri="{FF2B5EF4-FFF2-40B4-BE49-F238E27FC236}">
                <a16:creationId xmlns:a16="http://schemas.microsoft.com/office/drawing/2014/main" id="{E1D4AC8F-0322-E8A8-E509-5AF71473A8F4}"/>
              </a:ext>
            </a:extLst>
          </p:cNvPr>
          <p:cNvSpPr txBox="1"/>
          <p:nvPr/>
        </p:nvSpPr>
        <p:spPr>
          <a:xfrm>
            <a:off x="7396160" y="2630488"/>
            <a:ext cx="4352925" cy="1825765"/>
          </a:xfrm>
          <a:prstGeom prst="rect">
            <a:avLst/>
          </a:prstGeom>
          <a:noFill/>
        </p:spPr>
        <p:txBody>
          <a:bodyPr wrap="square" lIns="72000" rIns="72000" anchor="ctr">
            <a:noAutofit/>
          </a:bodyPr>
          <a:lstStyle/>
          <a:p>
            <a:pPr marL="284400" lvl="0" indent="-284400" hangingPunct="0">
              <a:buSzPts val="1200"/>
              <a:buBlip>
                <a:blip r:embed="rId7"/>
              </a:buBlip>
            </a:pPr>
            <a:r>
              <a:rPr lang="lv-LV" sz="1400">
                <a:effectLst/>
                <a:ea typeface="Calibri" panose="020F0502020204030204" pitchFamily="34" charset="0"/>
                <a:cs typeface="Times New Roman" panose="02020603050405020304" pitchFamily="18" charset="0"/>
              </a:rPr>
              <a:t>Cietušajam ērtākā poza varētu būt pusguļus.</a:t>
            </a:r>
          </a:p>
          <a:p>
            <a:pPr marL="284400" lvl="0" indent="-284400" hangingPunct="0">
              <a:buSzPts val="1200"/>
              <a:buBlip>
                <a:blip r:embed="rId7"/>
              </a:buBlip>
            </a:pPr>
            <a:r>
              <a:rPr lang="lv-LV" sz="1400">
                <a:effectLst/>
                <a:ea typeface="Calibri" panose="020F0502020204030204" pitchFamily="34" charset="0"/>
                <a:cs typeface="Times New Roman" panose="02020603050405020304" pitchFamily="18" charset="0"/>
              </a:rPr>
              <a:t>Neatliekamo palīdzību izsauciet vienmēr, jo arī šķietami labvēlīgas norises gadījumā cietušā stāvoklis vēlāk var būtiski pasliktināties. </a:t>
            </a:r>
          </a:p>
        </p:txBody>
      </p:sp>
      <p:sp>
        <p:nvSpPr>
          <p:cNvPr id="5" name="Rectangle 4">
            <a:extLst>
              <a:ext uri="{FF2B5EF4-FFF2-40B4-BE49-F238E27FC236}">
                <a16:creationId xmlns:a16="http://schemas.microsoft.com/office/drawing/2014/main" id="{83943DC5-755B-83CF-2267-D47114310827}"/>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6" name="Content Placeholder 1">
            <a:extLst>
              <a:ext uri="{FF2B5EF4-FFF2-40B4-BE49-F238E27FC236}">
                <a16:creationId xmlns:a16="http://schemas.microsoft.com/office/drawing/2014/main" id="{055319BD-345C-14A4-0FFD-495D53480B46}"/>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7" name="Content Placeholder 1">
            <a:extLst>
              <a:ext uri="{FF2B5EF4-FFF2-40B4-BE49-F238E27FC236}">
                <a16:creationId xmlns:a16="http://schemas.microsoft.com/office/drawing/2014/main" id="{E4253512-3E4F-6500-EFE9-96171B9047A0}"/>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8" name="Google Shape;794;p79">
            <a:extLst>
              <a:ext uri="{FF2B5EF4-FFF2-40B4-BE49-F238E27FC236}">
                <a16:creationId xmlns:a16="http://schemas.microsoft.com/office/drawing/2014/main" id="{2561F30E-3361-A8CE-EEA2-061CBACD6E9E}"/>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0" name="Rectangle 9">
            <a:extLst>
              <a:ext uri="{FF2B5EF4-FFF2-40B4-BE49-F238E27FC236}">
                <a16:creationId xmlns:a16="http://schemas.microsoft.com/office/drawing/2014/main" id="{1CC3353C-42FA-10BE-ABF0-005A75FDF7CA}"/>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11" name="Content Placeholder 1">
            <a:extLst>
              <a:ext uri="{FF2B5EF4-FFF2-40B4-BE49-F238E27FC236}">
                <a16:creationId xmlns:a16="http://schemas.microsoft.com/office/drawing/2014/main" id="{4892A7B9-5704-F3C9-DB3D-C181CB3B4019}"/>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2" name="Content Placeholder 1">
            <a:extLst>
              <a:ext uri="{FF2B5EF4-FFF2-40B4-BE49-F238E27FC236}">
                <a16:creationId xmlns:a16="http://schemas.microsoft.com/office/drawing/2014/main" id="{22D1CF2B-C5CF-CFF2-97D0-1610F7F5D9A7}"/>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3" name="Google Shape;760;p79">
            <a:extLst>
              <a:ext uri="{FF2B5EF4-FFF2-40B4-BE49-F238E27FC236}">
                <a16:creationId xmlns:a16="http://schemas.microsoft.com/office/drawing/2014/main" id="{EE9C66FF-977E-2D46-F3DD-32321D3722EF}"/>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20" name="Google Shape;1736;p92">
            <a:extLst>
              <a:ext uri="{FF2B5EF4-FFF2-40B4-BE49-F238E27FC236}">
                <a16:creationId xmlns:a16="http://schemas.microsoft.com/office/drawing/2014/main" id="{EBC5E9B0-7CA9-6B3F-FE3E-C10FD733E24C}"/>
              </a:ext>
            </a:extLst>
          </p:cNvPr>
          <p:cNvGrpSpPr/>
          <p:nvPr/>
        </p:nvGrpSpPr>
        <p:grpSpPr>
          <a:xfrm>
            <a:off x="2021278" y="3915708"/>
            <a:ext cx="360363" cy="360363"/>
            <a:chOff x="2003977" y="1464394"/>
            <a:chExt cx="459607" cy="459296"/>
          </a:xfrm>
          <a:solidFill>
            <a:schemeClr val="bg1"/>
          </a:solidFill>
        </p:grpSpPr>
        <p:sp>
          <p:nvSpPr>
            <p:cNvPr id="21" name="Google Shape;1737;p92">
              <a:extLst>
                <a:ext uri="{FF2B5EF4-FFF2-40B4-BE49-F238E27FC236}">
                  <a16:creationId xmlns:a16="http://schemas.microsoft.com/office/drawing/2014/main" id="{4E92F591-2159-3A2F-55D2-E780D989C687}"/>
                </a:ext>
              </a:extLst>
            </p:cNvPr>
            <p:cNvSpPr/>
            <p:nvPr/>
          </p:nvSpPr>
          <p:spPr>
            <a:xfrm>
              <a:off x="2003977" y="1464394"/>
              <a:ext cx="459607" cy="459296"/>
            </a:xfrm>
            <a:custGeom>
              <a:avLst/>
              <a:gdLst/>
              <a:ahLst/>
              <a:cxnLst/>
              <a:rect l="l" t="t" r="r" b="b"/>
              <a:pathLst>
                <a:path w="459607" h="459296" extrusionOk="0">
                  <a:moveTo>
                    <a:pt x="262200" y="83758"/>
                  </a:moveTo>
                  <a:cubicBezTo>
                    <a:pt x="335386" y="100726"/>
                    <a:pt x="357951" y="172396"/>
                    <a:pt x="381538" y="248116"/>
                  </a:cubicBezTo>
                  <a:cubicBezTo>
                    <a:pt x="383667" y="255133"/>
                    <a:pt x="385879" y="262141"/>
                    <a:pt x="388177" y="269135"/>
                  </a:cubicBezTo>
                  <a:lnTo>
                    <a:pt x="347100" y="269135"/>
                  </a:lnTo>
                  <a:lnTo>
                    <a:pt x="347100" y="323677"/>
                  </a:lnTo>
                  <a:cubicBezTo>
                    <a:pt x="347100" y="343053"/>
                    <a:pt x="331380" y="358762"/>
                    <a:pt x="311991" y="358762"/>
                  </a:cubicBezTo>
                  <a:lnTo>
                    <a:pt x="272477" y="358762"/>
                  </a:lnTo>
                  <a:lnTo>
                    <a:pt x="272477" y="459297"/>
                  </a:lnTo>
                  <a:lnTo>
                    <a:pt x="459608" y="459297"/>
                  </a:lnTo>
                  <a:lnTo>
                    <a:pt x="459608" y="0"/>
                  </a:lnTo>
                  <a:lnTo>
                    <a:pt x="0" y="0"/>
                  </a:lnTo>
                  <a:lnTo>
                    <a:pt x="0" y="459297"/>
                  </a:lnTo>
                  <a:lnTo>
                    <a:pt x="142766" y="459297"/>
                  </a:lnTo>
                  <a:lnTo>
                    <a:pt x="142766" y="327728"/>
                  </a:lnTo>
                  <a:lnTo>
                    <a:pt x="138744" y="324825"/>
                  </a:lnTo>
                  <a:cubicBezTo>
                    <a:pt x="103862" y="299251"/>
                    <a:pt x="83195" y="258654"/>
                    <a:pt x="83049" y="215423"/>
                  </a:cubicBezTo>
                  <a:cubicBezTo>
                    <a:pt x="83049" y="152333"/>
                    <a:pt x="132648" y="96006"/>
                    <a:pt x="197951" y="82737"/>
                  </a:cubicBezTo>
                  <a:cubicBezTo>
                    <a:pt x="219220" y="78449"/>
                    <a:pt x="241160" y="78764"/>
                    <a:pt x="262296" y="83662"/>
                  </a:cubicBezTo>
                  <a:close/>
                  <a:moveTo>
                    <a:pt x="231049" y="59964"/>
                  </a:moveTo>
                  <a:cubicBezTo>
                    <a:pt x="219926" y="60113"/>
                    <a:pt x="208831" y="61094"/>
                    <a:pt x="197855" y="62898"/>
                  </a:cubicBezTo>
                  <a:cubicBezTo>
                    <a:pt x="121860" y="76486"/>
                    <a:pt x="63515" y="141967"/>
                    <a:pt x="63515" y="215519"/>
                  </a:cubicBezTo>
                  <a:cubicBezTo>
                    <a:pt x="63707" y="263196"/>
                    <a:pt x="85733" y="308160"/>
                    <a:pt x="123296" y="337551"/>
                  </a:cubicBezTo>
                  <a:lnTo>
                    <a:pt x="123296" y="439617"/>
                  </a:lnTo>
                  <a:lnTo>
                    <a:pt x="19597" y="439617"/>
                  </a:lnTo>
                  <a:lnTo>
                    <a:pt x="19597" y="19329"/>
                  </a:lnTo>
                  <a:lnTo>
                    <a:pt x="440074" y="19329"/>
                  </a:lnTo>
                  <a:lnTo>
                    <a:pt x="440074" y="439490"/>
                  </a:lnTo>
                  <a:lnTo>
                    <a:pt x="292074" y="439490"/>
                  </a:lnTo>
                  <a:lnTo>
                    <a:pt x="292074" y="378091"/>
                  </a:lnTo>
                  <a:lnTo>
                    <a:pt x="312150" y="378091"/>
                  </a:lnTo>
                  <a:cubicBezTo>
                    <a:pt x="342267" y="378072"/>
                    <a:pt x="366678" y="353678"/>
                    <a:pt x="366697" y="323581"/>
                  </a:cubicBezTo>
                  <a:lnTo>
                    <a:pt x="366697" y="288496"/>
                  </a:lnTo>
                  <a:lnTo>
                    <a:pt x="391401" y="288496"/>
                  </a:lnTo>
                  <a:cubicBezTo>
                    <a:pt x="400918" y="288486"/>
                    <a:pt x="408630" y="280768"/>
                    <a:pt x="408620" y="271256"/>
                  </a:cubicBezTo>
                  <a:cubicBezTo>
                    <a:pt x="408617" y="269451"/>
                    <a:pt x="408333" y="267662"/>
                    <a:pt x="407774" y="265946"/>
                  </a:cubicBezTo>
                  <a:cubicBezTo>
                    <a:pt x="405221" y="258004"/>
                    <a:pt x="402731" y="249998"/>
                    <a:pt x="400210" y="242056"/>
                  </a:cubicBezTo>
                  <a:cubicBezTo>
                    <a:pt x="375410" y="162795"/>
                    <a:pt x="349812" y="80919"/>
                    <a:pt x="262200" y="63440"/>
                  </a:cubicBezTo>
                  <a:cubicBezTo>
                    <a:pt x="251977" y="61121"/>
                    <a:pt x="241530" y="59924"/>
                    <a:pt x="231049" y="59868"/>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2" name="Google Shape;1738;p92">
              <a:extLst>
                <a:ext uri="{FF2B5EF4-FFF2-40B4-BE49-F238E27FC236}">
                  <a16:creationId xmlns:a16="http://schemas.microsoft.com/office/drawing/2014/main" id="{1748EE48-7E9C-A35E-C455-9FA5460BFED0}"/>
                </a:ext>
              </a:extLst>
            </p:cNvPr>
            <p:cNvSpPr/>
            <p:nvPr/>
          </p:nvSpPr>
          <p:spPr>
            <a:xfrm>
              <a:off x="2170010" y="1572137"/>
              <a:ext cx="135584" cy="228978"/>
            </a:xfrm>
            <a:custGeom>
              <a:avLst/>
              <a:gdLst/>
              <a:ahLst/>
              <a:cxnLst/>
              <a:rect l="l" t="t" r="r" b="b"/>
              <a:pathLst>
                <a:path w="135584" h="228978" extrusionOk="0">
                  <a:moveTo>
                    <a:pt x="3032" y="228979"/>
                  </a:moveTo>
                  <a:lnTo>
                    <a:pt x="36737" y="126402"/>
                  </a:lnTo>
                  <a:lnTo>
                    <a:pt x="0" y="126402"/>
                  </a:lnTo>
                  <a:lnTo>
                    <a:pt x="43439" y="0"/>
                  </a:lnTo>
                  <a:lnTo>
                    <a:pt x="109157" y="0"/>
                  </a:lnTo>
                  <a:lnTo>
                    <a:pt x="80878" y="76964"/>
                  </a:lnTo>
                  <a:lnTo>
                    <a:pt x="135584" y="76964"/>
                  </a:lnTo>
                  <a:close/>
                  <a:moveTo>
                    <a:pt x="27481" y="106787"/>
                  </a:moveTo>
                  <a:lnTo>
                    <a:pt x="63866" y="106787"/>
                  </a:lnTo>
                  <a:lnTo>
                    <a:pt x="51993" y="142860"/>
                  </a:lnTo>
                  <a:lnTo>
                    <a:pt x="92304" y="96580"/>
                  </a:lnTo>
                  <a:lnTo>
                    <a:pt x="52599" y="96580"/>
                  </a:lnTo>
                  <a:lnTo>
                    <a:pt x="80878" y="19616"/>
                  </a:lnTo>
                  <a:lnTo>
                    <a:pt x="57323" y="1961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32" name="Rectangle 31">
            <a:extLst>
              <a:ext uri="{FF2B5EF4-FFF2-40B4-BE49-F238E27FC236}">
                <a16:creationId xmlns:a16="http://schemas.microsoft.com/office/drawing/2014/main" id="{6741534F-AD2B-D1F2-AC91-19476BE24A77}"/>
              </a:ext>
            </a:extLst>
          </p:cNvPr>
          <p:cNvSpPr/>
          <p:nvPr/>
        </p:nvSpPr>
        <p:spPr>
          <a:xfrm>
            <a:off x="15241" y="4837952"/>
            <a:ext cx="12192000" cy="2009553"/>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 name="Rectangle 1">
            <a:extLst>
              <a:ext uri="{FF2B5EF4-FFF2-40B4-BE49-F238E27FC236}">
                <a16:creationId xmlns:a16="http://schemas.microsoft.com/office/drawing/2014/main" id="{CFDF6535-C156-7ADE-BFD5-5D34028DCE11}"/>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23" name="Group 22">
            <a:extLst>
              <a:ext uri="{FF2B5EF4-FFF2-40B4-BE49-F238E27FC236}">
                <a16:creationId xmlns:a16="http://schemas.microsoft.com/office/drawing/2014/main" id="{096455D1-C7FC-68A6-50AB-47A060BA669E}"/>
              </a:ext>
            </a:extLst>
          </p:cNvPr>
          <p:cNvGrpSpPr/>
          <p:nvPr/>
        </p:nvGrpSpPr>
        <p:grpSpPr>
          <a:xfrm>
            <a:off x="9842140" y="372216"/>
            <a:ext cx="1667215" cy="217488"/>
            <a:chOff x="9842140" y="372216"/>
            <a:chExt cx="1667215" cy="217488"/>
          </a:xfrm>
        </p:grpSpPr>
        <p:sp>
          <p:nvSpPr>
            <p:cNvPr id="31" name="TextBox 30">
              <a:extLst>
                <a:ext uri="{FF2B5EF4-FFF2-40B4-BE49-F238E27FC236}">
                  <a16:creationId xmlns:a16="http://schemas.microsoft.com/office/drawing/2014/main" id="{C8263305-B919-3DC6-F882-1E737C5B2AED}"/>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Traumas</a:t>
              </a:r>
            </a:p>
          </p:txBody>
        </p:sp>
        <p:sp>
          <p:nvSpPr>
            <p:cNvPr id="33" name="Freeform 49">
              <a:extLst>
                <a:ext uri="{FF2B5EF4-FFF2-40B4-BE49-F238E27FC236}">
                  <a16:creationId xmlns:a16="http://schemas.microsoft.com/office/drawing/2014/main" id="{052A78D0-A332-7F92-B18D-368CC62F7024}"/>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30" name="Group 29">
            <a:extLst>
              <a:ext uri="{FF2B5EF4-FFF2-40B4-BE49-F238E27FC236}">
                <a16:creationId xmlns:a16="http://schemas.microsoft.com/office/drawing/2014/main" id="{E04BE93A-A62B-318B-CB18-2704A57A9BED}"/>
              </a:ext>
            </a:extLst>
          </p:cNvPr>
          <p:cNvGrpSpPr/>
          <p:nvPr/>
        </p:nvGrpSpPr>
        <p:grpSpPr>
          <a:xfrm>
            <a:off x="9122935" y="126781"/>
            <a:ext cx="2626153" cy="217488"/>
            <a:chOff x="9122935" y="126781"/>
            <a:chExt cx="2626153" cy="217488"/>
          </a:xfrm>
        </p:grpSpPr>
        <p:sp>
          <p:nvSpPr>
            <p:cNvPr id="34" name="Rectangle 33">
              <a:extLst>
                <a:ext uri="{FF2B5EF4-FFF2-40B4-BE49-F238E27FC236}">
                  <a16:creationId xmlns:a16="http://schemas.microsoft.com/office/drawing/2014/main" id="{9D77A928-D2F5-965A-FD2A-227FA38B2A07}"/>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35" name="Rectangle 34">
              <a:extLst>
                <a:ext uri="{FF2B5EF4-FFF2-40B4-BE49-F238E27FC236}">
                  <a16:creationId xmlns:a16="http://schemas.microsoft.com/office/drawing/2014/main" id="{4B64B090-1266-864E-76E9-FD4A9A5919DB}"/>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7" name="Rectangle 36">
              <a:extLst>
                <a:ext uri="{FF2B5EF4-FFF2-40B4-BE49-F238E27FC236}">
                  <a16:creationId xmlns:a16="http://schemas.microsoft.com/office/drawing/2014/main" id="{03ABC941-F115-184E-FF84-D19F0E5859F8}"/>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9" name="Rectangle 38">
              <a:extLst>
                <a:ext uri="{FF2B5EF4-FFF2-40B4-BE49-F238E27FC236}">
                  <a16:creationId xmlns:a16="http://schemas.microsoft.com/office/drawing/2014/main" id="{465C949B-20EE-4625-D64A-C83F8F2CD0A1}"/>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40" name="Rectangle 39">
              <a:extLst>
                <a:ext uri="{FF2B5EF4-FFF2-40B4-BE49-F238E27FC236}">
                  <a16:creationId xmlns:a16="http://schemas.microsoft.com/office/drawing/2014/main" id="{92F5BE1F-C615-E500-B43F-A8B038A2EB7E}"/>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41" name="Rectangle 40">
              <a:extLst>
                <a:ext uri="{FF2B5EF4-FFF2-40B4-BE49-F238E27FC236}">
                  <a16:creationId xmlns:a16="http://schemas.microsoft.com/office/drawing/2014/main" id="{627BD7FD-87D7-5EFA-E978-6B2B92D650DB}"/>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28032390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2A03EDD-F030-291B-BE81-BF9DE321CA50}"/>
              </a:ext>
            </a:extLst>
          </p:cNvPr>
          <p:cNvGraphicFramePr>
            <a:graphicFrameLocks noChangeAspect="1"/>
          </p:cNvGraphicFramePr>
          <p:nvPr>
            <p:custDataLst>
              <p:tags r:id="rId1"/>
            </p:custDataLst>
            <p:extLst>
              <p:ext uri="{D42A27DB-BD31-4B8C-83A1-F6EECF244321}">
                <p14:modId xmlns:p14="http://schemas.microsoft.com/office/powerpoint/2010/main" val="1515605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think-cell data - do not delete" hidden="1">
                        <a:extLst>
                          <a:ext uri="{FF2B5EF4-FFF2-40B4-BE49-F238E27FC236}">
                            <a16:creationId xmlns:a16="http://schemas.microsoft.com/office/drawing/2014/main" id="{32A03EDD-F030-291B-BE81-BF9DE321CA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 name="Picture 29">
            <a:extLst>
              <a:ext uri="{FF2B5EF4-FFF2-40B4-BE49-F238E27FC236}">
                <a16:creationId xmlns:a16="http://schemas.microsoft.com/office/drawing/2014/main" id="{AB4C9FDB-076F-0336-F777-BCEDB4421830}"/>
              </a:ext>
            </a:extLst>
          </p:cNvPr>
          <p:cNvPicPr>
            <a:picLocks noChangeAspect="1"/>
          </p:cNvPicPr>
          <p:nvPr/>
        </p:nvPicPr>
        <p:blipFill rotWithShape="1">
          <a:blip r:embed="rId6"/>
          <a:srcRect l="1" t="57154" r="1" b="11872"/>
          <a:stretch/>
        </p:blipFill>
        <p:spPr>
          <a:xfrm>
            <a:off x="0" y="4340506"/>
            <a:ext cx="12192000" cy="2517494"/>
          </a:xfrm>
          <a:prstGeom prst="rect">
            <a:avLst/>
          </a:prstGeom>
        </p:spPr>
      </p:pic>
      <p:sp>
        <p:nvSpPr>
          <p:cNvPr id="14" name="Rectangle 13">
            <a:extLst>
              <a:ext uri="{FF2B5EF4-FFF2-40B4-BE49-F238E27FC236}">
                <a16:creationId xmlns:a16="http://schemas.microsoft.com/office/drawing/2014/main" id="{A8A8DD37-9B73-46FB-C75B-2CEFA6483C22}"/>
              </a:ext>
            </a:extLst>
          </p:cNvPr>
          <p:cNvSpPr/>
          <p:nvPr/>
        </p:nvSpPr>
        <p:spPr>
          <a:xfrm>
            <a:off x="0" y="4340225"/>
            <a:ext cx="12192000" cy="2517775"/>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6" name="Rectangle 15">
            <a:extLst>
              <a:ext uri="{FF2B5EF4-FFF2-40B4-BE49-F238E27FC236}">
                <a16:creationId xmlns:a16="http://schemas.microsoft.com/office/drawing/2014/main" id="{25A25F16-3DF9-5BEF-8F70-42FAB50A6BCE}"/>
              </a:ext>
            </a:extLst>
          </p:cNvPr>
          <p:cNvSpPr/>
          <p:nvPr/>
        </p:nvSpPr>
        <p:spPr>
          <a:xfrm>
            <a:off x="7619998" y="2398554"/>
            <a:ext cx="4129089" cy="158313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a:spcAft>
                <a:spcPts val="600"/>
              </a:spcAft>
              <a:buBlip>
                <a:blip r:embed="rId7"/>
              </a:buBlip>
            </a:pPr>
            <a:r>
              <a:rPr lang="lv-LV" sz="1400">
                <a:solidFill>
                  <a:schemeClr val="tx1"/>
                </a:solidFill>
              </a:rPr>
              <a:t>Jebkurā ceļu satiksmes negadījumā pieņemiet, ka cietušajam var būt traumēts mugurkauls.</a:t>
            </a:r>
          </a:p>
          <a:p>
            <a:pPr marL="285750" indent="-285750">
              <a:spcAft>
                <a:spcPts val="600"/>
              </a:spcAft>
              <a:buBlip>
                <a:blip r:embed="rId7"/>
              </a:buBlip>
            </a:pPr>
            <a:r>
              <a:rPr lang="lv-LV" sz="1400">
                <a:solidFill>
                  <a:schemeClr val="tx1"/>
                </a:solidFill>
              </a:rPr>
              <a:t>Uzmanieties no garām braucošiem transporta līdzekļiem!</a:t>
            </a: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7177085" cy="1387274"/>
          </a:xfrm>
        </p:spPr>
        <p:txBody>
          <a:bodyPr vert="horz"/>
          <a:lstStyle/>
          <a:p>
            <a:r>
              <a:rPr lang="lv-LV"/>
              <a:t>Kā palīdzēt cietušajam ceļu </a:t>
            </a:r>
            <a:br>
              <a:rPr lang="en-US"/>
            </a:br>
            <a:r>
              <a:rPr lang="lv-LV"/>
              <a:t>satiksmes negadījumā?</a:t>
            </a:r>
            <a:endParaRPr lang="en-GB"/>
          </a:p>
        </p:txBody>
      </p:sp>
      <p:sp>
        <p:nvSpPr>
          <p:cNvPr id="11" name="TextBox 10">
            <a:extLst>
              <a:ext uri="{FF2B5EF4-FFF2-40B4-BE49-F238E27FC236}">
                <a16:creationId xmlns:a16="http://schemas.microsoft.com/office/drawing/2014/main" id="{ECEF24F5-E26D-2531-E4A1-337E326AC9CB}"/>
              </a:ext>
            </a:extLst>
          </p:cNvPr>
          <p:cNvSpPr txBox="1"/>
          <p:nvPr/>
        </p:nvSpPr>
        <p:spPr>
          <a:xfrm>
            <a:off x="442913" y="2398555"/>
            <a:ext cx="6734171" cy="1583136"/>
          </a:xfrm>
          <a:prstGeom prst="rect">
            <a:avLst/>
          </a:prstGeom>
          <a:solidFill>
            <a:schemeClr val="bg1">
              <a:lumMod val="95000"/>
            </a:schemeClr>
          </a:solidFill>
        </p:spPr>
        <p:txBody>
          <a:bodyPr wrap="square" lIns="72000" tIns="72000" rIns="72000" bIns="72000" anchor="t">
            <a:noAutofit/>
          </a:bodyPr>
          <a:lstStyle/>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Apstādiniet savu automašīnu drošā attālumā no negadījuma vietas.</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Ieslēdziet savas automašīnas avārijas gaismas signalizāciju.</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Uzvelciet atstarojošo vesti, paņemiet automašīnas aptieciņu, avārijas zīmi.</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Novietojiet avārijas zīmi nepieciešamajā attālumā no negadījuma vietas.</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Dodieties uz negadījuma vietu.</a:t>
            </a:r>
          </a:p>
        </p:txBody>
      </p:sp>
      <p:sp>
        <p:nvSpPr>
          <p:cNvPr id="5" name="Rectangle 4">
            <a:extLst>
              <a:ext uri="{FF2B5EF4-FFF2-40B4-BE49-F238E27FC236}">
                <a16:creationId xmlns:a16="http://schemas.microsoft.com/office/drawing/2014/main" id="{B84E4DE4-C567-9AA2-9EA6-FF63AC8010C1}"/>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6" name="Rectangle 5">
            <a:extLst>
              <a:ext uri="{FF2B5EF4-FFF2-40B4-BE49-F238E27FC236}">
                <a16:creationId xmlns:a16="http://schemas.microsoft.com/office/drawing/2014/main" id="{6BDFFD0F-D669-CBFC-F79D-1F7CE72AB8C2}"/>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7" name="Content Placeholder 1">
            <a:extLst>
              <a:ext uri="{FF2B5EF4-FFF2-40B4-BE49-F238E27FC236}">
                <a16:creationId xmlns:a16="http://schemas.microsoft.com/office/drawing/2014/main" id="{291128ED-10A5-5D71-7FD0-2940E91156C5}"/>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9" name="Content Placeholder 1">
            <a:extLst>
              <a:ext uri="{FF2B5EF4-FFF2-40B4-BE49-F238E27FC236}">
                <a16:creationId xmlns:a16="http://schemas.microsoft.com/office/drawing/2014/main" id="{40119071-6F0C-7DBF-8B52-8247B7B38480}"/>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0" name="Content Placeholder 1">
            <a:extLst>
              <a:ext uri="{FF2B5EF4-FFF2-40B4-BE49-F238E27FC236}">
                <a16:creationId xmlns:a16="http://schemas.microsoft.com/office/drawing/2014/main" id="{BC9E057D-3C62-CB02-6C02-90AAC7B6CD99}"/>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2" name="Content Placeholder 1">
            <a:extLst>
              <a:ext uri="{FF2B5EF4-FFF2-40B4-BE49-F238E27FC236}">
                <a16:creationId xmlns:a16="http://schemas.microsoft.com/office/drawing/2014/main" id="{5DEF950D-8557-A15F-4AC0-CC2EC189B5DF}"/>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7" name="Google Shape;760;p79">
            <a:extLst>
              <a:ext uri="{FF2B5EF4-FFF2-40B4-BE49-F238E27FC236}">
                <a16:creationId xmlns:a16="http://schemas.microsoft.com/office/drawing/2014/main" id="{9376B17C-E1F0-0C98-C153-DD16C3ED4496}"/>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4" name="Google Shape;794;p79">
            <a:extLst>
              <a:ext uri="{FF2B5EF4-FFF2-40B4-BE49-F238E27FC236}">
                <a16:creationId xmlns:a16="http://schemas.microsoft.com/office/drawing/2014/main" id="{3753E256-6408-1146-E160-33565302DAED}"/>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solidFill>
                  <a:schemeClr val="bg1"/>
                </a:solidFill>
              </a:rPr>
              <a:pPr/>
              <a:t>33</a:t>
            </a:fld>
            <a:endParaRPr lang="en-GB">
              <a:solidFill>
                <a:schemeClr val="bg1"/>
              </a:solidFill>
            </a:endParaRPr>
          </a:p>
        </p:txBody>
      </p:sp>
      <p:sp>
        <p:nvSpPr>
          <p:cNvPr id="2" name="Rectangle 1">
            <a:extLst>
              <a:ext uri="{FF2B5EF4-FFF2-40B4-BE49-F238E27FC236}">
                <a16:creationId xmlns:a16="http://schemas.microsoft.com/office/drawing/2014/main" id="{ED2943CD-16EE-91FE-30AA-1E91969505A6}"/>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25" name="Group 24">
            <a:extLst>
              <a:ext uri="{FF2B5EF4-FFF2-40B4-BE49-F238E27FC236}">
                <a16:creationId xmlns:a16="http://schemas.microsoft.com/office/drawing/2014/main" id="{5426D644-7CFD-72FF-3126-536E033DF25C}"/>
              </a:ext>
            </a:extLst>
          </p:cNvPr>
          <p:cNvGrpSpPr/>
          <p:nvPr/>
        </p:nvGrpSpPr>
        <p:grpSpPr>
          <a:xfrm>
            <a:off x="9842140" y="372216"/>
            <a:ext cx="1667215" cy="217488"/>
            <a:chOff x="9842140" y="372216"/>
            <a:chExt cx="1667215" cy="217488"/>
          </a:xfrm>
        </p:grpSpPr>
        <p:sp>
          <p:nvSpPr>
            <p:cNvPr id="26" name="TextBox 25">
              <a:extLst>
                <a:ext uri="{FF2B5EF4-FFF2-40B4-BE49-F238E27FC236}">
                  <a16:creationId xmlns:a16="http://schemas.microsoft.com/office/drawing/2014/main" id="{93CC1AF4-5735-FAF5-28CE-FDE084412226}"/>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a:lnSpc>
                  <a:spcPct val="100000"/>
                </a:lnSpc>
                <a:spcAft>
                  <a:spcPts val="600"/>
                </a:spcAft>
                <a:buSzPct val="100000"/>
              </a:pPr>
              <a:r>
                <a:rPr lang="lv-LV" sz="800">
                  <a:solidFill>
                    <a:schemeClr val="bg1"/>
                  </a:solidFill>
                </a:rPr>
                <a:t>Ceļu satiksmes negadījums</a:t>
              </a:r>
            </a:p>
          </p:txBody>
        </p:sp>
        <p:sp>
          <p:nvSpPr>
            <p:cNvPr id="27" name="Freeform 49">
              <a:extLst>
                <a:ext uri="{FF2B5EF4-FFF2-40B4-BE49-F238E27FC236}">
                  <a16:creationId xmlns:a16="http://schemas.microsoft.com/office/drawing/2014/main" id="{1CFCD6D0-F1EF-88E9-3615-98FAF8A8B978}"/>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23" name="Group 22">
            <a:extLst>
              <a:ext uri="{FF2B5EF4-FFF2-40B4-BE49-F238E27FC236}">
                <a16:creationId xmlns:a16="http://schemas.microsoft.com/office/drawing/2014/main" id="{6F4A342F-833F-BCE6-2FA2-C36CFED03E35}"/>
              </a:ext>
            </a:extLst>
          </p:cNvPr>
          <p:cNvGrpSpPr/>
          <p:nvPr/>
        </p:nvGrpSpPr>
        <p:grpSpPr>
          <a:xfrm>
            <a:off x="9122935" y="126781"/>
            <a:ext cx="2626153" cy="217488"/>
            <a:chOff x="9122935" y="126781"/>
            <a:chExt cx="2626153" cy="217488"/>
          </a:xfrm>
        </p:grpSpPr>
        <p:sp>
          <p:nvSpPr>
            <p:cNvPr id="28" name="Rectangle 27">
              <a:extLst>
                <a:ext uri="{FF2B5EF4-FFF2-40B4-BE49-F238E27FC236}">
                  <a16:creationId xmlns:a16="http://schemas.microsoft.com/office/drawing/2014/main" id="{A582EB2B-3A9D-10BC-C47B-27C4515FE590}"/>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29" name="Rectangle 28">
              <a:extLst>
                <a:ext uri="{FF2B5EF4-FFF2-40B4-BE49-F238E27FC236}">
                  <a16:creationId xmlns:a16="http://schemas.microsoft.com/office/drawing/2014/main" id="{7EE8127F-9B99-BFB3-312E-B358FAC3DAA8}"/>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D8045CAE-425A-DE7A-000A-ED6C47CD5D0E}"/>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2" name="Rectangle 31">
              <a:extLst>
                <a:ext uri="{FF2B5EF4-FFF2-40B4-BE49-F238E27FC236}">
                  <a16:creationId xmlns:a16="http://schemas.microsoft.com/office/drawing/2014/main" id="{D726BE2B-DEF3-01BE-7B5A-7286072FF61C}"/>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278C7383-9023-E105-A0F7-36688B28E577}"/>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34" name="Rectangle 33">
              <a:extLst>
                <a:ext uri="{FF2B5EF4-FFF2-40B4-BE49-F238E27FC236}">
                  <a16:creationId xmlns:a16="http://schemas.microsoft.com/office/drawing/2014/main" id="{5BCED1B1-0937-900F-EF67-BC0723945E82}"/>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12633757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2A03EDD-F030-291B-BE81-BF9DE321CA50}"/>
              </a:ext>
            </a:extLst>
          </p:cNvPr>
          <p:cNvGraphicFramePr>
            <a:graphicFrameLocks noChangeAspect="1"/>
          </p:cNvGraphicFramePr>
          <p:nvPr>
            <p:custDataLst>
              <p:tags r:id="rId1"/>
            </p:custDataLst>
            <p:extLst>
              <p:ext uri="{D42A27DB-BD31-4B8C-83A1-F6EECF244321}">
                <p14:modId xmlns:p14="http://schemas.microsoft.com/office/powerpoint/2010/main" val="4111684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think-cell data - do not delete" hidden="1">
                        <a:extLst>
                          <a:ext uri="{FF2B5EF4-FFF2-40B4-BE49-F238E27FC236}">
                            <a16:creationId xmlns:a16="http://schemas.microsoft.com/office/drawing/2014/main" id="{32A03EDD-F030-291B-BE81-BF9DE321CA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74DDB8D3-0D3E-4998-DA26-3080B29564A0}"/>
              </a:ext>
            </a:extLst>
          </p:cNvPr>
          <p:cNvPicPr>
            <a:picLocks noChangeAspect="1"/>
          </p:cNvPicPr>
          <p:nvPr/>
        </p:nvPicPr>
        <p:blipFill>
          <a:blip r:embed="rId6"/>
          <a:stretch>
            <a:fillRect/>
          </a:stretch>
        </p:blipFill>
        <p:spPr>
          <a:xfrm>
            <a:off x="7620000" y="0"/>
            <a:ext cx="4572000" cy="6858000"/>
          </a:xfrm>
          <a:prstGeom prst="rect">
            <a:avLst/>
          </a:prstGeom>
        </p:spPr>
      </p:pic>
      <p:sp>
        <p:nvSpPr>
          <p:cNvPr id="14" name="Rectangle 13">
            <a:extLst>
              <a:ext uri="{FF2B5EF4-FFF2-40B4-BE49-F238E27FC236}">
                <a16:creationId xmlns:a16="http://schemas.microsoft.com/office/drawing/2014/main" id="{A8A8DD37-9B73-46FB-C75B-2CEFA6483C22}"/>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9" name="Rectangle 18">
            <a:extLst>
              <a:ext uri="{FF2B5EF4-FFF2-40B4-BE49-F238E27FC236}">
                <a16:creationId xmlns:a16="http://schemas.microsoft.com/office/drawing/2014/main" id="{44282A17-2D47-C3D0-8E97-8DAEAA96CA33}"/>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6" name="Rectangle 15">
            <a:extLst>
              <a:ext uri="{FF2B5EF4-FFF2-40B4-BE49-F238E27FC236}">
                <a16:creationId xmlns:a16="http://schemas.microsoft.com/office/drawing/2014/main" id="{25A25F16-3DF9-5BEF-8F70-42FAB50A6BCE}"/>
              </a:ext>
            </a:extLst>
          </p:cNvPr>
          <p:cNvSpPr/>
          <p:nvPr/>
        </p:nvSpPr>
        <p:spPr>
          <a:xfrm>
            <a:off x="7619998" y="2398554"/>
            <a:ext cx="4129089" cy="287757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a:spcAft>
                <a:spcPts val="600"/>
              </a:spcAft>
              <a:buBlip>
                <a:blip r:embed="rId7"/>
              </a:buBlip>
            </a:pPr>
            <a:r>
              <a:rPr lang="lv-LV" sz="1400">
                <a:solidFill>
                  <a:schemeClr val="tx1"/>
                </a:solidFill>
              </a:rPr>
              <a:t>Cietušā izvilkšanai ieteicams izmantot Rauteka paņēmienu.</a:t>
            </a:r>
          </a:p>
          <a:p>
            <a:pPr marL="285750" indent="-285750">
              <a:spcAft>
                <a:spcPts val="600"/>
              </a:spcAft>
              <a:buBlip>
                <a:blip r:embed="rId7"/>
              </a:buBlip>
            </a:pPr>
            <a:r>
              <a:rPr lang="lv-LV" sz="1400">
                <a:solidFill>
                  <a:schemeClr val="tx1"/>
                </a:solidFill>
              </a:rPr>
              <a:t>Atvērušies gaisa spilveni nav bīstami Jums un cietušajam.</a:t>
            </a:r>
          </a:p>
          <a:p>
            <a:pPr marL="285750" indent="-285750">
              <a:spcAft>
                <a:spcPts val="600"/>
              </a:spcAft>
              <a:buBlip>
                <a:blip r:embed="rId7"/>
              </a:buBlip>
            </a:pPr>
            <a:r>
              <a:rPr lang="lv-LV" sz="1400">
                <a:solidFill>
                  <a:schemeClr val="tx1"/>
                </a:solidFill>
              </a:rPr>
              <a:t>Uzmanieties no gaisa spilveniem, kuri nav atvērušies.</a:t>
            </a: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7177085" cy="1387274"/>
          </a:xfrm>
        </p:spPr>
        <p:txBody>
          <a:bodyPr vert="horz"/>
          <a:lstStyle/>
          <a:p>
            <a:r>
              <a:rPr lang="lv-LV"/>
              <a:t>Kā palīdzēt cietušajam autoavārij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solidFill>
                  <a:schemeClr val="bg1"/>
                </a:solidFill>
              </a:rPr>
              <a:pPr/>
              <a:t>34</a:t>
            </a:fld>
            <a:endParaRPr lang="en-GB">
              <a:solidFill>
                <a:schemeClr val="bg1"/>
              </a:solidFill>
            </a:endParaRPr>
          </a:p>
        </p:txBody>
      </p:sp>
      <p:sp>
        <p:nvSpPr>
          <p:cNvPr id="11" name="TextBox 10">
            <a:extLst>
              <a:ext uri="{FF2B5EF4-FFF2-40B4-BE49-F238E27FC236}">
                <a16:creationId xmlns:a16="http://schemas.microsoft.com/office/drawing/2014/main" id="{ECEF24F5-E26D-2531-E4A1-337E326AC9CB}"/>
              </a:ext>
            </a:extLst>
          </p:cNvPr>
          <p:cNvSpPr txBox="1"/>
          <p:nvPr/>
        </p:nvSpPr>
        <p:spPr>
          <a:xfrm>
            <a:off x="442913" y="2398712"/>
            <a:ext cx="6734171" cy="2877450"/>
          </a:xfrm>
          <a:prstGeom prst="rect">
            <a:avLst/>
          </a:prstGeom>
          <a:solidFill>
            <a:schemeClr val="bg1">
              <a:lumMod val="95000"/>
            </a:schemeClr>
          </a:solidFill>
        </p:spPr>
        <p:txBody>
          <a:bodyPr wrap="square" lIns="72000" tIns="72000" rIns="72000" bIns="72000" anchor="t">
            <a:noAutofit/>
          </a:bodyPr>
          <a:lstStyle/>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Ja nepieciešams, izsauciet Neatliekamo palīdzību.</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Atstājiet cietušo automašīnas salonā.</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Nekustiniet, nepārvietojiet cietušo pats! Neļaujiet cietušo kustināt citiem!</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Sniedziet nepieciešamo palīdzību.</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Aprūpējiet, nomieriniet cietušo.</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Saudzīgi izvelciet cietušo no automašīnas, ja:</a:t>
            </a:r>
          </a:p>
          <a:p>
            <a:pPr marL="468000" lvl="2" indent="-180000" hangingPunct="0">
              <a:spcAft>
                <a:spcPts val="600"/>
              </a:spcAft>
              <a:buFont typeface="Arial" panose="020B0604020202020204" pitchFamily="34" charset="0"/>
              <a:buChar char="•"/>
              <a:tabLst>
                <a:tab pos="457200" algn="l"/>
                <a:tab pos="1586230" algn="l"/>
              </a:tabLst>
            </a:pPr>
            <a:r>
              <a:rPr lang="lv-LV" sz="1400">
                <a:effectLst/>
                <a:ea typeface="Times New Roman" panose="02020603050405020304" pitchFamily="18" charset="0"/>
              </a:rPr>
              <a:t>ir briesmas cietušā dzīvībai;</a:t>
            </a:r>
          </a:p>
          <a:p>
            <a:pPr marL="468000" lvl="2" indent="-180000" hangingPunct="0">
              <a:spcAft>
                <a:spcPts val="600"/>
              </a:spcAft>
              <a:buFont typeface="Arial" panose="020B0604020202020204" pitchFamily="34" charset="0"/>
              <a:buChar char="•"/>
              <a:tabLst>
                <a:tab pos="457200" algn="l"/>
                <a:tab pos="1586230" algn="l"/>
              </a:tabLst>
            </a:pPr>
            <a:r>
              <a:rPr lang="lv-LV" sz="1400">
                <a:effectLst/>
                <a:ea typeface="Times New Roman" panose="02020603050405020304" pitchFamily="18" charset="0"/>
              </a:rPr>
              <a:t>ir bezsamaņa.</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Veiciet atdzīvināšanas pasākumus, ja nepieciešams.</a:t>
            </a:r>
          </a:p>
        </p:txBody>
      </p:sp>
      <p:sp>
        <p:nvSpPr>
          <p:cNvPr id="5" name="Rectangle 4">
            <a:extLst>
              <a:ext uri="{FF2B5EF4-FFF2-40B4-BE49-F238E27FC236}">
                <a16:creationId xmlns:a16="http://schemas.microsoft.com/office/drawing/2014/main" id="{9427ECFD-F450-0D4F-FE55-5438A378FF6F}"/>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6" name="Rectangle 5">
            <a:extLst>
              <a:ext uri="{FF2B5EF4-FFF2-40B4-BE49-F238E27FC236}">
                <a16:creationId xmlns:a16="http://schemas.microsoft.com/office/drawing/2014/main" id="{C9252866-F919-675A-0ECF-498D296D0E74}"/>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7" name="Content Placeholder 1">
            <a:extLst>
              <a:ext uri="{FF2B5EF4-FFF2-40B4-BE49-F238E27FC236}">
                <a16:creationId xmlns:a16="http://schemas.microsoft.com/office/drawing/2014/main" id="{B42208E6-62B1-575C-BF52-C7B71E7ADF8C}"/>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9" name="Content Placeholder 1">
            <a:extLst>
              <a:ext uri="{FF2B5EF4-FFF2-40B4-BE49-F238E27FC236}">
                <a16:creationId xmlns:a16="http://schemas.microsoft.com/office/drawing/2014/main" id="{B3659C17-0F53-5112-4924-BFD603C1E0B3}"/>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0" name="Content Placeholder 1">
            <a:extLst>
              <a:ext uri="{FF2B5EF4-FFF2-40B4-BE49-F238E27FC236}">
                <a16:creationId xmlns:a16="http://schemas.microsoft.com/office/drawing/2014/main" id="{B880C522-54F9-B49A-2C13-8E07817D8D19}"/>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2" name="Content Placeholder 1">
            <a:extLst>
              <a:ext uri="{FF2B5EF4-FFF2-40B4-BE49-F238E27FC236}">
                <a16:creationId xmlns:a16="http://schemas.microsoft.com/office/drawing/2014/main" id="{BA1DA764-F4D1-44E8-65B7-07D74958045B}"/>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7" name="Google Shape;760;p79">
            <a:extLst>
              <a:ext uri="{FF2B5EF4-FFF2-40B4-BE49-F238E27FC236}">
                <a16:creationId xmlns:a16="http://schemas.microsoft.com/office/drawing/2014/main" id="{73F5F897-1FF0-65CF-232B-0D159F08FF7E}"/>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4" name="Google Shape;794;p79">
            <a:extLst>
              <a:ext uri="{FF2B5EF4-FFF2-40B4-BE49-F238E27FC236}">
                <a16:creationId xmlns:a16="http://schemas.microsoft.com/office/drawing/2014/main" id="{65333E76-2176-D9F5-55D0-91CD51913465}"/>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 name="Rectangle 1">
            <a:extLst>
              <a:ext uri="{FF2B5EF4-FFF2-40B4-BE49-F238E27FC236}">
                <a16:creationId xmlns:a16="http://schemas.microsoft.com/office/drawing/2014/main" id="{ECED2237-CB7F-C2CD-11A3-62DC16CCA5B1}"/>
              </a:ext>
            </a:extLst>
          </p:cNvPr>
          <p:cNvSpPr/>
          <p:nvPr/>
        </p:nvSpPr>
        <p:spPr>
          <a:xfrm>
            <a:off x="442913" y="5596201"/>
            <a:ext cx="11306175" cy="576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576000" rtlCol="0" anchor="ctr"/>
          <a:lstStyle/>
          <a:p>
            <a:r>
              <a:rPr lang="lv-LV" sz="1100" b="1">
                <a:solidFill>
                  <a:schemeClr val="bg1"/>
                </a:solidFill>
                <a:hlinkClick r:id="rId8">
                  <a:extLst>
                    <a:ext uri="{A12FA001-AC4F-418D-AE19-62706E023703}">
                      <ahyp:hlinkClr xmlns:ahyp="http://schemas.microsoft.com/office/drawing/2018/hyperlinkcolor" val="tx"/>
                    </a:ext>
                  </a:extLst>
                </a:hlinkClick>
              </a:rPr>
              <a:t>NMPD instrukcija "Pirmās palīdzības ABC. Rīcība pēc ceļu satiksmes negadījuma"</a:t>
            </a:r>
            <a:endParaRPr lang="lv-LV" sz="1100" b="1">
              <a:solidFill>
                <a:schemeClr val="bg1"/>
              </a:solidFill>
            </a:endParaRPr>
          </a:p>
        </p:txBody>
      </p:sp>
      <p:sp>
        <p:nvSpPr>
          <p:cNvPr id="15" name="Google Shape;2001;p98">
            <a:extLst>
              <a:ext uri="{FF2B5EF4-FFF2-40B4-BE49-F238E27FC236}">
                <a16:creationId xmlns:a16="http://schemas.microsoft.com/office/drawing/2014/main" id="{D9C7FB84-E19B-43A1-0AEE-2A2D83D46DBD}"/>
              </a:ext>
            </a:extLst>
          </p:cNvPr>
          <p:cNvSpPr/>
          <p:nvPr/>
        </p:nvSpPr>
        <p:spPr>
          <a:xfrm>
            <a:off x="565050" y="5704201"/>
            <a:ext cx="360000" cy="360000"/>
          </a:xfrm>
          <a:custGeom>
            <a:avLst/>
            <a:gdLst/>
            <a:ahLst/>
            <a:cxnLst/>
            <a:rect l="l" t="t" r="r" b="b"/>
            <a:pathLst>
              <a:path w="347" h="347" extrusionOk="0">
                <a:moveTo>
                  <a:pt x="0" y="0"/>
                </a:moveTo>
                <a:cubicBezTo>
                  <a:pt x="0" y="347"/>
                  <a:pt x="0" y="347"/>
                  <a:pt x="0" y="347"/>
                </a:cubicBezTo>
                <a:cubicBezTo>
                  <a:pt x="347" y="347"/>
                  <a:pt x="347" y="347"/>
                  <a:pt x="347" y="347"/>
                </a:cubicBezTo>
                <a:cubicBezTo>
                  <a:pt x="347" y="0"/>
                  <a:pt x="347" y="0"/>
                  <a:pt x="347" y="0"/>
                </a:cubicBezTo>
                <a:lnTo>
                  <a:pt x="0" y="0"/>
                </a:lnTo>
                <a:close/>
                <a:moveTo>
                  <a:pt x="332" y="332"/>
                </a:moveTo>
                <a:cubicBezTo>
                  <a:pt x="15" y="332"/>
                  <a:pt x="15" y="332"/>
                  <a:pt x="15" y="332"/>
                </a:cubicBezTo>
                <a:cubicBezTo>
                  <a:pt x="15" y="15"/>
                  <a:pt x="15" y="15"/>
                  <a:pt x="15" y="15"/>
                </a:cubicBezTo>
                <a:cubicBezTo>
                  <a:pt x="332" y="15"/>
                  <a:pt x="332" y="15"/>
                  <a:pt x="332" y="15"/>
                </a:cubicBezTo>
                <a:lnTo>
                  <a:pt x="332" y="332"/>
                </a:lnTo>
                <a:close/>
                <a:moveTo>
                  <a:pt x="173" y="300"/>
                </a:moveTo>
                <a:cubicBezTo>
                  <a:pt x="243" y="300"/>
                  <a:pt x="300" y="243"/>
                  <a:pt x="300" y="173"/>
                </a:cubicBezTo>
                <a:cubicBezTo>
                  <a:pt x="300" y="104"/>
                  <a:pt x="243" y="47"/>
                  <a:pt x="173" y="47"/>
                </a:cubicBezTo>
                <a:cubicBezTo>
                  <a:pt x="104" y="47"/>
                  <a:pt x="47" y="104"/>
                  <a:pt x="47" y="173"/>
                </a:cubicBezTo>
                <a:cubicBezTo>
                  <a:pt x="47" y="243"/>
                  <a:pt x="104" y="300"/>
                  <a:pt x="173" y="300"/>
                </a:cubicBezTo>
                <a:close/>
                <a:moveTo>
                  <a:pt x="84" y="240"/>
                </a:moveTo>
                <a:cubicBezTo>
                  <a:pt x="109" y="240"/>
                  <a:pt x="109" y="240"/>
                  <a:pt x="109" y="240"/>
                </a:cubicBezTo>
                <a:cubicBezTo>
                  <a:pt x="114" y="254"/>
                  <a:pt x="121" y="266"/>
                  <a:pt x="129" y="276"/>
                </a:cubicBezTo>
                <a:cubicBezTo>
                  <a:pt x="111" y="268"/>
                  <a:pt x="96" y="256"/>
                  <a:pt x="84" y="240"/>
                </a:cubicBezTo>
                <a:close/>
                <a:moveTo>
                  <a:pt x="91" y="121"/>
                </a:moveTo>
                <a:cubicBezTo>
                  <a:pt x="92" y="128"/>
                  <a:pt x="96" y="134"/>
                  <a:pt x="101" y="137"/>
                </a:cubicBezTo>
                <a:cubicBezTo>
                  <a:pt x="100" y="147"/>
                  <a:pt x="99" y="156"/>
                  <a:pt x="99" y="166"/>
                </a:cubicBezTo>
                <a:cubicBezTo>
                  <a:pt x="62" y="166"/>
                  <a:pt x="62" y="166"/>
                  <a:pt x="62" y="166"/>
                </a:cubicBezTo>
                <a:cubicBezTo>
                  <a:pt x="63" y="150"/>
                  <a:pt x="67" y="135"/>
                  <a:pt x="75" y="121"/>
                </a:cubicBezTo>
                <a:lnTo>
                  <a:pt x="91" y="121"/>
                </a:lnTo>
                <a:close/>
                <a:moveTo>
                  <a:pt x="285" y="166"/>
                </a:moveTo>
                <a:cubicBezTo>
                  <a:pt x="267" y="166"/>
                  <a:pt x="267" y="166"/>
                  <a:pt x="267" y="166"/>
                </a:cubicBezTo>
                <a:cubicBezTo>
                  <a:pt x="264" y="157"/>
                  <a:pt x="257" y="151"/>
                  <a:pt x="247" y="149"/>
                </a:cubicBezTo>
                <a:cubicBezTo>
                  <a:pt x="246" y="139"/>
                  <a:pt x="244" y="130"/>
                  <a:pt x="242" y="121"/>
                </a:cubicBezTo>
                <a:cubicBezTo>
                  <a:pt x="272" y="121"/>
                  <a:pt x="272" y="121"/>
                  <a:pt x="272" y="121"/>
                </a:cubicBezTo>
                <a:cubicBezTo>
                  <a:pt x="279" y="135"/>
                  <a:pt x="284" y="150"/>
                  <a:pt x="285" y="166"/>
                </a:cubicBezTo>
                <a:close/>
                <a:moveTo>
                  <a:pt x="145" y="121"/>
                </a:moveTo>
                <a:cubicBezTo>
                  <a:pt x="166" y="121"/>
                  <a:pt x="166" y="121"/>
                  <a:pt x="166" y="121"/>
                </a:cubicBezTo>
                <a:cubicBezTo>
                  <a:pt x="166" y="166"/>
                  <a:pt x="166" y="166"/>
                  <a:pt x="166" y="166"/>
                </a:cubicBezTo>
                <a:cubicBezTo>
                  <a:pt x="113" y="166"/>
                  <a:pt x="113" y="166"/>
                  <a:pt x="113" y="166"/>
                </a:cubicBezTo>
                <a:cubicBezTo>
                  <a:pt x="114" y="158"/>
                  <a:pt x="114" y="150"/>
                  <a:pt x="115" y="143"/>
                </a:cubicBezTo>
                <a:cubicBezTo>
                  <a:pt x="116" y="143"/>
                  <a:pt x="117" y="143"/>
                  <a:pt x="118" y="143"/>
                </a:cubicBezTo>
                <a:cubicBezTo>
                  <a:pt x="131" y="143"/>
                  <a:pt x="142" y="134"/>
                  <a:pt x="145" y="121"/>
                </a:cubicBezTo>
                <a:close/>
                <a:moveTo>
                  <a:pt x="166" y="181"/>
                </a:moveTo>
                <a:cubicBezTo>
                  <a:pt x="166" y="205"/>
                  <a:pt x="166" y="205"/>
                  <a:pt x="166" y="205"/>
                </a:cubicBezTo>
                <a:cubicBezTo>
                  <a:pt x="157" y="208"/>
                  <a:pt x="149" y="216"/>
                  <a:pt x="147" y="226"/>
                </a:cubicBezTo>
                <a:cubicBezTo>
                  <a:pt x="120" y="226"/>
                  <a:pt x="120" y="226"/>
                  <a:pt x="120" y="226"/>
                </a:cubicBezTo>
                <a:cubicBezTo>
                  <a:pt x="116" y="212"/>
                  <a:pt x="114" y="197"/>
                  <a:pt x="113" y="181"/>
                </a:cubicBezTo>
                <a:lnTo>
                  <a:pt x="166" y="181"/>
                </a:lnTo>
                <a:close/>
                <a:moveTo>
                  <a:pt x="174" y="244"/>
                </a:moveTo>
                <a:cubicBezTo>
                  <a:pt x="167" y="244"/>
                  <a:pt x="161" y="238"/>
                  <a:pt x="161" y="232"/>
                </a:cubicBezTo>
                <a:cubicBezTo>
                  <a:pt x="161" y="225"/>
                  <a:pt x="167" y="219"/>
                  <a:pt x="174" y="219"/>
                </a:cubicBezTo>
                <a:cubicBezTo>
                  <a:pt x="181" y="219"/>
                  <a:pt x="186" y="225"/>
                  <a:pt x="186" y="232"/>
                </a:cubicBezTo>
                <a:cubicBezTo>
                  <a:pt x="186" y="238"/>
                  <a:pt x="181" y="244"/>
                  <a:pt x="174" y="244"/>
                </a:cubicBezTo>
                <a:close/>
                <a:moveTo>
                  <a:pt x="148" y="240"/>
                </a:moveTo>
                <a:cubicBezTo>
                  <a:pt x="151" y="249"/>
                  <a:pt x="158" y="255"/>
                  <a:pt x="166" y="258"/>
                </a:cubicBezTo>
                <a:cubicBezTo>
                  <a:pt x="166" y="284"/>
                  <a:pt x="166" y="284"/>
                  <a:pt x="166" y="284"/>
                </a:cubicBezTo>
                <a:cubicBezTo>
                  <a:pt x="150" y="280"/>
                  <a:pt x="135" y="264"/>
                  <a:pt x="126" y="240"/>
                </a:cubicBezTo>
                <a:lnTo>
                  <a:pt x="148" y="240"/>
                </a:lnTo>
                <a:close/>
                <a:moveTo>
                  <a:pt x="181" y="284"/>
                </a:moveTo>
                <a:cubicBezTo>
                  <a:pt x="181" y="258"/>
                  <a:pt x="181" y="258"/>
                  <a:pt x="181" y="258"/>
                </a:cubicBezTo>
                <a:cubicBezTo>
                  <a:pt x="190" y="256"/>
                  <a:pt x="197" y="249"/>
                  <a:pt x="200" y="240"/>
                </a:cubicBezTo>
                <a:cubicBezTo>
                  <a:pt x="221" y="240"/>
                  <a:pt x="221" y="240"/>
                  <a:pt x="221" y="240"/>
                </a:cubicBezTo>
                <a:cubicBezTo>
                  <a:pt x="212" y="264"/>
                  <a:pt x="197" y="280"/>
                  <a:pt x="181" y="284"/>
                </a:cubicBezTo>
                <a:close/>
                <a:moveTo>
                  <a:pt x="201" y="226"/>
                </a:moveTo>
                <a:cubicBezTo>
                  <a:pt x="198" y="216"/>
                  <a:pt x="191" y="208"/>
                  <a:pt x="181" y="205"/>
                </a:cubicBezTo>
                <a:cubicBezTo>
                  <a:pt x="181" y="181"/>
                  <a:pt x="181" y="181"/>
                  <a:pt x="181" y="181"/>
                </a:cubicBezTo>
                <a:cubicBezTo>
                  <a:pt x="215" y="181"/>
                  <a:pt x="215" y="181"/>
                  <a:pt x="215" y="181"/>
                </a:cubicBezTo>
                <a:cubicBezTo>
                  <a:pt x="217" y="190"/>
                  <a:pt x="223" y="198"/>
                  <a:pt x="232" y="201"/>
                </a:cubicBezTo>
                <a:cubicBezTo>
                  <a:pt x="231" y="210"/>
                  <a:pt x="229" y="218"/>
                  <a:pt x="227" y="226"/>
                </a:cubicBezTo>
                <a:lnTo>
                  <a:pt x="201" y="226"/>
                </a:lnTo>
                <a:close/>
                <a:moveTo>
                  <a:pt x="242" y="163"/>
                </a:moveTo>
                <a:cubicBezTo>
                  <a:pt x="249" y="163"/>
                  <a:pt x="254" y="169"/>
                  <a:pt x="254" y="176"/>
                </a:cubicBezTo>
                <a:cubicBezTo>
                  <a:pt x="254" y="182"/>
                  <a:pt x="249" y="188"/>
                  <a:pt x="242" y="188"/>
                </a:cubicBezTo>
                <a:cubicBezTo>
                  <a:pt x="235" y="188"/>
                  <a:pt x="229" y="182"/>
                  <a:pt x="229" y="176"/>
                </a:cubicBezTo>
                <a:cubicBezTo>
                  <a:pt x="229" y="169"/>
                  <a:pt x="235" y="163"/>
                  <a:pt x="242" y="163"/>
                </a:cubicBezTo>
                <a:close/>
                <a:moveTo>
                  <a:pt x="247" y="202"/>
                </a:moveTo>
                <a:cubicBezTo>
                  <a:pt x="258" y="201"/>
                  <a:pt x="266" y="192"/>
                  <a:pt x="269" y="181"/>
                </a:cubicBezTo>
                <a:cubicBezTo>
                  <a:pt x="285" y="181"/>
                  <a:pt x="285" y="181"/>
                  <a:pt x="285" y="181"/>
                </a:cubicBezTo>
                <a:cubicBezTo>
                  <a:pt x="284" y="197"/>
                  <a:pt x="279" y="212"/>
                  <a:pt x="272" y="226"/>
                </a:cubicBezTo>
                <a:cubicBezTo>
                  <a:pt x="242" y="226"/>
                  <a:pt x="242" y="226"/>
                  <a:pt x="242" y="226"/>
                </a:cubicBezTo>
                <a:cubicBezTo>
                  <a:pt x="244" y="218"/>
                  <a:pt x="245" y="211"/>
                  <a:pt x="247" y="202"/>
                </a:cubicBezTo>
                <a:close/>
                <a:moveTo>
                  <a:pt x="232" y="150"/>
                </a:moveTo>
                <a:cubicBezTo>
                  <a:pt x="225" y="153"/>
                  <a:pt x="219" y="159"/>
                  <a:pt x="216" y="166"/>
                </a:cubicBezTo>
                <a:cubicBezTo>
                  <a:pt x="181" y="166"/>
                  <a:pt x="181" y="166"/>
                  <a:pt x="181" y="166"/>
                </a:cubicBezTo>
                <a:cubicBezTo>
                  <a:pt x="181" y="121"/>
                  <a:pt x="181" y="121"/>
                  <a:pt x="181" y="121"/>
                </a:cubicBezTo>
                <a:cubicBezTo>
                  <a:pt x="227" y="121"/>
                  <a:pt x="227" y="121"/>
                  <a:pt x="227" y="121"/>
                </a:cubicBezTo>
                <a:cubicBezTo>
                  <a:pt x="229" y="130"/>
                  <a:pt x="231" y="140"/>
                  <a:pt x="232" y="150"/>
                </a:cubicBezTo>
                <a:close/>
                <a:moveTo>
                  <a:pt x="181" y="106"/>
                </a:moveTo>
                <a:cubicBezTo>
                  <a:pt x="181" y="63"/>
                  <a:pt x="181" y="63"/>
                  <a:pt x="181" y="63"/>
                </a:cubicBezTo>
                <a:cubicBezTo>
                  <a:pt x="197" y="66"/>
                  <a:pt x="212" y="83"/>
                  <a:pt x="222" y="106"/>
                </a:cubicBezTo>
                <a:lnTo>
                  <a:pt x="181" y="106"/>
                </a:lnTo>
                <a:close/>
                <a:moveTo>
                  <a:pt x="166" y="63"/>
                </a:moveTo>
                <a:cubicBezTo>
                  <a:pt x="166" y="106"/>
                  <a:pt x="166" y="106"/>
                  <a:pt x="166" y="106"/>
                </a:cubicBezTo>
                <a:cubicBezTo>
                  <a:pt x="144" y="106"/>
                  <a:pt x="144" y="106"/>
                  <a:pt x="144" y="106"/>
                </a:cubicBezTo>
                <a:cubicBezTo>
                  <a:pt x="142" y="101"/>
                  <a:pt x="138" y="96"/>
                  <a:pt x="132" y="92"/>
                </a:cubicBezTo>
                <a:cubicBezTo>
                  <a:pt x="142" y="76"/>
                  <a:pt x="154" y="66"/>
                  <a:pt x="166" y="63"/>
                </a:cubicBezTo>
                <a:close/>
                <a:moveTo>
                  <a:pt x="118" y="103"/>
                </a:moveTo>
                <a:cubicBezTo>
                  <a:pt x="125" y="103"/>
                  <a:pt x="130" y="109"/>
                  <a:pt x="130" y="116"/>
                </a:cubicBezTo>
                <a:cubicBezTo>
                  <a:pt x="130" y="122"/>
                  <a:pt x="125" y="128"/>
                  <a:pt x="118" y="128"/>
                </a:cubicBezTo>
                <a:cubicBezTo>
                  <a:pt x="111" y="128"/>
                  <a:pt x="105" y="122"/>
                  <a:pt x="105" y="116"/>
                </a:cubicBezTo>
                <a:cubicBezTo>
                  <a:pt x="105" y="109"/>
                  <a:pt x="111" y="103"/>
                  <a:pt x="118" y="103"/>
                </a:cubicBezTo>
                <a:close/>
                <a:moveTo>
                  <a:pt x="98" y="181"/>
                </a:moveTo>
                <a:cubicBezTo>
                  <a:pt x="99" y="197"/>
                  <a:pt x="101" y="212"/>
                  <a:pt x="105" y="226"/>
                </a:cubicBezTo>
                <a:cubicBezTo>
                  <a:pt x="75" y="226"/>
                  <a:pt x="75" y="226"/>
                  <a:pt x="75" y="226"/>
                </a:cubicBezTo>
                <a:cubicBezTo>
                  <a:pt x="67" y="212"/>
                  <a:pt x="63" y="197"/>
                  <a:pt x="62" y="181"/>
                </a:cubicBezTo>
                <a:lnTo>
                  <a:pt x="98" y="181"/>
                </a:lnTo>
                <a:close/>
                <a:moveTo>
                  <a:pt x="217" y="276"/>
                </a:moveTo>
                <a:cubicBezTo>
                  <a:pt x="225" y="267"/>
                  <a:pt x="232" y="255"/>
                  <a:pt x="237" y="240"/>
                </a:cubicBezTo>
                <a:cubicBezTo>
                  <a:pt x="263" y="240"/>
                  <a:pt x="263" y="240"/>
                  <a:pt x="263" y="240"/>
                </a:cubicBezTo>
                <a:cubicBezTo>
                  <a:pt x="251" y="256"/>
                  <a:pt x="235" y="268"/>
                  <a:pt x="217" y="276"/>
                </a:cubicBezTo>
                <a:close/>
                <a:moveTo>
                  <a:pt x="263" y="106"/>
                </a:moveTo>
                <a:cubicBezTo>
                  <a:pt x="237" y="106"/>
                  <a:pt x="237" y="106"/>
                  <a:pt x="237" y="106"/>
                </a:cubicBezTo>
                <a:cubicBezTo>
                  <a:pt x="232" y="92"/>
                  <a:pt x="226" y="80"/>
                  <a:pt x="218" y="71"/>
                </a:cubicBezTo>
                <a:cubicBezTo>
                  <a:pt x="236" y="79"/>
                  <a:pt x="251" y="91"/>
                  <a:pt x="263" y="106"/>
                </a:cubicBezTo>
                <a:close/>
                <a:moveTo>
                  <a:pt x="129" y="71"/>
                </a:moveTo>
                <a:cubicBezTo>
                  <a:pt x="125" y="76"/>
                  <a:pt x="121" y="82"/>
                  <a:pt x="118" y="88"/>
                </a:cubicBezTo>
                <a:cubicBezTo>
                  <a:pt x="106" y="88"/>
                  <a:pt x="96" y="96"/>
                  <a:pt x="92" y="106"/>
                </a:cubicBezTo>
                <a:cubicBezTo>
                  <a:pt x="84" y="106"/>
                  <a:pt x="84" y="106"/>
                  <a:pt x="84" y="106"/>
                </a:cubicBezTo>
                <a:cubicBezTo>
                  <a:pt x="96" y="91"/>
                  <a:pt x="111" y="79"/>
                  <a:pt x="129" y="71"/>
                </a:cubicBez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1" name="Content Placeholder 1">
            <a:extLst>
              <a:ext uri="{FF2B5EF4-FFF2-40B4-BE49-F238E27FC236}">
                <a16:creationId xmlns:a16="http://schemas.microsoft.com/office/drawing/2014/main" id="{A7220F4B-E27D-B63B-44C5-19883EAD61EF}"/>
              </a:ext>
            </a:extLst>
          </p:cNvPr>
          <p:cNvSpPr txBox="1">
            <a:spLocks/>
          </p:cNvSpPr>
          <p:nvPr/>
        </p:nvSpPr>
        <p:spPr>
          <a:xfrm>
            <a:off x="11677086" y="5596201"/>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22" name="Rectangle 21">
            <a:extLst>
              <a:ext uri="{FF2B5EF4-FFF2-40B4-BE49-F238E27FC236}">
                <a16:creationId xmlns:a16="http://schemas.microsoft.com/office/drawing/2014/main" id="{DA3782D5-EFBB-96B7-5592-6EB524123095}"/>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18" name="Group 17">
            <a:extLst>
              <a:ext uri="{FF2B5EF4-FFF2-40B4-BE49-F238E27FC236}">
                <a16:creationId xmlns:a16="http://schemas.microsoft.com/office/drawing/2014/main" id="{59C0A1B7-030B-0D38-3248-60CDB0F521AA}"/>
              </a:ext>
            </a:extLst>
          </p:cNvPr>
          <p:cNvGrpSpPr/>
          <p:nvPr/>
        </p:nvGrpSpPr>
        <p:grpSpPr>
          <a:xfrm>
            <a:off x="9842140" y="372216"/>
            <a:ext cx="1667215" cy="217488"/>
            <a:chOff x="9842140" y="372216"/>
            <a:chExt cx="1667215" cy="217488"/>
          </a:xfrm>
        </p:grpSpPr>
        <p:sp>
          <p:nvSpPr>
            <p:cNvPr id="20" name="TextBox 19">
              <a:extLst>
                <a:ext uri="{FF2B5EF4-FFF2-40B4-BE49-F238E27FC236}">
                  <a16:creationId xmlns:a16="http://schemas.microsoft.com/office/drawing/2014/main" id="{A8752193-2A58-13EA-3103-0E80B371FBA1}"/>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a:lnSpc>
                  <a:spcPct val="100000"/>
                </a:lnSpc>
                <a:spcAft>
                  <a:spcPts val="600"/>
                </a:spcAft>
                <a:buSzPct val="100000"/>
              </a:pPr>
              <a:r>
                <a:rPr lang="lv-LV" sz="800">
                  <a:solidFill>
                    <a:schemeClr val="bg1"/>
                  </a:solidFill>
                </a:rPr>
                <a:t>Ceļu satiksmes negadījums</a:t>
              </a:r>
            </a:p>
          </p:txBody>
        </p:sp>
        <p:sp>
          <p:nvSpPr>
            <p:cNvPr id="25" name="Freeform 49">
              <a:extLst>
                <a:ext uri="{FF2B5EF4-FFF2-40B4-BE49-F238E27FC236}">
                  <a16:creationId xmlns:a16="http://schemas.microsoft.com/office/drawing/2014/main" id="{D810FC61-59CA-09C2-0F28-39C5292CDDE7}"/>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32" name="Group 31">
            <a:extLst>
              <a:ext uri="{FF2B5EF4-FFF2-40B4-BE49-F238E27FC236}">
                <a16:creationId xmlns:a16="http://schemas.microsoft.com/office/drawing/2014/main" id="{5CEEE1A4-B3FB-19B1-C038-46B9F27EEE2A}"/>
              </a:ext>
            </a:extLst>
          </p:cNvPr>
          <p:cNvGrpSpPr/>
          <p:nvPr/>
        </p:nvGrpSpPr>
        <p:grpSpPr>
          <a:xfrm>
            <a:off x="9122935" y="126781"/>
            <a:ext cx="2626153" cy="217488"/>
            <a:chOff x="9122935" y="126781"/>
            <a:chExt cx="2626153" cy="217488"/>
          </a:xfrm>
        </p:grpSpPr>
        <p:sp>
          <p:nvSpPr>
            <p:cNvPr id="33" name="Rectangle 32">
              <a:extLst>
                <a:ext uri="{FF2B5EF4-FFF2-40B4-BE49-F238E27FC236}">
                  <a16:creationId xmlns:a16="http://schemas.microsoft.com/office/drawing/2014/main" id="{7BBEC147-4DF4-33C4-F9C1-E1E417A030A4}"/>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34" name="Rectangle 33">
              <a:extLst>
                <a:ext uri="{FF2B5EF4-FFF2-40B4-BE49-F238E27FC236}">
                  <a16:creationId xmlns:a16="http://schemas.microsoft.com/office/drawing/2014/main" id="{C78E635E-4CE3-9395-B885-E5E96A46A453}"/>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5" name="Rectangle 34">
              <a:extLst>
                <a:ext uri="{FF2B5EF4-FFF2-40B4-BE49-F238E27FC236}">
                  <a16:creationId xmlns:a16="http://schemas.microsoft.com/office/drawing/2014/main" id="{968B6462-0D67-ADF1-C732-BD99D128107A}"/>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6" name="Rectangle 35">
              <a:extLst>
                <a:ext uri="{FF2B5EF4-FFF2-40B4-BE49-F238E27FC236}">
                  <a16:creationId xmlns:a16="http://schemas.microsoft.com/office/drawing/2014/main" id="{AFA961AC-15B7-59DD-7CD4-142871A3F869}"/>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7" name="Rectangle 36">
              <a:extLst>
                <a:ext uri="{FF2B5EF4-FFF2-40B4-BE49-F238E27FC236}">
                  <a16:creationId xmlns:a16="http://schemas.microsoft.com/office/drawing/2014/main" id="{AE18859D-8D20-C532-A736-54CF56392030}"/>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38" name="Rectangle 37">
              <a:extLst>
                <a:ext uri="{FF2B5EF4-FFF2-40B4-BE49-F238E27FC236}">
                  <a16:creationId xmlns:a16="http://schemas.microsoft.com/office/drawing/2014/main" id="{3E53F455-7571-FEE3-E491-7339CC00AF4A}"/>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19393324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2A03EDD-F030-291B-BE81-BF9DE321CA50}"/>
              </a:ext>
            </a:extLst>
          </p:cNvPr>
          <p:cNvGraphicFramePr>
            <a:graphicFrameLocks noChangeAspect="1"/>
          </p:cNvGraphicFramePr>
          <p:nvPr>
            <p:custDataLst>
              <p:tags r:id="rId1"/>
            </p:custDataLst>
            <p:extLst>
              <p:ext uri="{D42A27DB-BD31-4B8C-83A1-F6EECF244321}">
                <p14:modId xmlns:p14="http://schemas.microsoft.com/office/powerpoint/2010/main" val="2799823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think-cell data - do not delete" hidden="1">
                        <a:extLst>
                          <a:ext uri="{FF2B5EF4-FFF2-40B4-BE49-F238E27FC236}">
                            <a16:creationId xmlns:a16="http://schemas.microsoft.com/office/drawing/2014/main" id="{32A03EDD-F030-291B-BE81-BF9DE321CA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 name="Picture 29">
            <a:extLst>
              <a:ext uri="{FF2B5EF4-FFF2-40B4-BE49-F238E27FC236}">
                <a16:creationId xmlns:a16="http://schemas.microsoft.com/office/drawing/2014/main" id="{931173D5-E091-CD5E-A470-8DC442583BC8}"/>
              </a:ext>
            </a:extLst>
          </p:cNvPr>
          <p:cNvPicPr>
            <a:picLocks noChangeAspect="1"/>
          </p:cNvPicPr>
          <p:nvPr/>
        </p:nvPicPr>
        <p:blipFill rotWithShape="1">
          <a:blip r:embed="rId6"/>
          <a:srcRect l="22926" r="32630"/>
          <a:stretch/>
        </p:blipFill>
        <p:spPr>
          <a:xfrm>
            <a:off x="7619998" y="0"/>
            <a:ext cx="4572002" cy="6858000"/>
          </a:xfrm>
          <a:prstGeom prst="rect">
            <a:avLst/>
          </a:prstGeom>
        </p:spPr>
      </p:pic>
      <p:sp>
        <p:nvSpPr>
          <p:cNvPr id="14" name="Rectangle 13">
            <a:extLst>
              <a:ext uri="{FF2B5EF4-FFF2-40B4-BE49-F238E27FC236}">
                <a16:creationId xmlns:a16="http://schemas.microsoft.com/office/drawing/2014/main" id="{A8A8DD37-9B73-46FB-C75B-2CEFA6483C22}"/>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6" name="Rectangle 15">
            <a:extLst>
              <a:ext uri="{FF2B5EF4-FFF2-40B4-BE49-F238E27FC236}">
                <a16:creationId xmlns:a16="http://schemas.microsoft.com/office/drawing/2014/main" id="{25A25F16-3DF9-5BEF-8F70-42FAB50A6BCE}"/>
              </a:ext>
            </a:extLst>
          </p:cNvPr>
          <p:cNvSpPr/>
          <p:nvPr/>
        </p:nvSpPr>
        <p:spPr>
          <a:xfrm>
            <a:off x="7619998" y="2398554"/>
            <a:ext cx="4129089" cy="5574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a:spcAft>
                <a:spcPts val="600"/>
              </a:spcAft>
              <a:buBlip>
                <a:blip r:embed="rId7"/>
              </a:buBlip>
            </a:pPr>
            <a:r>
              <a:rPr lang="lv-LV" sz="1400">
                <a:solidFill>
                  <a:schemeClr val="tx1"/>
                </a:solidFill>
              </a:rPr>
              <a:t>Palīdziet noņemt ķiveri, ja cietušais to grib.</a:t>
            </a: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7177085" cy="1387274"/>
          </a:xfrm>
        </p:spPr>
        <p:txBody>
          <a:bodyPr vert="horz"/>
          <a:lstStyle/>
          <a:p>
            <a:r>
              <a:rPr lang="lv-LV"/>
              <a:t>Kā palīdzēt cietušajam ceļu </a:t>
            </a:r>
            <a:br>
              <a:rPr lang="en-US"/>
            </a:br>
            <a:r>
              <a:rPr lang="lv-LV"/>
              <a:t>motocikla avārij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solidFill>
                  <a:schemeClr val="bg1"/>
                </a:solidFill>
              </a:rPr>
              <a:pPr/>
              <a:t>35</a:t>
            </a:fld>
            <a:endParaRPr lang="en-GB">
              <a:solidFill>
                <a:schemeClr val="bg1"/>
              </a:solidFill>
            </a:endParaRPr>
          </a:p>
        </p:txBody>
      </p:sp>
      <p:sp>
        <p:nvSpPr>
          <p:cNvPr id="11" name="TextBox 10">
            <a:extLst>
              <a:ext uri="{FF2B5EF4-FFF2-40B4-BE49-F238E27FC236}">
                <a16:creationId xmlns:a16="http://schemas.microsoft.com/office/drawing/2014/main" id="{ECEF24F5-E26D-2531-E4A1-337E326AC9CB}"/>
              </a:ext>
            </a:extLst>
          </p:cNvPr>
          <p:cNvSpPr txBox="1"/>
          <p:nvPr/>
        </p:nvSpPr>
        <p:spPr>
          <a:xfrm>
            <a:off x="442913" y="2398574"/>
            <a:ext cx="6734171" cy="3773364"/>
          </a:xfrm>
          <a:prstGeom prst="rect">
            <a:avLst/>
          </a:prstGeom>
          <a:solidFill>
            <a:schemeClr val="bg1">
              <a:lumMod val="95000"/>
            </a:schemeClr>
          </a:solidFill>
        </p:spPr>
        <p:txBody>
          <a:bodyPr wrap="square" lIns="72000" tIns="72000" rIns="72000" bIns="72000" anchor="t">
            <a:noAutofit/>
          </a:bodyPr>
          <a:lstStyle/>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Ja nepieciešams, izsauciet Neatliekamo palīdzību.</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Aizsargķiveri noņemiet ļoti uzmanīgi, saudzējot cietušā kaklu, ja:</a:t>
            </a:r>
          </a:p>
          <a:p>
            <a:pPr marL="468000" lvl="2" indent="-180000" hangingPunct="0">
              <a:spcAft>
                <a:spcPts val="600"/>
              </a:spcAft>
              <a:buFont typeface="Arial" panose="020B0604020202020204" pitchFamily="34" charset="0"/>
              <a:buChar char="•"/>
              <a:tabLst>
                <a:tab pos="457200" algn="l"/>
                <a:tab pos="1586230" algn="l"/>
              </a:tabLst>
            </a:pPr>
            <a:r>
              <a:rPr lang="lv-LV" sz="1400">
                <a:effectLst/>
                <a:ea typeface="Times New Roman" panose="02020603050405020304" pitchFamily="18" charset="0"/>
              </a:rPr>
              <a:t>ir bezsamaņa;</a:t>
            </a:r>
          </a:p>
          <a:p>
            <a:pPr marL="468000" lvl="2" indent="-180000" hangingPunct="0">
              <a:spcAft>
                <a:spcPts val="600"/>
              </a:spcAft>
              <a:buFont typeface="Arial" panose="020B0604020202020204" pitchFamily="34" charset="0"/>
              <a:buChar char="•"/>
              <a:tabLst>
                <a:tab pos="457200" algn="l"/>
                <a:tab pos="1586230" algn="l"/>
              </a:tabLst>
            </a:pPr>
            <a:r>
              <a:rPr lang="lv-LV" sz="1400">
                <a:effectLst/>
                <a:ea typeface="Times New Roman" panose="02020603050405020304" pitchFamily="18" charset="0"/>
              </a:rPr>
              <a:t>ir asiņošana no ķiveres apakšas.</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Citos gadījumos aizsargķiveri atstājiet galvā.</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Nekustiniet, nepārvietojiet cietušo pats!</a:t>
            </a:r>
            <a:r>
              <a:rPr lang="lv-LV" sz="1400">
                <a:ea typeface="Times New Roman" panose="02020603050405020304" pitchFamily="18" charset="0"/>
              </a:rPr>
              <a:t> N</a:t>
            </a:r>
            <a:r>
              <a:rPr lang="lv-LV" sz="1400">
                <a:effectLst/>
                <a:ea typeface="Times New Roman" panose="02020603050405020304" pitchFamily="18" charset="0"/>
              </a:rPr>
              <a:t>eļaujiet cietušo kustināt citiem!</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Sniedziet nepieciešamo palīdzību.</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Aprūpējiet, nomieriniet cietušo.</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Veiciet atdzīvināšanas pasākumus, ja nepieciešams.</a:t>
            </a:r>
          </a:p>
        </p:txBody>
      </p:sp>
      <p:sp>
        <p:nvSpPr>
          <p:cNvPr id="5" name="Rectangle 4">
            <a:extLst>
              <a:ext uri="{FF2B5EF4-FFF2-40B4-BE49-F238E27FC236}">
                <a16:creationId xmlns:a16="http://schemas.microsoft.com/office/drawing/2014/main" id="{371FCDBA-9B9E-5D7C-1A41-4BD6B8898FF7}"/>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6" name="Rectangle 5">
            <a:extLst>
              <a:ext uri="{FF2B5EF4-FFF2-40B4-BE49-F238E27FC236}">
                <a16:creationId xmlns:a16="http://schemas.microsoft.com/office/drawing/2014/main" id="{28FF6910-3D7D-2213-DCB1-B257AC1B7F0F}"/>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7" name="Content Placeholder 1">
            <a:extLst>
              <a:ext uri="{FF2B5EF4-FFF2-40B4-BE49-F238E27FC236}">
                <a16:creationId xmlns:a16="http://schemas.microsoft.com/office/drawing/2014/main" id="{F3879881-8630-2FDA-7C55-AF987ACAD725}"/>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9" name="Content Placeholder 1">
            <a:extLst>
              <a:ext uri="{FF2B5EF4-FFF2-40B4-BE49-F238E27FC236}">
                <a16:creationId xmlns:a16="http://schemas.microsoft.com/office/drawing/2014/main" id="{9409E1E2-8EA7-CC92-53FC-A8C9135E24B2}"/>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0" name="Content Placeholder 1">
            <a:extLst>
              <a:ext uri="{FF2B5EF4-FFF2-40B4-BE49-F238E27FC236}">
                <a16:creationId xmlns:a16="http://schemas.microsoft.com/office/drawing/2014/main" id="{89A4AC3B-C5BA-A4BE-AD67-5F7613F6FD1F}"/>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2" name="Content Placeholder 1">
            <a:extLst>
              <a:ext uri="{FF2B5EF4-FFF2-40B4-BE49-F238E27FC236}">
                <a16:creationId xmlns:a16="http://schemas.microsoft.com/office/drawing/2014/main" id="{9D2EC366-A88E-EB2D-A324-9B14F3953256}"/>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7" name="Google Shape;760;p79">
            <a:extLst>
              <a:ext uri="{FF2B5EF4-FFF2-40B4-BE49-F238E27FC236}">
                <a16:creationId xmlns:a16="http://schemas.microsoft.com/office/drawing/2014/main" id="{A924FF13-D704-21CA-9AB6-582C4BE0FAA4}"/>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4" name="Google Shape;794;p79">
            <a:extLst>
              <a:ext uri="{FF2B5EF4-FFF2-40B4-BE49-F238E27FC236}">
                <a16:creationId xmlns:a16="http://schemas.microsoft.com/office/drawing/2014/main" id="{562D4C91-BEE7-2D97-FADC-D6600BEB8A22}"/>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 name="Rectangle 1">
            <a:extLst>
              <a:ext uri="{FF2B5EF4-FFF2-40B4-BE49-F238E27FC236}">
                <a16:creationId xmlns:a16="http://schemas.microsoft.com/office/drawing/2014/main" id="{522041E8-8E88-02C5-E03A-E769C521DA8E}"/>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25" name="Group 24">
            <a:extLst>
              <a:ext uri="{FF2B5EF4-FFF2-40B4-BE49-F238E27FC236}">
                <a16:creationId xmlns:a16="http://schemas.microsoft.com/office/drawing/2014/main" id="{1109D70E-6C4A-B808-2E0F-25DA50FFAC3B}"/>
              </a:ext>
            </a:extLst>
          </p:cNvPr>
          <p:cNvGrpSpPr/>
          <p:nvPr/>
        </p:nvGrpSpPr>
        <p:grpSpPr>
          <a:xfrm>
            <a:off x="9842140" y="372216"/>
            <a:ext cx="1667215" cy="217488"/>
            <a:chOff x="9842140" y="372216"/>
            <a:chExt cx="1667215" cy="217488"/>
          </a:xfrm>
        </p:grpSpPr>
        <p:sp>
          <p:nvSpPr>
            <p:cNvPr id="26" name="TextBox 25">
              <a:extLst>
                <a:ext uri="{FF2B5EF4-FFF2-40B4-BE49-F238E27FC236}">
                  <a16:creationId xmlns:a16="http://schemas.microsoft.com/office/drawing/2014/main" id="{EBEA41E2-D524-614A-1D5A-D4E30027DBEB}"/>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a:lnSpc>
                  <a:spcPct val="100000"/>
                </a:lnSpc>
                <a:spcAft>
                  <a:spcPts val="600"/>
                </a:spcAft>
                <a:buSzPct val="100000"/>
              </a:pPr>
              <a:r>
                <a:rPr lang="lv-LV" sz="800">
                  <a:solidFill>
                    <a:schemeClr val="bg1"/>
                  </a:solidFill>
                </a:rPr>
                <a:t>Ceļu satiksmes negadījums</a:t>
              </a:r>
            </a:p>
          </p:txBody>
        </p:sp>
        <p:sp>
          <p:nvSpPr>
            <p:cNvPr id="27" name="Freeform 49">
              <a:extLst>
                <a:ext uri="{FF2B5EF4-FFF2-40B4-BE49-F238E27FC236}">
                  <a16:creationId xmlns:a16="http://schemas.microsoft.com/office/drawing/2014/main" id="{B4EED10B-54A1-7B9A-DA53-46AB40847E3D}"/>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23" name="Group 22">
            <a:extLst>
              <a:ext uri="{FF2B5EF4-FFF2-40B4-BE49-F238E27FC236}">
                <a16:creationId xmlns:a16="http://schemas.microsoft.com/office/drawing/2014/main" id="{AD3C0535-B947-8E79-1764-D021F94A1A9C}"/>
              </a:ext>
            </a:extLst>
          </p:cNvPr>
          <p:cNvGrpSpPr/>
          <p:nvPr/>
        </p:nvGrpSpPr>
        <p:grpSpPr>
          <a:xfrm>
            <a:off x="9122935" y="126781"/>
            <a:ext cx="2626153" cy="217488"/>
            <a:chOff x="9122935" y="126781"/>
            <a:chExt cx="2626153" cy="217488"/>
          </a:xfrm>
        </p:grpSpPr>
        <p:sp>
          <p:nvSpPr>
            <p:cNvPr id="28" name="Rectangle 27">
              <a:extLst>
                <a:ext uri="{FF2B5EF4-FFF2-40B4-BE49-F238E27FC236}">
                  <a16:creationId xmlns:a16="http://schemas.microsoft.com/office/drawing/2014/main" id="{A7B01F1A-0326-65F2-59DB-B4309093BE5A}"/>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29" name="Rectangle 28">
              <a:extLst>
                <a:ext uri="{FF2B5EF4-FFF2-40B4-BE49-F238E27FC236}">
                  <a16:creationId xmlns:a16="http://schemas.microsoft.com/office/drawing/2014/main" id="{296DEB4A-97C4-EE64-2881-C1351345C39F}"/>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68AE335D-1A02-CD5E-014E-5570F70C1042}"/>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2" name="Rectangle 31">
              <a:extLst>
                <a:ext uri="{FF2B5EF4-FFF2-40B4-BE49-F238E27FC236}">
                  <a16:creationId xmlns:a16="http://schemas.microsoft.com/office/drawing/2014/main" id="{54CE0D09-1CA8-F51C-D546-222203127FAB}"/>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353C3FDD-0CBC-9A91-7A7A-CAE44863E4D1}"/>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34" name="Rectangle 33">
              <a:extLst>
                <a:ext uri="{FF2B5EF4-FFF2-40B4-BE49-F238E27FC236}">
                  <a16:creationId xmlns:a16="http://schemas.microsoft.com/office/drawing/2014/main" id="{4C1300F5-CF3F-75DE-D6D0-D95F924D364A}"/>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29769854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9E6BB6A-4571-FBF8-9A7D-06ADE4374D4D}"/>
              </a:ext>
            </a:extLst>
          </p:cNvPr>
          <p:cNvGraphicFramePr>
            <a:graphicFrameLocks noChangeAspect="1"/>
          </p:cNvGraphicFramePr>
          <p:nvPr>
            <p:custDataLst>
              <p:tags r:id="rId1"/>
            </p:custDataLst>
            <p:extLst>
              <p:ext uri="{D42A27DB-BD31-4B8C-83A1-F6EECF244321}">
                <p14:modId xmlns:p14="http://schemas.microsoft.com/office/powerpoint/2010/main" val="2020590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D9E6BB6A-4571-FBF8-9A7D-06ADE4374D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BA4BF49-55EE-0385-3948-BE4386A9E008}"/>
              </a:ext>
            </a:extLst>
          </p:cNvPr>
          <p:cNvSpPr/>
          <p:nvPr/>
        </p:nvSpPr>
        <p:spPr>
          <a:xfrm>
            <a:off x="2651760" y="4513587"/>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6" name="Rectangle 5">
            <a:extLst>
              <a:ext uri="{FF2B5EF4-FFF2-40B4-BE49-F238E27FC236}">
                <a16:creationId xmlns:a16="http://schemas.microsoft.com/office/drawing/2014/main" id="{0C108BD1-931B-C37F-E823-CFBF6495B4F9}"/>
              </a:ext>
            </a:extLst>
          </p:cNvPr>
          <p:cNvSpPr/>
          <p:nvPr/>
        </p:nvSpPr>
        <p:spPr>
          <a:xfrm>
            <a:off x="2651760" y="2630366"/>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7" name="Rectangle 6">
            <a:extLst>
              <a:ext uri="{FF2B5EF4-FFF2-40B4-BE49-F238E27FC236}">
                <a16:creationId xmlns:a16="http://schemas.microsoft.com/office/drawing/2014/main" id="{9CF7A655-E6E9-63EB-75DB-94EADD3D2A7D}"/>
              </a:ext>
            </a:extLst>
          </p:cNvPr>
          <p:cNvSpPr/>
          <p:nvPr/>
        </p:nvSpPr>
        <p:spPr>
          <a:xfrm>
            <a:off x="284753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8" name="Rectangle 7">
            <a:extLst>
              <a:ext uri="{FF2B5EF4-FFF2-40B4-BE49-F238E27FC236}">
                <a16:creationId xmlns:a16="http://schemas.microsoft.com/office/drawing/2014/main" id="{54F458ED-0455-E9E1-8DAA-F6F304736367}"/>
              </a:ext>
            </a:extLst>
          </p:cNvPr>
          <p:cNvSpPr/>
          <p:nvPr/>
        </p:nvSpPr>
        <p:spPr>
          <a:xfrm>
            <a:off x="739616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10" name="Rectangle 9">
            <a:extLst>
              <a:ext uri="{FF2B5EF4-FFF2-40B4-BE49-F238E27FC236}">
                <a16:creationId xmlns:a16="http://schemas.microsoft.com/office/drawing/2014/main" id="{CEB1DE58-1273-6427-78D0-0FFAE6FC3C3A}"/>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11" name="Content Placeholder 1">
            <a:extLst>
              <a:ext uri="{FF2B5EF4-FFF2-40B4-BE49-F238E27FC236}">
                <a16:creationId xmlns:a16="http://schemas.microsoft.com/office/drawing/2014/main" id="{1736B751-27DD-8526-9C16-4CB53A668A21}"/>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2" name="Content Placeholder 1">
            <a:extLst>
              <a:ext uri="{FF2B5EF4-FFF2-40B4-BE49-F238E27FC236}">
                <a16:creationId xmlns:a16="http://schemas.microsoft.com/office/drawing/2014/main" id="{6657A6A7-AA52-6ECB-537C-148049F71322}"/>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3" name="Google Shape;794;p79">
            <a:extLst>
              <a:ext uri="{FF2B5EF4-FFF2-40B4-BE49-F238E27FC236}">
                <a16:creationId xmlns:a16="http://schemas.microsoft.com/office/drawing/2014/main" id="{E8ECD8CD-346E-E8A1-05C6-5A3EDEFEE438}"/>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4" name="Rectangle 13">
            <a:extLst>
              <a:ext uri="{FF2B5EF4-FFF2-40B4-BE49-F238E27FC236}">
                <a16:creationId xmlns:a16="http://schemas.microsoft.com/office/drawing/2014/main" id="{67968481-ED46-EB04-41C6-22754AB5F1B4}"/>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15" name="Content Placeholder 1">
            <a:extLst>
              <a:ext uri="{FF2B5EF4-FFF2-40B4-BE49-F238E27FC236}">
                <a16:creationId xmlns:a16="http://schemas.microsoft.com/office/drawing/2014/main" id="{B4D5CBC7-C789-0D39-2A29-F5471373EBF8}"/>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7" name="Content Placeholder 1">
            <a:extLst>
              <a:ext uri="{FF2B5EF4-FFF2-40B4-BE49-F238E27FC236}">
                <a16:creationId xmlns:a16="http://schemas.microsoft.com/office/drawing/2014/main" id="{0E97A79C-D46F-89A9-5909-77B07A15BB5F}"/>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9" name="Google Shape;760;p79">
            <a:extLst>
              <a:ext uri="{FF2B5EF4-FFF2-40B4-BE49-F238E27FC236}">
                <a16:creationId xmlns:a16="http://schemas.microsoft.com/office/drawing/2014/main" id="{025AFCB6-1E4F-767E-BB59-D69827B5EA75}"/>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6" name="Rectangle 35">
            <a:extLst>
              <a:ext uri="{FF2B5EF4-FFF2-40B4-BE49-F238E27FC236}">
                <a16:creationId xmlns:a16="http://schemas.microsoft.com/office/drawing/2014/main" id="{A8F39C25-781C-A7DA-387A-D92FCABEE1F5}"/>
              </a:ext>
            </a:extLst>
          </p:cNvPr>
          <p:cNvSpPr/>
          <p:nvPr/>
        </p:nvSpPr>
        <p:spPr>
          <a:xfrm>
            <a:off x="442912" y="2630366"/>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Dzīvnieka kosta brūce</a:t>
            </a:r>
          </a:p>
        </p:txBody>
      </p:sp>
      <p:sp>
        <p:nvSpPr>
          <p:cNvPr id="37" name="Rectangle 36">
            <a:extLst>
              <a:ext uri="{FF2B5EF4-FFF2-40B4-BE49-F238E27FC236}">
                <a16:creationId xmlns:a16="http://schemas.microsoft.com/office/drawing/2014/main" id="{BD11DB78-D65B-9D3C-EED7-1721F1C9BCF6}"/>
              </a:ext>
            </a:extLst>
          </p:cNvPr>
          <p:cNvSpPr/>
          <p:nvPr/>
        </p:nvSpPr>
        <p:spPr>
          <a:xfrm>
            <a:off x="442912" y="4513587"/>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Čūskas kodums</a:t>
            </a:r>
          </a:p>
        </p:txBody>
      </p:sp>
      <p:sp>
        <p:nvSpPr>
          <p:cNvPr id="38" name="Content Placeholder 1">
            <a:extLst>
              <a:ext uri="{FF2B5EF4-FFF2-40B4-BE49-F238E27FC236}">
                <a16:creationId xmlns:a16="http://schemas.microsoft.com/office/drawing/2014/main" id="{7B1F3CCD-2DE1-C2A8-D340-EAF5B3993679}"/>
              </a:ext>
            </a:extLst>
          </p:cNvPr>
          <p:cNvSpPr txBox="1">
            <a:spLocks/>
          </p:cNvSpPr>
          <p:nvPr/>
        </p:nvSpPr>
        <p:spPr>
          <a:xfrm>
            <a:off x="2579759" y="2630366"/>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9" name="Content Placeholder 1">
            <a:extLst>
              <a:ext uri="{FF2B5EF4-FFF2-40B4-BE49-F238E27FC236}">
                <a16:creationId xmlns:a16="http://schemas.microsoft.com/office/drawing/2014/main" id="{DCB78F50-A328-CF00-9A1A-F2F677D9CB38}"/>
              </a:ext>
            </a:extLst>
          </p:cNvPr>
          <p:cNvSpPr txBox="1">
            <a:spLocks/>
          </p:cNvSpPr>
          <p:nvPr/>
        </p:nvSpPr>
        <p:spPr>
          <a:xfrm>
            <a:off x="2579759" y="4513587"/>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a:lstStyle/>
          <a:p>
            <a:r>
              <a:rPr lang="lv-LV"/>
              <a:t>Kā rīkoties dzīvnieku izraisītā </a:t>
            </a:r>
            <a:br>
              <a:rPr lang="en-US"/>
            </a:br>
            <a:r>
              <a:rPr lang="lv-LV"/>
              <a:t>nelaimes gadījum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36</a:t>
            </a:fld>
            <a:endParaRPr lang="en-GB"/>
          </a:p>
        </p:txBody>
      </p:sp>
      <p:sp>
        <p:nvSpPr>
          <p:cNvPr id="16" name="TextBox 15">
            <a:extLst>
              <a:ext uri="{FF2B5EF4-FFF2-40B4-BE49-F238E27FC236}">
                <a16:creationId xmlns:a16="http://schemas.microsoft.com/office/drawing/2014/main" id="{30819613-CE74-49B6-0807-44FDBB81D466}"/>
              </a:ext>
            </a:extLst>
          </p:cNvPr>
          <p:cNvSpPr txBox="1"/>
          <p:nvPr/>
        </p:nvSpPr>
        <p:spPr>
          <a:xfrm>
            <a:off x="2847530" y="2630366"/>
            <a:ext cx="4352925" cy="1658938"/>
          </a:xfrm>
          <a:prstGeom prst="rect">
            <a:avLst/>
          </a:prstGeom>
          <a:noFill/>
        </p:spPr>
        <p:txBody>
          <a:bodyPr wrap="square" lIns="72000" rIns="0" anchor="ctr">
            <a:noAutofit/>
          </a:bodyPr>
          <a:lstStyle/>
          <a:p>
            <a:pPr marL="284400" lvl="0" indent="-284400" hangingPunct="0">
              <a:buSzPts val="1200"/>
              <a:buBlip>
                <a:blip r:embed="rId6"/>
              </a:buBlip>
            </a:pPr>
            <a:r>
              <a:rPr lang="lv-LV" sz="1400">
                <a:effectLst/>
                <a:ea typeface="Calibri" panose="020F0502020204030204" pitchFamily="34" charset="0"/>
                <a:cs typeface="Times New Roman" panose="02020603050405020304" pitchFamily="18" charset="0"/>
              </a:rPr>
              <a:t>Ja brūce stipri asiņo, to mazgā ar ziepēm un ūdeni.</a:t>
            </a:r>
          </a:p>
          <a:p>
            <a:pPr marL="284400" lvl="0" indent="-284400" hangingPunct="0">
              <a:buSzPts val="1200"/>
              <a:buBlip>
                <a:blip r:embed="rId6"/>
              </a:buBlip>
            </a:pPr>
            <a:r>
              <a:rPr lang="lv-LV" sz="1400">
                <a:effectLst/>
                <a:ea typeface="Calibri" panose="020F0502020204030204" pitchFamily="34" charset="0"/>
                <a:cs typeface="Times New Roman" panose="02020603050405020304" pitchFamily="18" charset="0"/>
              </a:rPr>
              <a:t>Pārsieniet brūci.</a:t>
            </a:r>
          </a:p>
          <a:p>
            <a:pPr marL="284400" lvl="0" indent="-284400" hangingPunct="0">
              <a:buSzPts val="1200"/>
              <a:buBlip>
                <a:blip r:embed="rId6"/>
              </a:buBlip>
            </a:pPr>
            <a:r>
              <a:rPr lang="lv-LV" sz="1400">
                <a:ea typeface="Calibri" panose="020F0502020204030204" pitchFamily="34" charset="0"/>
                <a:cs typeface="Times New Roman" panose="02020603050405020304" pitchFamily="18" charset="0"/>
              </a:rPr>
              <a:t>Izsauciet Neatliekamo palīdzību.</a:t>
            </a:r>
            <a:endParaRPr lang="lv-LV" sz="1400">
              <a:effectLst/>
              <a:ea typeface="Calibri" panose="020F0502020204030204" pitchFamily="34" charset="0"/>
              <a:cs typeface="Times New Roman" panose="02020603050405020304" pitchFamily="18" charset="0"/>
            </a:endParaRPr>
          </a:p>
          <a:p>
            <a:pPr marL="0" lvl="1" hangingPunct="0">
              <a:tabLst>
                <a:tab pos="457200" algn="l"/>
                <a:tab pos="1586230" algn="l"/>
              </a:tabLst>
            </a:pPr>
            <a:endParaRPr lang="lv-LV" sz="1400">
              <a:ea typeface="Times New Roman" panose="02020603050405020304" pitchFamily="18" charset="0"/>
            </a:endParaRPr>
          </a:p>
          <a:p>
            <a:pPr marL="0" lvl="1" hangingPunct="0">
              <a:tabLst>
                <a:tab pos="457200" algn="l"/>
                <a:tab pos="1586230" algn="l"/>
              </a:tabLst>
            </a:pPr>
            <a:r>
              <a:rPr lang="en-US" sz="1600" b="1">
                <a:solidFill>
                  <a:schemeClr val="accent2"/>
                </a:solidFill>
                <a:effectLst/>
                <a:ea typeface="Times New Roman" panose="02020603050405020304" pitchFamily="18" charset="0"/>
              </a:rPr>
              <a:t>     </a:t>
            </a:r>
            <a:r>
              <a:rPr lang="lv-LV" sz="1600" b="1">
                <a:solidFill>
                  <a:schemeClr val="accent2"/>
                </a:solidFill>
                <a:effectLst/>
                <a:ea typeface="Times New Roman" panose="02020603050405020304" pitchFamily="18" charset="0"/>
              </a:rPr>
              <a:t>Bīstami! Risks inficēties ar trakumsērgu!</a:t>
            </a:r>
            <a:endParaRPr lang="en-GB" sz="1600" b="1">
              <a:solidFill>
                <a:schemeClr val="accent2"/>
              </a:solidFill>
              <a:effectLst/>
              <a:ea typeface="Times New Roman" panose="02020603050405020304" pitchFamily="18" charset="0"/>
            </a:endParaRPr>
          </a:p>
        </p:txBody>
      </p:sp>
      <p:sp>
        <p:nvSpPr>
          <p:cNvPr id="18" name="TextBox 17">
            <a:extLst>
              <a:ext uri="{FF2B5EF4-FFF2-40B4-BE49-F238E27FC236}">
                <a16:creationId xmlns:a16="http://schemas.microsoft.com/office/drawing/2014/main" id="{E1D4AC8F-0322-E8A8-E509-5AF71473A8F4}"/>
              </a:ext>
            </a:extLst>
          </p:cNvPr>
          <p:cNvSpPr txBox="1"/>
          <p:nvPr/>
        </p:nvSpPr>
        <p:spPr>
          <a:xfrm>
            <a:off x="7396160" y="2630366"/>
            <a:ext cx="4352925" cy="1658938"/>
          </a:xfrm>
          <a:prstGeom prst="rect">
            <a:avLst/>
          </a:prstGeom>
          <a:noFill/>
        </p:spPr>
        <p:txBody>
          <a:bodyPr wrap="square" lIns="72000" rIns="72000" anchor="ctr">
            <a:noAutofit/>
          </a:bodyPr>
          <a:lstStyle/>
          <a:p>
            <a:pPr marL="284400" lvl="0" indent="-284400" hangingPunct="0">
              <a:buSzPts val="1200"/>
              <a:buBlip>
                <a:blip r:embed="rId6"/>
              </a:buBlip>
            </a:pPr>
            <a:r>
              <a:rPr lang="lv-LV" sz="1400">
                <a:effectLst/>
                <a:ea typeface="Calibri" panose="020F0502020204030204" pitchFamily="34" charset="0"/>
                <a:cs typeface="Times New Roman" panose="02020603050405020304" pitchFamily="18" charset="0"/>
              </a:rPr>
              <a:t>Ja brūce stipri asiņo, nemazgājiet to un rīkojieties kā aprakstīts nodaļā “Stipra asiņošana”.</a:t>
            </a:r>
          </a:p>
          <a:p>
            <a:pPr marL="284400" lvl="0" indent="-284400" hangingPunct="0">
              <a:buSzPts val="1200"/>
              <a:buBlip>
                <a:blip r:embed="rId6"/>
              </a:buBlip>
            </a:pPr>
            <a:r>
              <a:rPr lang="lv-LV" sz="1400">
                <a:effectLst/>
                <a:ea typeface="Calibri" panose="020F0502020204030204" pitchFamily="34" charset="0"/>
                <a:cs typeface="Times New Roman" panose="02020603050405020304" pitchFamily="18" charset="0"/>
              </a:rPr>
              <a:t>No saslimšanas ar trakumsērgu pasargā potēšanās tūlīt pēc dzīvnieka koduma.</a:t>
            </a:r>
          </a:p>
        </p:txBody>
      </p:sp>
      <p:sp>
        <p:nvSpPr>
          <p:cNvPr id="20" name="TextBox 19">
            <a:extLst>
              <a:ext uri="{FF2B5EF4-FFF2-40B4-BE49-F238E27FC236}">
                <a16:creationId xmlns:a16="http://schemas.microsoft.com/office/drawing/2014/main" id="{BCB0856A-D775-E9B2-A22B-A661D9F8D43C}"/>
              </a:ext>
            </a:extLst>
          </p:cNvPr>
          <p:cNvSpPr txBox="1"/>
          <p:nvPr/>
        </p:nvSpPr>
        <p:spPr>
          <a:xfrm>
            <a:off x="2847530" y="4513587"/>
            <a:ext cx="4352925" cy="1658938"/>
          </a:xfrm>
          <a:prstGeom prst="rect">
            <a:avLst/>
          </a:prstGeom>
          <a:noFill/>
        </p:spPr>
        <p:txBody>
          <a:bodyPr wrap="square" lIns="72000" rIns="72000" anchor="ctr">
            <a:noAutofit/>
          </a:bodyPr>
          <a:lstStyle/>
          <a:p>
            <a:pPr marL="342900" lvl="0" indent="-342900" hangingPunct="0">
              <a:buSzPts val="1200"/>
              <a:buFont typeface="+mj-lt"/>
              <a:buAutoNum type="arabicPeriod"/>
            </a:pPr>
            <a:endParaRPr lang="lv-LV" sz="1400">
              <a:effectLst/>
              <a:ea typeface="Calibri" panose="020F0502020204030204" pitchFamily="34" charset="0"/>
              <a:cs typeface="Times New Roman" panose="02020603050405020304" pitchFamily="18" charset="0"/>
            </a:endParaRPr>
          </a:p>
        </p:txBody>
      </p:sp>
      <p:sp>
        <p:nvSpPr>
          <p:cNvPr id="22" name="TextBox 21">
            <a:extLst>
              <a:ext uri="{FF2B5EF4-FFF2-40B4-BE49-F238E27FC236}">
                <a16:creationId xmlns:a16="http://schemas.microsoft.com/office/drawing/2014/main" id="{044C1CE5-09D8-63ED-7E23-4A59A70CC41B}"/>
              </a:ext>
            </a:extLst>
          </p:cNvPr>
          <p:cNvSpPr txBox="1"/>
          <p:nvPr/>
        </p:nvSpPr>
        <p:spPr>
          <a:xfrm>
            <a:off x="7396160" y="4513587"/>
            <a:ext cx="4352925" cy="1658938"/>
          </a:xfrm>
          <a:prstGeom prst="rect">
            <a:avLst/>
          </a:prstGeom>
          <a:noFill/>
        </p:spPr>
        <p:txBody>
          <a:bodyPr wrap="square" lIns="72000" rIns="72000" anchor="ctr">
            <a:noAutofit/>
          </a:bodyPr>
          <a:lstStyle/>
          <a:p>
            <a:pPr marL="284400" lvl="0" indent="-284400" hangingPunct="0">
              <a:buBlip>
                <a:blip r:embed="rId6"/>
              </a:buBlip>
            </a:pPr>
            <a:r>
              <a:rPr lang="lv-LV" sz="1400">
                <a:effectLst/>
                <a:ea typeface="Calibri" panose="020F0502020204030204" pitchFamily="34" charset="0"/>
                <a:cs typeface="Times New Roman" panose="02020603050405020304" pitchFamily="18" charset="0"/>
              </a:rPr>
              <a:t>Nelieciet žņaugu vai pārsējus, nesūciet indi ar muti, negrieziet, nepiededziniet.</a:t>
            </a:r>
          </a:p>
          <a:p>
            <a:pPr marL="284400" lvl="0" indent="-284400" hangingPunct="0">
              <a:buBlip>
                <a:blip r:embed="rId6"/>
              </a:buBlip>
            </a:pPr>
            <a:r>
              <a:rPr lang="lv-LV" sz="1400">
                <a:effectLst/>
                <a:ea typeface="Calibri" panose="020F0502020204030204" pitchFamily="34" charset="0"/>
                <a:cs typeface="Times New Roman" panose="02020603050405020304" pitchFamily="18" charset="0"/>
              </a:rPr>
              <a:t>Īpaši pievērsiet uzmanību cietušā nomierināšanai.</a:t>
            </a:r>
          </a:p>
        </p:txBody>
      </p:sp>
      <p:sp>
        <p:nvSpPr>
          <p:cNvPr id="46" name="Google Shape;616;p77">
            <a:extLst>
              <a:ext uri="{FF2B5EF4-FFF2-40B4-BE49-F238E27FC236}">
                <a16:creationId xmlns:a16="http://schemas.microsoft.com/office/drawing/2014/main" id="{87F6084C-15E9-620D-F93C-647D2A57DDF8}"/>
              </a:ext>
            </a:extLst>
          </p:cNvPr>
          <p:cNvSpPr/>
          <p:nvPr/>
        </p:nvSpPr>
        <p:spPr>
          <a:xfrm>
            <a:off x="2023691" y="3724727"/>
            <a:ext cx="360363" cy="360363"/>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5"/>
                  <a:pt x="25" y="25"/>
                  <a:pt x="25" y="25"/>
                </a:cubicBezTo>
                <a:cubicBezTo>
                  <a:pt x="552" y="25"/>
                  <a:pt x="552" y="25"/>
                  <a:pt x="552" y="25"/>
                </a:cubicBezTo>
                <a:lnTo>
                  <a:pt x="552" y="551"/>
                </a:lnTo>
                <a:close/>
                <a:moveTo>
                  <a:pt x="395" y="491"/>
                </a:moveTo>
                <a:cubicBezTo>
                  <a:pt x="378" y="491"/>
                  <a:pt x="362" y="487"/>
                  <a:pt x="345" y="482"/>
                </a:cubicBezTo>
                <a:cubicBezTo>
                  <a:pt x="326" y="477"/>
                  <a:pt x="307" y="472"/>
                  <a:pt x="285" y="472"/>
                </a:cubicBezTo>
                <a:cubicBezTo>
                  <a:pt x="264" y="472"/>
                  <a:pt x="245" y="477"/>
                  <a:pt x="226" y="482"/>
                </a:cubicBezTo>
                <a:cubicBezTo>
                  <a:pt x="206" y="487"/>
                  <a:pt x="188" y="492"/>
                  <a:pt x="168" y="491"/>
                </a:cubicBezTo>
                <a:cubicBezTo>
                  <a:pt x="152" y="489"/>
                  <a:pt x="138" y="473"/>
                  <a:pt x="130" y="446"/>
                </a:cubicBezTo>
                <a:cubicBezTo>
                  <a:pt x="122" y="418"/>
                  <a:pt x="122" y="384"/>
                  <a:pt x="141" y="370"/>
                </a:cubicBezTo>
                <a:cubicBezTo>
                  <a:pt x="150" y="364"/>
                  <a:pt x="157" y="360"/>
                  <a:pt x="164" y="356"/>
                </a:cubicBezTo>
                <a:cubicBezTo>
                  <a:pt x="174" y="351"/>
                  <a:pt x="181" y="348"/>
                  <a:pt x="189" y="336"/>
                </a:cubicBezTo>
                <a:cubicBezTo>
                  <a:pt x="192" y="332"/>
                  <a:pt x="195" y="325"/>
                  <a:pt x="198" y="319"/>
                </a:cubicBezTo>
                <a:cubicBezTo>
                  <a:pt x="210" y="292"/>
                  <a:pt x="229" y="251"/>
                  <a:pt x="285" y="251"/>
                </a:cubicBezTo>
                <a:cubicBezTo>
                  <a:pt x="342" y="251"/>
                  <a:pt x="361" y="292"/>
                  <a:pt x="373" y="319"/>
                </a:cubicBezTo>
                <a:cubicBezTo>
                  <a:pt x="376" y="325"/>
                  <a:pt x="379" y="332"/>
                  <a:pt x="382" y="336"/>
                </a:cubicBezTo>
                <a:cubicBezTo>
                  <a:pt x="390" y="348"/>
                  <a:pt x="396" y="351"/>
                  <a:pt x="407" y="356"/>
                </a:cubicBezTo>
                <a:cubicBezTo>
                  <a:pt x="414" y="360"/>
                  <a:pt x="421" y="364"/>
                  <a:pt x="430" y="370"/>
                </a:cubicBezTo>
                <a:cubicBezTo>
                  <a:pt x="449" y="384"/>
                  <a:pt x="449" y="418"/>
                  <a:pt x="441" y="446"/>
                </a:cubicBezTo>
                <a:cubicBezTo>
                  <a:pt x="433" y="473"/>
                  <a:pt x="419" y="489"/>
                  <a:pt x="402" y="491"/>
                </a:cubicBezTo>
                <a:cubicBezTo>
                  <a:pt x="400" y="491"/>
                  <a:pt x="398" y="491"/>
                  <a:pt x="395" y="491"/>
                </a:cubicBezTo>
                <a:close/>
                <a:moveTo>
                  <a:pt x="285" y="447"/>
                </a:moveTo>
                <a:cubicBezTo>
                  <a:pt x="310" y="447"/>
                  <a:pt x="332" y="452"/>
                  <a:pt x="351" y="457"/>
                </a:cubicBezTo>
                <a:cubicBezTo>
                  <a:pt x="369" y="462"/>
                  <a:pt x="385" y="466"/>
                  <a:pt x="400" y="465"/>
                </a:cubicBezTo>
                <a:cubicBezTo>
                  <a:pt x="403" y="465"/>
                  <a:pt x="411" y="457"/>
                  <a:pt x="416" y="439"/>
                </a:cubicBezTo>
                <a:cubicBezTo>
                  <a:pt x="423" y="415"/>
                  <a:pt x="420" y="394"/>
                  <a:pt x="415" y="391"/>
                </a:cubicBezTo>
                <a:cubicBezTo>
                  <a:pt x="408" y="385"/>
                  <a:pt x="401" y="382"/>
                  <a:pt x="395" y="379"/>
                </a:cubicBezTo>
                <a:cubicBezTo>
                  <a:pt x="384" y="373"/>
                  <a:pt x="372" y="368"/>
                  <a:pt x="360" y="350"/>
                </a:cubicBezTo>
                <a:cubicBezTo>
                  <a:pt x="356" y="344"/>
                  <a:pt x="353" y="337"/>
                  <a:pt x="350" y="329"/>
                </a:cubicBezTo>
                <a:cubicBezTo>
                  <a:pt x="338" y="303"/>
                  <a:pt x="325" y="276"/>
                  <a:pt x="285" y="276"/>
                </a:cubicBezTo>
                <a:cubicBezTo>
                  <a:pt x="245" y="276"/>
                  <a:pt x="233" y="303"/>
                  <a:pt x="221" y="329"/>
                </a:cubicBezTo>
                <a:cubicBezTo>
                  <a:pt x="218" y="337"/>
                  <a:pt x="214" y="344"/>
                  <a:pt x="210" y="350"/>
                </a:cubicBezTo>
                <a:cubicBezTo>
                  <a:pt x="199" y="368"/>
                  <a:pt x="187" y="373"/>
                  <a:pt x="175" y="379"/>
                </a:cubicBezTo>
                <a:cubicBezTo>
                  <a:pt x="169" y="382"/>
                  <a:pt x="163" y="385"/>
                  <a:pt x="156" y="391"/>
                </a:cubicBezTo>
                <a:cubicBezTo>
                  <a:pt x="151" y="394"/>
                  <a:pt x="148" y="415"/>
                  <a:pt x="155" y="439"/>
                </a:cubicBezTo>
                <a:cubicBezTo>
                  <a:pt x="160" y="457"/>
                  <a:pt x="167" y="465"/>
                  <a:pt x="170" y="465"/>
                </a:cubicBezTo>
                <a:cubicBezTo>
                  <a:pt x="185" y="466"/>
                  <a:pt x="201" y="462"/>
                  <a:pt x="220" y="457"/>
                </a:cubicBezTo>
                <a:cubicBezTo>
                  <a:pt x="239" y="452"/>
                  <a:pt x="261" y="447"/>
                  <a:pt x="285" y="447"/>
                </a:cubicBezTo>
                <a:close/>
                <a:moveTo>
                  <a:pt x="354" y="239"/>
                </a:moveTo>
                <a:cubicBezTo>
                  <a:pt x="351" y="239"/>
                  <a:pt x="348" y="238"/>
                  <a:pt x="346" y="238"/>
                </a:cubicBezTo>
                <a:cubicBezTo>
                  <a:pt x="329" y="235"/>
                  <a:pt x="314" y="223"/>
                  <a:pt x="306" y="205"/>
                </a:cubicBezTo>
                <a:cubicBezTo>
                  <a:pt x="298" y="188"/>
                  <a:pt x="295" y="168"/>
                  <a:pt x="299" y="147"/>
                </a:cubicBezTo>
                <a:cubicBezTo>
                  <a:pt x="303" y="127"/>
                  <a:pt x="312" y="108"/>
                  <a:pt x="325" y="95"/>
                </a:cubicBezTo>
                <a:cubicBezTo>
                  <a:pt x="340" y="81"/>
                  <a:pt x="357" y="75"/>
                  <a:pt x="374" y="78"/>
                </a:cubicBezTo>
                <a:cubicBezTo>
                  <a:pt x="391" y="81"/>
                  <a:pt x="405" y="93"/>
                  <a:pt x="414" y="111"/>
                </a:cubicBezTo>
                <a:cubicBezTo>
                  <a:pt x="422" y="128"/>
                  <a:pt x="424" y="148"/>
                  <a:pt x="420" y="169"/>
                </a:cubicBezTo>
                <a:cubicBezTo>
                  <a:pt x="420" y="169"/>
                  <a:pt x="420" y="169"/>
                  <a:pt x="420" y="169"/>
                </a:cubicBezTo>
                <a:cubicBezTo>
                  <a:pt x="413" y="210"/>
                  <a:pt x="385" y="239"/>
                  <a:pt x="354" y="239"/>
                </a:cubicBezTo>
                <a:close/>
                <a:moveTo>
                  <a:pt x="365" y="103"/>
                </a:moveTo>
                <a:cubicBezTo>
                  <a:pt x="358" y="103"/>
                  <a:pt x="350" y="107"/>
                  <a:pt x="343" y="113"/>
                </a:cubicBezTo>
                <a:cubicBezTo>
                  <a:pt x="334" y="123"/>
                  <a:pt x="327" y="136"/>
                  <a:pt x="324" y="152"/>
                </a:cubicBezTo>
                <a:cubicBezTo>
                  <a:pt x="322" y="167"/>
                  <a:pt x="323" y="182"/>
                  <a:pt x="329" y="194"/>
                </a:cubicBezTo>
                <a:cubicBezTo>
                  <a:pt x="334" y="205"/>
                  <a:pt x="341" y="211"/>
                  <a:pt x="350" y="213"/>
                </a:cubicBezTo>
                <a:cubicBezTo>
                  <a:pt x="369" y="216"/>
                  <a:pt x="390" y="194"/>
                  <a:pt x="395" y="164"/>
                </a:cubicBezTo>
                <a:cubicBezTo>
                  <a:pt x="398" y="149"/>
                  <a:pt x="396" y="134"/>
                  <a:pt x="391" y="122"/>
                </a:cubicBezTo>
                <a:cubicBezTo>
                  <a:pt x="386" y="111"/>
                  <a:pt x="378" y="105"/>
                  <a:pt x="369" y="103"/>
                </a:cubicBezTo>
                <a:cubicBezTo>
                  <a:pt x="368" y="103"/>
                  <a:pt x="367" y="103"/>
                  <a:pt x="365" y="103"/>
                </a:cubicBezTo>
                <a:close/>
                <a:moveTo>
                  <a:pt x="217" y="239"/>
                </a:moveTo>
                <a:cubicBezTo>
                  <a:pt x="186" y="239"/>
                  <a:pt x="158" y="210"/>
                  <a:pt x="150" y="169"/>
                </a:cubicBezTo>
                <a:cubicBezTo>
                  <a:pt x="147" y="148"/>
                  <a:pt x="149" y="128"/>
                  <a:pt x="157" y="111"/>
                </a:cubicBezTo>
                <a:cubicBezTo>
                  <a:pt x="166" y="93"/>
                  <a:pt x="180" y="81"/>
                  <a:pt x="197" y="78"/>
                </a:cubicBezTo>
                <a:cubicBezTo>
                  <a:pt x="214" y="75"/>
                  <a:pt x="231" y="81"/>
                  <a:pt x="246" y="95"/>
                </a:cubicBezTo>
                <a:cubicBezTo>
                  <a:pt x="259" y="108"/>
                  <a:pt x="268" y="127"/>
                  <a:pt x="272" y="147"/>
                </a:cubicBezTo>
                <a:cubicBezTo>
                  <a:pt x="275" y="168"/>
                  <a:pt x="273" y="188"/>
                  <a:pt x="265" y="205"/>
                </a:cubicBezTo>
                <a:cubicBezTo>
                  <a:pt x="256" y="223"/>
                  <a:pt x="242" y="235"/>
                  <a:pt x="225" y="238"/>
                </a:cubicBezTo>
                <a:cubicBezTo>
                  <a:pt x="222" y="238"/>
                  <a:pt x="219" y="239"/>
                  <a:pt x="217" y="239"/>
                </a:cubicBezTo>
                <a:close/>
                <a:moveTo>
                  <a:pt x="205" y="103"/>
                </a:moveTo>
                <a:cubicBezTo>
                  <a:pt x="204" y="103"/>
                  <a:pt x="203" y="103"/>
                  <a:pt x="201" y="103"/>
                </a:cubicBezTo>
                <a:cubicBezTo>
                  <a:pt x="193" y="105"/>
                  <a:pt x="185" y="111"/>
                  <a:pt x="180" y="122"/>
                </a:cubicBezTo>
                <a:cubicBezTo>
                  <a:pt x="175" y="134"/>
                  <a:pt x="173" y="149"/>
                  <a:pt x="176" y="164"/>
                </a:cubicBezTo>
                <a:cubicBezTo>
                  <a:pt x="181" y="194"/>
                  <a:pt x="202" y="216"/>
                  <a:pt x="221" y="213"/>
                </a:cubicBezTo>
                <a:cubicBezTo>
                  <a:pt x="229" y="211"/>
                  <a:pt x="237" y="205"/>
                  <a:pt x="242" y="194"/>
                </a:cubicBezTo>
                <a:cubicBezTo>
                  <a:pt x="248" y="182"/>
                  <a:pt x="249" y="167"/>
                  <a:pt x="246" y="152"/>
                </a:cubicBezTo>
                <a:cubicBezTo>
                  <a:pt x="244" y="136"/>
                  <a:pt x="237" y="123"/>
                  <a:pt x="228" y="113"/>
                </a:cubicBezTo>
                <a:cubicBezTo>
                  <a:pt x="221" y="107"/>
                  <a:pt x="213" y="103"/>
                  <a:pt x="205" y="103"/>
                </a:cubicBezTo>
                <a:close/>
                <a:moveTo>
                  <a:pt x="445" y="341"/>
                </a:moveTo>
                <a:cubicBezTo>
                  <a:pt x="440" y="341"/>
                  <a:pt x="434" y="340"/>
                  <a:pt x="429" y="338"/>
                </a:cubicBezTo>
                <a:cubicBezTo>
                  <a:pt x="400" y="327"/>
                  <a:pt x="386" y="290"/>
                  <a:pt x="399" y="254"/>
                </a:cubicBezTo>
                <a:cubicBezTo>
                  <a:pt x="412" y="219"/>
                  <a:pt x="447" y="198"/>
                  <a:pt x="476" y="209"/>
                </a:cubicBezTo>
                <a:cubicBezTo>
                  <a:pt x="491" y="214"/>
                  <a:pt x="502" y="226"/>
                  <a:pt x="507" y="243"/>
                </a:cubicBezTo>
                <a:cubicBezTo>
                  <a:pt x="513" y="258"/>
                  <a:pt x="512" y="276"/>
                  <a:pt x="506" y="293"/>
                </a:cubicBezTo>
                <a:cubicBezTo>
                  <a:pt x="495" y="322"/>
                  <a:pt x="470" y="341"/>
                  <a:pt x="445" y="341"/>
                </a:cubicBezTo>
                <a:close/>
                <a:moveTo>
                  <a:pt x="460" y="232"/>
                </a:moveTo>
                <a:cubicBezTo>
                  <a:pt x="446" y="232"/>
                  <a:pt x="430" y="244"/>
                  <a:pt x="423" y="263"/>
                </a:cubicBezTo>
                <a:cubicBezTo>
                  <a:pt x="415" y="285"/>
                  <a:pt x="422" y="308"/>
                  <a:pt x="438" y="314"/>
                </a:cubicBezTo>
                <a:cubicBezTo>
                  <a:pt x="454" y="320"/>
                  <a:pt x="474" y="306"/>
                  <a:pt x="482" y="284"/>
                </a:cubicBezTo>
                <a:cubicBezTo>
                  <a:pt x="486" y="273"/>
                  <a:pt x="486" y="261"/>
                  <a:pt x="483" y="251"/>
                </a:cubicBezTo>
                <a:cubicBezTo>
                  <a:pt x="480" y="242"/>
                  <a:pt x="475" y="236"/>
                  <a:pt x="467" y="233"/>
                </a:cubicBezTo>
                <a:cubicBezTo>
                  <a:pt x="465" y="232"/>
                  <a:pt x="462" y="232"/>
                  <a:pt x="460" y="232"/>
                </a:cubicBezTo>
                <a:close/>
                <a:moveTo>
                  <a:pt x="125" y="341"/>
                </a:moveTo>
                <a:cubicBezTo>
                  <a:pt x="100" y="341"/>
                  <a:pt x="75" y="322"/>
                  <a:pt x="65" y="293"/>
                </a:cubicBezTo>
                <a:cubicBezTo>
                  <a:pt x="59" y="276"/>
                  <a:pt x="58" y="258"/>
                  <a:pt x="63" y="243"/>
                </a:cubicBezTo>
                <a:cubicBezTo>
                  <a:pt x="69" y="226"/>
                  <a:pt x="80" y="214"/>
                  <a:pt x="95" y="209"/>
                </a:cubicBezTo>
                <a:cubicBezTo>
                  <a:pt x="124" y="198"/>
                  <a:pt x="158" y="219"/>
                  <a:pt x="171" y="254"/>
                </a:cubicBezTo>
                <a:cubicBezTo>
                  <a:pt x="184" y="290"/>
                  <a:pt x="171" y="327"/>
                  <a:pt x="142" y="338"/>
                </a:cubicBezTo>
                <a:cubicBezTo>
                  <a:pt x="136" y="340"/>
                  <a:pt x="131" y="341"/>
                  <a:pt x="125" y="341"/>
                </a:cubicBezTo>
                <a:close/>
                <a:moveTo>
                  <a:pt x="111" y="232"/>
                </a:moveTo>
                <a:cubicBezTo>
                  <a:pt x="108" y="232"/>
                  <a:pt x="106" y="232"/>
                  <a:pt x="103" y="233"/>
                </a:cubicBezTo>
                <a:cubicBezTo>
                  <a:pt x="96" y="236"/>
                  <a:pt x="91" y="242"/>
                  <a:pt x="88" y="251"/>
                </a:cubicBezTo>
                <a:cubicBezTo>
                  <a:pt x="84" y="261"/>
                  <a:pt x="85" y="273"/>
                  <a:pt x="89" y="284"/>
                </a:cubicBezTo>
                <a:cubicBezTo>
                  <a:pt x="97" y="306"/>
                  <a:pt x="117" y="320"/>
                  <a:pt x="133" y="314"/>
                </a:cubicBezTo>
                <a:cubicBezTo>
                  <a:pt x="149" y="308"/>
                  <a:pt x="155" y="285"/>
                  <a:pt x="147" y="263"/>
                </a:cubicBezTo>
                <a:cubicBezTo>
                  <a:pt x="141" y="244"/>
                  <a:pt x="125" y="232"/>
                  <a:pt x="111" y="232"/>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nvGrpSpPr>
          <p:cNvPr id="52" name="Group 51">
            <a:extLst>
              <a:ext uri="{FF2B5EF4-FFF2-40B4-BE49-F238E27FC236}">
                <a16:creationId xmlns:a16="http://schemas.microsoft.com/office/drawing/2014/main" id="{A70FDED7-6947-DEF1-A08A-FBC967B40259}"/>
              </a:ext>
            </a:extLst>
          </p:cNvPr>
          <p:cNvGrpSpPr/>
          <p:nvPr/>
        </p:nvGrpSpPr>
        <p:grpSpPr>
          <a:xfrm>
            <a:off x="2023691" y="5642770"/>
            <a:ext cx="360363" cy="360363"/>
            <a:chOff x="-455905" y="4611921"/>
            <a:chExt cx="455905" cy="457200"/>
          </a:xfrm>
        </p:grpSpPr>
        <p:grpSp>
          <p:nvGrpSpPr>
            <p:cNvPr id="50" name="Group 49">
              <a:extLst>
                <a:ext uri="{FF2B5EF4-FFF2-40B4-BE49-F238E27FC236}">
                  <a16:creationId xmlns:a16="http://schemas.microsoft.com/office/drawing/2014/main" id="{70A03FDA-CAA9-19A0-4D89-3676785B3619}"/>
                </a:ext>
              </a:extLst>
            </p:cNvPr>
            <p:cNvGrpSpPr/>
            <p:nvPr/>
          </p:nvGrpSpPr>
          <p:grpSpPr>
            <a:xfrm>
              <a:off x="-455905" y="4611921"/>
              <a:ext cx="455905" cy="457200"/>
              <a:chOff x="-455905" y="4611921"/>
              <a:chExt cx="455905" cy="457200"/>
            </a:xfrm>
          </p:grpSpPr>
          <p:sp>
            <p:nvSpPr>
              <p:cNvPr id="48" name="Google Shape;616;p77">
                <a:extLst>
                  <a:ext uri="{FF2B5EF4-FFF2-40B4-BE49-F238E27FC236}">
                    <a16:creationId xmlns:a16="http://schemas.microsoft.com/office/drawing/2014/main" id="{A14B16FD-A963-1B51-1AA7-73C281C4F5DC}"/>
                  </a:ext>
                </a:extLst>
              </p:cNvPr>
              <p:cNvSpPr/>
              <p:nvPr/>
            </p:nvSpPr>
            <p:spPr>
              <a:xfrm>
                <a:off x="-455905" y="4611921"/>
                <a:ext cx="455905" cy="4572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5"/>
                      <a:pt x="25" y="25"/>
                      <a:pt x="25" y="25"/>
                    </a:cubicBezTo>
                    <a:cubicBezTo>
                      <a:pt x="552" y="25"/>
                      <a:pt x="552" y="25"/>
                      <a:pt x="552" y="25"/>
                    </a:cubicBezTo>
                    <a:lnTo>
                      <a:pt x="552" y="551"/>
                    </a:lnTo>
                    <a:close/>
                    <a:moveTo>
                      <a:pt x="395" y="491"/>
                    </a:moveTo>
                    <a:cubicBezTo>
                      <a:pt x="378" y="491"/>
                      <a:pt x="362" y="487"/>
                      <a:pt x="345" y="482"/>
                    </a:cubicBezTo>
                    <a:cubicBezTo>
                      <a:pt x="326" y="477"/>
                      <a:pt x="307" y="472"/>
                      <a:pt x="285" y="472"/>
                    </a:cubicBezTo>
                    <a:cubicBezTo>
                      <a:pt x="264" y="472"/>
                      <a:pt x="245" y="477"/>
                      <a:pt x="226" y="482"/>
                    </a:cubicBezTo>
                    <a:cubicBezTo>
                      <a:pt x="206" y="487"/>
                      <a:pt x="188" y="492"/>
                      <a:pt x="168" y="491"/>
                    </a:cubicBezTo>
                    <a:cubicBezTo>
                      <a:pt x="152" y="489"/>
                      <a:pt x="138" y="473"/>
                      <a:pt x="130" y="446"/>
                    </a:cubicBezTo>
                    <a:cubicBezTo>
                      <a:pt x="122" y="418"/>
                      <a:pt x="122" y="384"/>
                      <a:pt x="141" y="370"/>
                    </a:cubicBezTo>
                    <a:cubicBezTo>
                      <a:pt x="150" y="364"/>
                      <a:pt x="157" y="360"/>
                      <a:pt x="164" y="356"/>
                    </a:cubicBezTo>
                    <a:cubicBezTo>
                      <a:pt x="174" y="351"/>
                      <a:pt x="181" y="348"/>
                      <a:pt x="189" y="336"/>
                    </a:cubicBezTo>
                    <a:cubicBezTo>
                      <a:pt x="192" y="332"/>
                      <a:pt x="195" y="325"/>
                      <a:pt x="198" y="319"/>
                    </a:cubicBezTo>
                    <a:cubicBezTo>
                      <a:pt x="210" y="292"/>
                      <a:pt x="229" y="251"/>
                      <a:pt x="285" y="251"/>
                    </a:cubicBezTo>
                    <a:cubicBezTo>
                      <a:pt x="342" y="251"/>
                      <a:pt x="361" y="292"/>
                      <a:pt x="373" y="319"/>
                    </a:cubicBezTo>
                    <a:cubicBezTo>
                      <a:pt x="376" y="325"/>
                      <a:pt x="379" y="332"/>
                      <a:pt x="382" y="336"/>
                    </a:cubicBezTo>
                    <a:cubicBezTo>
                      <a:pt x="390" y="348"/>
                      <a:pt x="396" y="351"/>
                      <a:pt x="407" y="356"/>
                    </a:cubicBezTo>
                    <a:cubicBezTo>
                      <a:pt x="414" y="360"/>
                      <a:pt x="421" y="364"/>
                      <a:pt x="430" y="370"/>
                    </a:cubicBezTo>
                    <a:cubicBezTo>
                      <a:pt x="449" y="384"/>
                      <a:pt x="449" y="418"/>
                      <a:pt x="441" y="446"/>
                    </a:cubicBezTo>
                    <a:cubicBezTo>
                      <a:pt x="433" y="473"/>
                      <a:pt x="419" y="489"/>
                      <a:pt x="402" y="491"/>
                    </a:cubicBezTo>
                    <a:cubicBezTo>
                      <a:pt x="400" y="491"/>
                      <a:pt x="398" y="491"/>
                      <a:pt x="395" y="491"/>
                    </a:cubicBezTo>
                    <a:close/>
                    <a:moveTo>
                      <a:pt x="285" y="447"/>
                    </a:moveTo>
                    <a:cubicBezTo>
                      <a:pt x="310" y="447"/>
                      <a:pt x="332" y="452"/>
                      <a:pt x="351" y="457"/>
                    </a:cubicBezTo>
                    <a:cubicBezTo>
                      <a:pt x="369" y="462"/>
                      <a:pt x="385" y="466"/>
                      <a:pt x="400" y="465"/>
                    </a:cubicBezTo>
                    <a:cubicBezTo>
                      <a:pt x="403" y="465"/>
                      <a:pt x="411" y="457"/>
                      <a:pt x="416" y="439"/>
                    </a:cubicBezTo>
                    <a:cubicBezTo>
                      <a:pt x="423" y="415"/>
                      <a:pt x="420" y="394"/>
                      <a:pt x="415" y="391"/>
                    </a:cubicBezTo>
                    <a:cubicBezTo>
                      <a:pt x="408" y="385"/>
                      <a:pt x="401" y="382"/>
                      <a:pt x="395" y="379"/>
                    </a:cubicBezTo>
                    <a:cubicBezTo>
                      <a:pt x="384" y="373"/>
                      <a:pt x="372" y="368"/>
                      <a:pt x="360" y="350"/>
                    </a:cubicBezTo>
                    <a:cubicBezTo>
                      <a:pt x="356" y="344"/>
                      <a:pt x="353" y="337"/>
                      <a:pt x="350" y="329"/>
                    </a:cubicBezTo>
                    <a:cubicBezTo>
                      <a:pt x="338" y="303"/>
                      <a:pt x="325" y="276"/>
                      <a:pt x="285" y="276"/>
                    </a:cubicBezTo>
                    <a:cubicBezTo>
                      <a:pt x="245" y="276"/>
                      <a:pt x="233" y="303"/>
                      <a:pt x="221" y="329"/>
                    </a:cubicBezTo>
                    <a:cubicBezTo>
                      <a:pt x="218" y="337"/>
                      <a:pt x="214" y="344"/>
                      <a:pt x="210" y="350"/>
                    </a:cubicBezTo>
                    <a:cubicBezTo>
                      <a:pt x="199" y="368"/>
                      <a:pt x="187" y="373"/>
                      <a:pt x="175" y="379"/>
                    </a:cubicBezTo>
                    <a:cubicBezTo>
                      <a:pt x="169" y="382"/>
                      <a:pt x="163" y="385"/>
                      <a:pt x="156" y="391"/>
                    </a:cubicBezTo>
                    <a:cubicBezTo>
                      <a:pt x="151" y="394"/>
                      <a:pt x="148" y="415"/>
                      <a:pt x="155" y="439"/>
                    </a:cubicBezTo>
                    <a:cubicBezTo>
                      <a:pt x="160" y="457"/>
                      <a:pt x="167" y="465"/>
                      <a:pt x="170" y="465"/>
                    </a:cubicBezTo>
                    <a:cubicBezTo>
                      <a:pt x="185" y="466"/>
                      <a:pt x="201" y="462"/>
                      <a:pt x="220" y="457"/>
                    </a:cubicBezTo>
                    <a:cubicBezTo>
                      <a:pt x="239" y="452"/>
                      <a:pt x="261" y="447"/>
                      <a:pt x="285" y="447"/>
                    </a:cubicBezTo>
                    <a:close/>
                    <a:moveTo>
                      <a:pt x="354" y="239"/>
                    </a:moveTo>
                    <a:cubicBezTo>
                      <a:pt x="351" y="239"/>
                      <a:pt x="348" y="238"/>
                      <a:pt x="346" y="238"/>
                    </a:cubicBezTo>
                    <a:cubicBezTo>
                      <a:pt x="329" y="235"/>
                      <a:pt x="314" y="223"/>
                      <a:pt x="306" y="205"/>
                    </a:cubicBezTo>
                    <a:cubicBezTo>
                      <a:pt x="298" y="188"/>
                      <a:pt x="295" y="168"/>
                      <a:pt x="299" y="147"/>
                    </a:cubicBezTo>
                    <a:cubicBezTo>
                      <a:pt x="303" y="127"/>
                      <a:pt x="312" y="108"/>
                      <a:pt x="325" y="95"/>
                    </a:cubicBezTo>
                    <a:cubicBezTo>
                      <a:pt x="340" y="81"/>
                      <a:pt x="357" y="75"/>
                      <a:pt x="374" y="78"/>
                    </a:cubicBezTo>
                    <a:cubicBezTo>
                      <a:pt x="391" y="81"/>
                      <a:pt x="405" y="93"/>
                      <a:pt x="414" y="111"/>
                    </a:cubicBezTo>
                    <a:cubicBezTo>
                      <a:pt x="422" y="128"/>
                      <a:pt x="424" y="148"/>
                      <a:pt x="420" y="169"/>
                    </a:cubicBezTo>
                    <a:cubicBezTo>
                      <a:pt x="420" y="169"/>
                      <a:pt x="420" y="169"/>
                      <a:pt x="420" y="169"/>
                    </a:cubicBezTo>
                    <a:cubicBezTo>
                      <a:pt x="413" y="210"/>
                      <a:pt x="385" y="239"/>
                      <a:pt x="354" y="239"/>
                    </a:cubicBezTo>
                    <a:close/>
                    <a:moveTo>
                      <a:pt x="365" y="103"/>
                    </a:moveTo>
                    <a:cubicBezTo>
                      <a:pt x="358" y="103"/>
                      <a:pt x="350" y="107"/>
                      <a:pt x="343" y="113"/>
                    </a:cubicBezTo>
                    <a:cubicBezTo>
                      <a:pt x="334" y="123"/>
                      <a:pt x="327" y="136"/>
                      <a:pt x="324" y="152"/>
                    </a:cubicBezTo>
                    <a:cubicBezTo>
                      <a:pt x="322" y="167"/>
                      <a:pt x="323" y="182"/>
                      <a:pt x="329" y="194"/>
                    </a:cubicBezTo>
                    <a:cubicBezTo>
                      <a:pt x="334" y="205"/>
                      <a:pt x="341" y="211"/>
                      <a:pt x="350" y="213"/>
                    </a:cubicBezTo>
                    <a:cubicBezTo>
                      <a:pt x="369" y="216"/>
                      <a:pt x="390" y="194"/>
                      <a:pt x="395" y="164"/>
                    </a:cubicBezTo>
                    <a:cubicBezTo>
                      <a:pt x="398" y="149"/>
                      <a:pt x="396" y="134"/>
                      <a:pt x="391" y="122"/>
                    </a:cubicBezTo>
                    <a:cubicBezTo>
                      <a:pt x="386" y="111"/>
                      <a:pt x="378" y="105"/>
                      <a:pt x="369" y="103"/>
                    </a:cubicBezTo>
                    <a:cubicBezTo>
                      <a:pt x="368" y="103"/>
                      <a:pt x="367" y="103"/>
                      <a:pt x="365" y="103"/>
                    </a:cubicBezTo>
                    <a:close/>
                    <a:moveTo>
                      <a:pt x="217" y="239"/>
                    </a:moveTo>
                    <a:cubicBezTo>
                      <a:pt x="186" y="239"/>
                      <a:pt x="158" y="210"/>
                      <a:pt x="150" y="169"/>
                    </a:cubicBezTo>
                    <a:cubicBezTo>
                      <a:pt x="147" y="148"/>
                      <a:pt x="149" y="128"/>
                      <a:pt x="157" y="111"/>
                    </a:cubicBezTo>
                    <a:cubicBezTo>
                      <a:pt x="166" y="93"/>
                      <a:pt x="180" y="81"/>
                      <a:pt x="197" y="78"/>
                    </a:cubicBezTo>
                    <a:cubicBezTo>
                      <a:pt x="214" y="75"/>
                      <a:pt x="231" y="81"/>
                      <a:pt x="246" y="95"/>
                    </a:cubicBezTo>
                    <a:cubicBezTo>
                      <a:pt x="259" y="108"/>
                      <a:pt x="268" y="127"/>
                      <a:pt x="272" y="147"/>
                    </a:cubicBezTo>
                    <a:cubicBezTo>
                      <a:pt x="275" y="168"/>
                      <a:pt x="273" y="188"/>
                      <a:pt x="265" y="205"/>
                    </a:cubicBezTo>
                    <a:cubicBezTo>
                      <a:pt x="256" y="223"/>
                      <a:pt x="242" y="235"/>
                      <a:pt x="225" y="238"/>
                    </a:cubicBezTo>
                    <a:cubicBezTo>
                      <a:pt x="222" y="238"/>
                      <a:pt x="219" y="239"/>
                      <a:pt x="217" y="239"/>
                    </a:cubicBezTo>
                    <a:close/>
                    <a:moveTo>
                      <a:pt x="205" y="103"/>
                    </a:moveTo>
                    <a:cubicBezTo>
                      <a:pt x="204" y="103"/>
                      <a:pt x="203" y="103"/>
                      <a:pt x="201" y="103"/>
                    </a:cubicBezTo>
                    <a:cubicBezTo>
                      <a:pt x="193" y="105"/>
                      <a:pt x="185" y="111"/>
                      <a:pt x="180" y="122"/>
                    </a:cubicBezTo>
                    <a:cubicBezTo>
                      <a:pt x="175" y="134"/>
                      <a:pt x="173" y="149"/>
                      <a:pt x="176" y="164"/>
                    </a:cubicBezTo>
                    <a:cubicBezTo>
                      <a:pt x="181" y="194"/>
                      <a:pt x="202" y="216"/>
                      <a:pt x="221" y="213"/>
                    </a:cubicBezTo>
                    <a:cubicBezTo>
                      <a:pt x="229" y="211"/>
                      <a:pt x="237" y="205"/>
                      <a:pt x="242" y="194"/>
                    </a:cubicBezTo>
                    <a:cubicBezTo>
                      <a:pt x="248" y="182"/>
                      <a:pt x="249" y="167"/>
                      <a:pt x="246" y="152"/>
                    </a:cubicBezTo>
                    <a:cubicBezTo>
                      <a:pt x="244" y="136"/>
                      <a:pt x="237" y="123"/>
                      <a:pt x="228" y="113"/>
                    </a:cubicBezTo>
                    <a:cubicBezTo>
                      <a:pt x="221" y="107"/>
                      <a:pt x="213" y="103"/>
                      <a:pt x="205" y="103"/>
                    </a:cubicBezTo>
                    <a:close/>
                    <a:moveTo>
                      <a:pt x="445" y="341"/>
                    </a:moveTo>
                    <a:cubicBezTo>
                      <a:pt x="440" y="341"/>
                      <a:pt x="434" y="340"/>
                      <a:pt x="429" y="338"/>
                    </a:cubicBezTo>
                    <a:cubicBezTo>
                      <a:pt x="400" y="327"/>
                      <a:pt x="386" y="290"/>
                      <a:pt x="399" y="254"/>
                    </a:cubicBezTo>
                    <a:cubicBezTo>
                      <a:pt x="412" y="219"/>
                      <a:pt x="447" y="198"/>
                      <a:pt x="476" y="209"/>
                    </a:cubicBezTo>
                    <a:cubicBezTo>
                      <a:pt x="491" y="214"/>
                      <a:pt x="502" y="226"/>
                      <a:pt x="507" y="243"/>
                    </a:cubicBezTo>
                    <a:cubicBezTo>
                      <a:pt x="513" y="258"/>
                      <a:pt x="512" y="276"/>
                      <a:pt x="506" y="293"/>
                    </a:cubicBezTo>
                    <a:cubicBezTo>
                      <a:pt x="495" y="322"/>
                      <a:pt x="470" y="341"/>
                      <a:pt x="445" y="341"/>
                    </a:cubicBezTo>
                    <a:close/>
                    <a:moveTo>
                      <a:pt x="460" y="232"/>
                    </a:moveTo>
                    <a:cubicBezTo>
                      <a:pt x="446" y="232"/>
                      <a:pt x="430" y="244"/>
                      <a:pt x="423" y="263"/>
                    </a:cubicBezTo>
                    <a:cubicBezTo>
                      <a:pt x="415" y="285"/>
                      <a:pt x="422" y="308"/>
                      <a:pt x="438" y="314"/>
                    </a:cubicBezTo>
                    <a:cubicBezTo>
                      <a:pt x="454" y="320"/>
                      <a:pt x="474" y="306"/>
                      <a:pt x="482" y="284"/>
                    </a:cubicBezTo>
                    <a:cubicBezTo>
                      <a:pt x="486" y="273"/>
                      <a:pt x="486" y="261"/>
                      <a:pt x="483" y="251"/>
                    </a:cubicBezTo>
                    <a:cubicBezTo>
                      <a:pt x="480" y="242"/>
                      <a:pt x="475" y="236"/>
                      <a:pt x="467" y="233"/>
                    </a:cubicBezTo>
                    <a:cubicBezTo>
                      <a:pt x="465" y="232"/>
                      <a:pt x="462" y="232"/>
                      <a:pt x="460" y="232"/>
                    </a:cubicBezTo>
                    <a:close/>
                    <a:moveTo>
                      <a:pt x="125" y="341"/>
                    </a:moveTo>
                    <a:cubicBezTo>
                      <a:pt x="100" y="341"/>
                      <a:pt x="75" y="322"/>
                      <a:pt x="65" y="293"/>
                    </a:cubicBezTo>
                    <a:cubicBezTo>
                      <a:pt x="59" y="276"/>
                      <a:pt x="58" y="258"/>
                      <a:pt x="63" y="243"/>
                    </a:cubicBezTo>
                    <a:cubicBezTo>
                      <a:pt x="69" y="226"/>
                      <a:pt x="80" y="214"/>
                      <a:pt x="95" y="209"/>
                    </a:cubicBezTo>
                    <a:cubicBezTo>
                      <a:pt x="124" y="198"/>
                      <a:pt x="158" y="219"/>
                      <a:pt x="171" y="254"/>
                    </a:cubicBezTo>
                    <a:cubicBezTo>
                      <a:pt x="184" y="290"/>
                      <a:pt x="171" y="327"/>
                      <a:pt x="142" y="338"/>
                    </a:cubicBezTo>
                    <a:cubicBezTo>
                      <a:pt x="136" y="340"/>
                      <a:pt x="131" y="341"/>
                      <a:pt x="125" y="341"/>
                    </a:cubicBezTo>
                    <a:close/>
                    <a:moveTo>
                      <a:pt x="111" y="232"/>
                    </a:moveTo>
                    <a:cubicBezTo>
                      <a:pt x="108" y="232"/>
                      <a:pt x="106" y="232"/>
                      <a:pt x="103" y="233"/>
                    </a:cubicBezTo>
                    <a:cubicBezTo>
                      <a:pt x="96" y="236"/>
                      <a:pt x="91" y="242"/>
                      <a:pt x="88" y="251"/>
                    </a:cubicBezTo>
                    <a:cubicBezTo>
                      <a:pt x="84" y="261"/>
                      <a:pt x="85" y="273"/>
                      <a:pt x="89" y="284"/>
                    </a:cubicBezTo>
                    <a:cubicBezTo>
                      <a:pt x="97" y="306"/>
                      <a:pt x="117" y="320"/>
                      <a:pt x="133" y="314"/>
                    </a:cubicBezTo>
                    <a:cubicBezTo>
                      <a:pt x="149" y="308"/>
                      <a:pt x="155" y="285"/>
                      <a:pt x="147" y="263"/>
                    </a:cubicBezTo>
                    <a:cubicBezTo>
                      <a:pt x="141" y="244"/>
                      <a:pt x="125" y="232"/>
                      <a:pt x="111" y="232"/>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49" name="Rectangle 48">
                <a:extLst>
                  <a:ext uri="{FF2B5EF4-FFF2-40B4-BE49-F238E27FC236}">
                    <a16:creationId xmlns:a16="http://schemas.microsoft.com/office/drawing/2014/main" id="{5F3E4100-6593-2F06-F209-B338E64778F5}"/>
                  </a:ext>
                </a:extLst>
              </p:cNvPr>
              <p:cNvSpPr/>
              <p:nvPr/>
            </p:nvSpPr>
            <p:spPr>
              <a:xfrm>
                <a:off x="-426720" y="4640580"/>
                <a:ext cx="398145" cy="39814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pic>
          <p:nvPicPr>
            <p:cNvPr id="47" name="Graphic 46" descr="Snake outline">
              <a:extLst>
                <a:ext uri="{FF2B5EF4-FFF2-40B4-BE49-F238E27FC236}">
                  <a16:creationId xmlns:a16="http://schemas.microsoft.com/office/drawing/2014/main" id="{AFA8DF43-8FA7-BDF8-F2FB-F3B0054DF79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6846" y="4661628"/>
              <a:ext cx="357786" cy="357786"/>
            </a:xfrm>
            <a:prstGeom prst="rect">
              <a:avLst/>
            </a:prstGeom>
          </p:spPr>
        </p:pic>
      </p:grpSp>
      <p:sp>
        <p:nvSpPr>
          <p:cNvPr id="60" name="Google Shape;866;p77">
            <a:extLst>
              <a:ext uri="{FF2B5EF4-FFF2-40B4-BE49-F238E27FC236}">
                <a16:creationId xmlns:a16="http://schemas.microsoft.com/office/drawing/2014/main" id="{B2E30242-9244-A35E-C96C-EC7D96C868CC}"/>
              </a:ext>
            </a:extLst>
          </p:cNvPr>
          <p:cNvSpPr/>
          <p:nvPr/>
        </p:nvSpPr>
        <p:spPr>
          <a:xfrm>
            <a:off x="2925490" y="3876642"/>
            <a:ext cx="217760" cy="192082"/>
          </a:xfrm>
          <a:custGeom>
            <a:avLst/>
            <a:gdLst/>
            <a:ahLst/>
            <a:cxnLst/>
            <a:rect l="l" t="t" r="r" b="b"/>
            <a:pathLst>
              <a:path w="447798" h="394996" extrusionOk="0">
                <a:moveTo>
                  <a:pt x="223879" y="0"/>
                </a:moveTo>
                <a:cubicBezTo>
                  <a:pt x="214410" y="56"/>
                  <a:pt x="205689" y="5157"/>
                  <a:pt x="200988" y="13374"/>
                </a:cubicBezTo>
                <a:lnTo>
                  <a:pt x="3552" y="354937"/>
                </a:lnTo>
                <a:cubicBezTo>
                  <a:pt x="-3800" y="367751"/>
                  <a:pt x="627" y="384098"/>
                  <a:pt x="13440" y="391451"/>
                </a:cubicBezTo>
                <a:cubicBezTo>
                  <a:pt x="17511" y="393783"/>
                  <a:pt x="22124" y="395009"/>
                  <a:pt x="26817" y="394996"/>
                </a:cubicBezTo>
                <a:lnTo>
                  <a:pt x="421066" y="394996"/>
                </a:lnTo>
                <a:cubicBezTo>
                  <a:pt x="435804" y="395021"/>
                  <a:pt x="447773" y="383097"/>
                  <a:pt x="447799" y="368361"/>
                </a:cubicBezTo>
                <a:cubicBezTo>
                  <a:pt x="447808" y="363645"/>
                  <a:pt x="446568" y="359018"/>
                  <a:pt x="444206" y="354937"/>
                </a:cubicBezTo>
                <a:lnTo>
                  <a:pt x="247019" y="13374"/>
                </a:lnTo>
                <a:cubicBezTo>
                  <a:pt x="242293" y="5058"/>
                  <a:pt x="233444" y="-56"/>
                  <a:pt x="223879" y="0"/>
                </a:cubicBezTo>
                <a:close/>
                <a:moveTo>
                  <a:pt x="28932" y="367005"/>
                </a:moveTo>
                <a:lnTo>
                  <a:pt x="223879" y="29299"/>
                </a:lnTo>
                <a:lnTo>
                  <a:pt x="418702" y="367005"/>
                </a:lnTo>
                <a:close/>
                <a:moveTo>
                  <a:pt x="209883" y="161047"/>
                </a:moveTo>
                <a:lnTo>
                  <a:pt x="209883" y="235318"/>
                </a:lnTo>
                <a:cubicBezTo>
                  <a:pt x="209883" y="243050"/>
                  <a:pt x="216150" y="249314"/>
                  <a:pt x="223879" y="249314"/>
                </a:cubicBezTo>
                <a:cubicBezTo>
                  <a:pt x="231609" y="249314"/>
                  <a:pt x="237875" y="243050"/>
                  <a:pt x="237875" y="235318"/>
                </a:cubicBezTo>
                <a:lnTo>
                  <a:pt x="237875" y="161047"/>
                </a:lnTo>
                <a:cubicBezTo>
                  <a:pt x="237875" y="153315"/>
                  <a:pt x="231609" y="147051"/>
                  <a:pt x="223879" y="147051"/>
                </a:cubicBezTo>
                <a:cubicBezTo>
                  <a:pt x="216150" y="147051"/>
                  <a:pt x="209883" y="153315"/>
                  <a:pt x="209883" y="161047"/>
                </a:cubicBezTo>
                <a:close/>
                <a:moveTo>
                  <a:pt x="202916" y="308284"/>
                </a:moveTo>
                <a:cubicBezTo>
                  <a:pt x="202916" y="319897"/>
                  <a:pt x="212330" y="329309"/>
                  <a:pt x="223941" y="329309"/>
                </a:cubicBezTo>
                <a:cubicBezTo>
                  <a:pt x="235553" y="329309"/>
                  <a:pt x="244966" y="319897"/>
                  <a:pt x="244966" y="308284"/>
                </a:cubicBezTo>
                <a:cubicBezTo>
                  <a:pt x="244966" y="296670"/>
                  <a:pt x="235553" y="287259"/>
                  <a:pt x="223941" y="287259"/>
                </a:cubicBezTo>
                <a:cubicBezTo>
                  <a:pt x="223921" y="287259"/>
                  <a:pt x="223900" y="287259"/>
                  <a:pt x="223879" y="287259"/>
                </a:cubicBezTo>
                <a:cubicBezTo>
                  <a:pt x="212302" y="287259"/>
                  <a:pt x="202916" y="296645"/>
                  <a:pt x="202916" y="308222"/>
                </a:cubicBezTo>
                <a:cubicBezTo>
                  <a:pt x="202916" y="308240"/>
                  <a:pt x="202916" y="308265"/>
                  <a:pt x="202916" y="308284"/>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 name="Rectangle 1">
            <a:extLst>
              <a:ext uri="{FF2B5EF4-FFF2-40B4-BE49-F238E27FC236}">
                <a16:creationId xmlns:a16="http://schemas.microsoft.com/office/drawing/2014/main" id="{1E225718-E008-467A-5BFC-8A08C55E0544}"/>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sp>
        <p:nvSpPr>
          <p:cNvPr id="23" name="Content Placeholder 1">
            <a:extLst>
              <a:ext uri="{FF2B5EF4-FFF2-40B4-BE49-F238E27FC236}">
                <a16:creationId xmlns:a16="http://schemas.microsoft.com/office/drawing/2014/main" id="{C94987E4-3321-E634-AFBE-C194310190C1}"/>
              </a:ext>
            </a:extLst>
          </p:cNvPr>
          <p:cNvSpPr txBox="1">
            <a:spLocks/>
          </p:cNvSpPr>
          <p:nvPr/>
        </p:nvSpPr>
        <p:spPr>
          <a:xfrm>
            <a:off x="2966130" y="5130379"/>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2</a:t>
            </a:r>
          </a:p>
        </p:txBody>
      </p:sp>
      <p:sp>
        <p:nvSpPr>
          <p:cNvPr id="31" name="Content Placeholder 1">
            <a:extLst>
              <a:ext uri="{FF2B5EF4-FFF2-40B4-BE49-F238E27FC236}">
                <a16:creationId xmlns:a16="http://schemas.microsoft.com/office/drawing/2014/main" id="{BF893276-BB3C-9809-C4B8-56DD69C3B52F}"/>
              </a:ext>
            </a:extLst>
          </p:cNvPr>
          <p:cNvSpPr txBox="1">
            <a:spLocks/>
          </p:cNvSpPr>
          <p:nvPr/>
        </p:nvSpPr>
        <p:spPr>
          <a:xfrm>
            <a:off x="2966130" y="5588723"/>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3</a:t>
            </a:r>
          </a:p>
        </p:txBody>
      </p:sp>
      <p:sp>
        <p:nvSpPr>
          <p:cNvPr id="41" name="Content Placeholder 1">
            <a:extLst>
              <a:ext uri="{FF2B5EF4-FFF2-40B4-BE49-F238E27FC236}">
                <a16:creationId xmlns:a16="http://schemas.microsoft.com/office/drawing/2014/main" id="{D98DCC94-C3D2-F5CB-50E8-D61370EDE6DE}"/>
              </a:ext>
            </a:extLst>
          </p:cNvPr>
          <p:cNvSpPr txBox="1">
            <a:spLocks/>
          </p:cNvSpPr>
          <p:nvPr/>
        </p:nvSpPr>
        <p:spPr>
          <a:xfrm>
            <a:off x="2966130" y="4672035"/>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1</a:t>
            </a:r>
          </a:p>
        </p:txBody>
      </p:sp>
      <p:cxnSp>
        <p:nvCxnSpPr>
          <p:cNvPr id="42" name="Straight Connector 41">
            <a:extLst>
              <a:ext uri="{FF2B5EF4-FFF2-40B4-BE49-F238E27FC236}">
                <a16:creationId xmlns:a16="http://schemas.microsoft.com/office/drawing/2014/main" id="{965015A4-110C-E1BF-85B6-5CDC058B8A9F}"/>
              </a:ext>
            </a:extLst>
          </p:cNvPr>
          <p:cNvCxnSpPr>
            <a:cxnSpLocks/>
            <a:stCxn id="43" idx="4"/>
            <a:endCxn id="55" idx="3"/>
          </p:cNvCxnSpPr>
          <p:nvPr/>
        </p:nvCxnSpPr>
        <p:spPr>
          <a:xfrm>
            <a:off x="3388807" y="4960425"/>
            <a:ext cx="0" cy="861842"/>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43" name="Oval 42">
            <a:extLst>
              <a:ext uri="{FF2B5EF4-FFF2-40B4-BE49-F238E27FC236}">
                <a16:creationId xmlns:a16="http://schemas.microsoft.com/office/drawing/2014/main" id="{4D89D5AF-881D-F866-45E6-0B625E68355A}"/>
              </a:ext>
            </a:extLst>
          </p:cNvPr>
          <p:cNvSpPr/>
          <p:nvPr/>
        </p:nvSpPr>
        <p:spPr>
          <a:xfrm>
            <a:off x="3316417" y="4815645"/>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5" name="Isosceles Triangle 54">
            <a:extLst>
              <a:ext uri="{FF2B5EF4-FFF2-40B4-BE49-F238E27FC236}">
                <a16:creationId xmlns:a16="http://schemas.microsoft.com/office/drawing/2014/main" id="{0F96A860-3CA2-C106-0010-C8659C25EF10}"/>
              </a:ext>
            </a:extLst>
          </p:cNvPr>
          <p:cNvSpPr/>
          <p:nvPr/>
        </p:nvSpPr>
        <p:spPr>
          <a:xfrm flipV="1">
            <a:off x="3334038" y="5822267"/>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6" name="Isosceles Triangle 55">
            <a:extLst>
              <a:ext uri="{FF2B5EF4-FFF2-40B4-BE49-F238E27FC236}">
                <a16:creationId xmlns:a16="http://schemas.microsoft.com/office/drawing/2014/main" id="{1340AA0A-2A02-1D11-606F-F7CCFB7BBF13}"/>
              </a:ext>
            </a:extLst>
          </p:cNvPr>
          <p:cNvSpPr/>
          <p:nvPr/>
        </p:nvSpPr>
        <p:spPr>
          <a:xfrm flipV="1">
            <a:off x="3214976" y="510353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7" name="Isosceles Triangle 56">
            <a:extLst>
              <a:ext uri="{FF2B5EF4-FFF2-40B4-BE49-F238E27FC236}">
                <a16:creationId xmlns:a16="http://schemas.microsoft.com/office/drawing/2014/main" id="{5BDDD447-6115-2875-EB4D-441F8C7174F3}"/>
              </a:ext>
            </a:extLst>
          </p:cNvPr>
          <p:cNvSpPr/>
          <p:nvPr/>
        </p:nvSpPr>
        <p:spPr>
          <a:xfrm flipV="1">
            <a:off x="3214976" y="5561779"/>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63" name="TextBox 62">
            <a:extLst>
              <a:ext uri="{FF2B5EF4-FFF2-40B4-BE49-F238E27FC236}">
                <a16:creationId xmlns:a16="http://schemas.microsoft.com/office/drawing/2014/main" id="{20097FC8-71D3-3D2F-7B37-E72E308B2886}"/>
              </a:ext>
            </a:extLst>
          </p:cNvPr>
          <p:cNvSpPr txBox="1"/>
          <p:nvPr/>
        </p:nvSpPr>
        <p:spPr>
          <a:xfrm>
            <a:off x="3651137" y="4734147"/>
            <a:ext cx="3549251" cy="307777"/>
          </a:xfrm>
          <a:prstGeom prst="rect">
            <a:avLst/>
          </a:prstGeom>
          <a:noFill/>
        </p:spPr>
        <p:txBody>
          <a:bodyPr wrap="square">
            <a:spAutoFit/>
          </a:bodyPr>
          <a:lstStyle/>
          <a:p>
            <a:pPr lvl="0" hangingPunct="0">
              <a:buSzPts val="1200"/>
            </a:pPr>
            <a:r>
              <a:rPr lang="lv-LV" sz="1400">
                <a:ea typeface="Calibri" panose="020F0502020204030204" pitchFamily="34" charset="0"/>
                <a:cs typeface="Times New Roman" panose="02020603050405020304" pitchFamily="18" charset="0"/>
              </a:rPr>
              <a:t>Izsauciet Neatliekamo palīdzību.</a:t>
            </a:r>
          </a:p>
        </p:txBody>
      </p:sp>
      <p:sp>
        <p:nvSpPr>
          <p:cNvPr id="64" name="TextBox 63">
            <a:extLst>
              <a:ext uri="{FF2B5EF4-FFF2-40B4-BE49-F238E27FC236}">
                <a16:creationId xmlns:a16="http://schemas.microsoft.com/office/drawing/2014/main" id="{A09DB7FB-D3C4-A491-7629-EB3704B6FBE2}"/>
              </a:ext>
            </a:extLst>
          </p:cNvPr>
          <p:cNvSpPr txBox="1"/>
          <p:nvPr/>
        </p:nvSpPr>
        <p:spPr>
          <a:xfrm>
            <a:off x="3651137" y="5650835"/>
            <a:ext cx="3549650" cy="307777"/>
          </a:xfrm>
          <a:prstGeom prst="rect">
            <a:avLst/>
          </a:prstGeom>
          <a:noFill/>
        </p:spPr>
        <p:txBody>
          <a:bodyPr wrap="square">
            <a:noAutofit/>
          </a:bodyPr>
          <a:lstStyle/>
          <a:p>
            <a:pPr lvl="0" hangingPunct="0">
              <a:buSzPts val="1200"/>
            </a:pPr>
            <a:r>
              <a:rPr lang="lv-LV" sz="1400">
                <a:ea typeface="Calibri" panose="020F0502020204030204" pitchFamily="34" charset="0"/>
                <a:cs typeface="Times New Roman" panose="02020603050405020304" pitchFamily="18" charset="0"/>
              </a:rPr>
              <a:t>Aprūpējiet, nomieriniet cietušo.</a:t>
            </a:r>
            <a:endParaRPr lang="lv-LV" sz="1400">
              <a:effectLst/>
              <a:ea typeface="Calibri" panose="020F0502020204030204" pitchFamily="34" charset="0"/>
              <a:cs typeface="Times New Roman" panose="02020603050405020304" pitchFamily="18" charset="0"/>
            </a:endParaRPr>
          </a:p>
        </p:txBody>
      </p:sp>
      <p:sp>
        <p:nvSpPr>
          <p:cNvPr id="65" name="TextBox 64">
            <a:extLst>
              <a:ext uri="{FF2B5EF4-FFF2-40B4-BE49-F238E27FC236}">
                <a16:creationId xmlns:a16="http://schemas.microsoft.com/office/drawing/2014/main" id="{293C68F3-9D28-7611-BCD6-FEA45BDD8E56}"/>
              </a:ext>
            </a:extLst>
          </p:cNvPr>
          <p:cNvSpPr txBox="1"/>
          <p:nvPr/>
        </p:nvSpPr>
        <p:spPr>
          <a:xfrm>
            <a:off x="3651137" y="5066616"/>
            <a:ext cx="3549650" cy="523220"/>
          </a:xfrm>
          <a:prstGeom prst="rect">
            <a:avLst/>
          </a:prstGeom>
          <a:noFill/>
        </p:spPr>
        <p:txBody>
          <a:bodyPr wrap="square">
            <a:spAutoFit/>
          </a:bodyPr>
          <a:lstStyle/>
          <a:p>
            <a:pPr lvl="0" hangingPunct="0">
              <a:buSzPts val="1200"/>
            </a:pPr>
            <a:r>
              <a:rPr lang="lv-LV" sz="1400">
                <a:effectLst/>
                <a:ea typeface="Calibri" panose="020F0502020204030204" pitchFamily="34" charset="0"/>
                <a:cs typeface="Times New Roman" panose="02020603050405020304" pitchFamily="18" charset="0"/>
              </a:rPr>
              <a:t>Centieties nekustināt sakosto </a:t>
            </a:r>
            <a:endParaRPr lang="en-US" sz="1400">
              <a:effectLst/>
              <a:ea typeface="Calibri" panose="020F0502020204030204" pitchFamily="34" charset="0"/>
              <a:cs typeface="Times New Roman" panose="02020603050405020304" pitchFamily="18" charset="0"/>
            </a:endParaRPr>
          </a:p>
          <a:p>
            <a:pPr lvl="0" hangingPunct="0">
              <a:buSzPts val="1200"/>
            </a:pPr>
            <a:r>
              <a:rPr lang="lv-LV" sz="1400">
                <a:effectLst/>
                <a:ea typeface="Calibri" panose="020F0502020204030204" pitchFamily="34" charset="0"/>
                <a:cs typeface="Times New Roman" panose="02020603050405020304" pitchFamily="18" charset="0"/>
              </a:rPr>
              <a:t>ķermeņa daļu.</a:t>
            </a:r>
          </a:p>
        </p:txBody>
      </p:sp>
      <p:grpSp>
        <p:nvGrpSpPr>
          <p:cNvPr id="35" name="Group 34">
            <a:extLst>
              <a:ext uri="{FF2B5EF4-FFF2-40B4-BE49-F238E27FC236}">
                <a16:creationId xmlns:a16="http://schemas.microsoft.com/office/drawing/2014/main" id="{DE754E08-BB00-B980-A307-12C13C90E8DB}"/>
              </a:ext>
            </a:extLst>
          </p:cNvPr>
          <p:cNvGrpSpPr/>
          <p:nvPr/>
        </p:nvGrpSpPr>
        <p:grpSpPr>
          <a:xfrm>
            <a:off x="9842140" y="372215"/>
            <a:ext cx="1667215" cy="313259"/>
            <a:chOff x="9842140" y="372215"/>
            <a:chExt cx="1667215" cy="313259"/>
          </a:xfrm>
        </p:grpSpPr>
        <p:sp>
          <p:nvSpPr>
            <p:cNvPr id="33" name="TextBox 32">
              <a:extLst>
                <a:ext uri="{FF2B5EF4-FFF2-40B4-BE49-F238E27FC236}">
                  <a16:creationId xmlns:a16="http://schemas.microsoft.com/office/drawing/2014/main" id="{312D369A-CC40-B8F5-631A-A9E34C7452EE}"/>
                </a:ext>
              </a:extLst>
            </p:cNvPr>
            <p:cNvSpPr txBox="1"/>
            <p:nvPr/>
          </p:nvSpPr>
          <p:spPr>
            <a:xfrm>
              <a:off x="9842140" y="372215"/>
              <a:ext cx="1667215" cy="313259"/>
            </a:xfrm>
            <a:prstGeom prst="rect">
              <a:avLst/>
            </a:prstGeom>
            <a:solidFill>
              <a:schemeClr val="accent3"/>
            </a:solidFill>
            <a:ln>
              <a:noFill/>
            </a:ln>
          </p:spPr>
          <p:txBody>
            <a:bodyPr wrap="square" lIns="144000" tIns="0" rIns="0" bIns="0" rtlCol="0" anchor="ctr">
              <a:noAutofit/>
            </a:bodyPr>
            <a:lstStyle/>
            <a:p>
              <a:pPr algn="ctr">
                <a:lnSpc>
                  <a:spcPct val="100000"/>
                </a:lnSpc>
                <a:buSzPct val="100000"/>
              </a:pPr>
              <a:r>
                <a:rPr lang="lv-LV" sz="800">
                  <a:solidFill>
                    <a:schemeClr val="bg1"/>
                  </a:solidFill>
                </a:rPr>
                <a:t>Dzīvnieku izraisīti </a:t>
              </a:r>
              <a:endParaRPr lang="en-US" sz="800">
                <a:solidFill>
                  <a:schemeClr val="bg1"/>
                </a:solidFill>
              </a:endParaRPr>
            </a:p>
            <a:p>
              <a:pPr algn="ctr">
                <a:lnSpc>
                  <a:spcPct val="100000"/>
                </a:lnSpc>
                <a:buSzPct val="100000"/>
              </a:pPr>
              <a:r>
                <a:rPr lang="lv-LV" sz="800">
                  <a:solidFill>
                    <a:schemeClr val="bg1"/>
                  </a:solidFill>
                </a:rPr>
                <a:t>nelaimes gadījumi</a:t>
              </a:r>
            </a:p>
          </p:txBody>
        </p:sp>
        <p:sp>
          <p:nvSpPr>
            <p:cNvPr id="34" name="Freeform 49">
              <a:extLst>
                <a:ext uri="{FF2B5EF4-FFF2-40B4-BE49-F238E27FC236}">
                  <a16:creationId xmlns:a16="http://schemas.microsoft.com/office/drawing/2014/main" id="{D3CC88FF-6286-C940-EE45-65706753B659}"/>
                </a:ext>
              </a:extLst>
            </p:cNvPr>
            <p:cNvSpPr>
              <a:spLocks noChangeAspect="1"/>
            </p:cNvSpPr>
            <p:nvPr/>
          </p:nvSpPr>
          <p:spPr bwMode="auto">
            <a:xfrm>
              <a:off x="9897382" y="476606"/>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30" name="Group 29">
            <a:extLst>
              <a:ext uri="{FF2B5EF4-FFF2-40B4-BE49-F238E27FC236}">
                <a16:creationId xmlns:a16="http://schemas.microsoft.com/office/drawing/2014/main" id="{7BBA1A08-09E5-8D6D-9A4D-BA719D524B8A}"/>
              </a:ext>
            </a:extLst>
          </p:cNvPr>
          <p:cNvGrpSpPr/>
          <p:nvPr/>
        </p:nvGrpSpPr>
        <p:grpSpPr>
          <a:xfrm>
            <a:off x="9122935" y="126781"/>
            <a:ext cx="2626153" cy="217488"/>
            <a:chOff x="9122935" y="126781"/>
            <a:chExt cx="2626153" cy="217488"/>
          </a:xfrm>
        </p:grpSpPr>
        <p:sp>
          <p:nvSpPr>
            <p:cNvPr id="32" name="Rectangle 31">
              <a:extLst>
                <a:ext uri="{FF2B5EF4-FFF2-40B4-BE49-F238E27FC236}">
                  <a16:creationId xmlns:a16="http://schemas.microsoft.com/office/drawing/2014/main" id="{713DA2F0-DF34-3BA0-EEE6-C18313FBF93E}"/>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40" name="Rectangle 39">
              <a:extLst>
                <a:ext uri="{FF2B5EF4-FFF2-40B4-BE49-F238E27FC236}">
                  <a16:creationId xmlns:a16="http://schemas.microsoft.com/office/drawing/2014/main" id="{DEA87F17-3718-B70A-92A6-0615B778444A}"/>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44" name="Rectangle 43">
              <a:extLst>
                <a:ext uri="{FF2B5EF4-FFF2-40B4-BE49-F238E27FC236}">
                  <a16:creationId xmlns:a16="http://schemas.microsoft.com/office/drawing/2014/main" id="{933EE748-5B97-DEF6-C394-71DFC5B91965}"/>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45" name="Rectangle 44">
              <a:extLst>
                <a:ext uri="{FF2B5EF4-FFF2-40B4-BE49-F238E27FC236}">
                  <a16:creationId xmlns:a16="http://schemas.microsoft.com/office/drawing/2014/main" id="{A156B9C3-AB03-215D-B392-08FCED2FAA89}"/>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51" name="Rectangle 50">
              <a:extLst>
                <a:ext uri="{FF2B5EF4-FFF2-40B4-BE49-F238E27FC236}">
                  <a16:creationId xmlns:a16="http://schemas.microsoft.com/office/drawing/2014/main" id="{396B2A41-A32B-3767-D397-8F137853D52C}"/>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53" name="Rectangle 52">
              <a:extLst>
                <a:ext uri="{FF2B5EF4-FFF2-40B4-BE49-F238E27FC236}">
                  <a16:creationId xmlns:a16="http://schemas.microsoft.com/office/drawing/2014/main" id="{DEE7AE8F-5214-D020-3F9B-7617EAE6D1C7}"/>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5581005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9E6BB6A-4571-FBF8-9A7D-06ADE4374D4D}"/>
              </a:ext>
            </a:extLst>
          </p:cNvPr>
          <p:cNvGraphicFramePr>
            <a:graphicFrameLocks noChangeAspect="1"/>
          </p:cNvGraphicFramePr>
          <p:nvPr>
            <p:custDataLst>
              <p:tags r:id="rId1"/>
            </p:custDataLst>
            <p:extLst>
              <p:ext uri="{D42A27DB-BD31-4B8C-83A1-F6EECF244321}">
                <p14:modId xmlns:p14="http://schemas.microsoft.com/office/powerpoint/2010/main" val="2997923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D9E6BB6A-4571-FBF8-9A7D-06ADE4374D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0D92C7FE-84BE-3BA1-61C0-95EF809D6C49}"/>
              </a:ext>
            </a:extLst>
          </p:cNvPr>
          <p:cNvSpPr/>
          <p:nvPr/>
        </p:nvSpPr>
        <p:spPr>
          <a:xfrm>
            <a:off x="2651760" y="2630366"/>
            <a:ext cx="9097328" cy="354183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14" name="Rectangle 13">
            <a:extLst>
              <a:ext uri="{FF2B5EF4-FFF2-40B4-BE49-F238E27FC236}">
                <a16:creationId xmlns:a16="http://schemas.microsoft.com/office/drawing/2014/main" id="{11EF33B5-B97B-2A58-F711-22984259ED65}"/>
              </a:ext>
            </a:extLst>
          </p:cNvPr>
          <p:cNvSpPr/>
          <p:nvPr/>
        </p:nvSpPr>
        <p:spPr>
          <a:xfrm>
            <a:off x="2847530" y="2419349"/>
            <a:ext cx="8901558"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15" name="Rectangle 14">
            <a:extLst>
              <a:ext uri="{FF2B5EF4-FFF2-40B4-BE49-F238E27FC236}">
                <a16:creationId xmlns:a16="http://schemas.microsoft.com/office/drawing/2014/main" id="{33BCE1C2-7CC5-B888-833A-087CA2AEEEDC}"/>
              </a:ext>
            </a:extLst>
          </p:cNvPr>
          <p:cNvSpPr/>
          <p:nvPr/>
        </p:nvSpPr>
        <p:spPr>
          <a:xfrm>
            <a:off x="2847530" y="1830995"/>
            <a:ext cx="8901427"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grpSp>
        <p:nvGrpSpPr>
          <p:cNvPr id="20" name="Group 19">
            <a:extLst>
              <a:ext uri="{FF2B5EF4-FFF2-40B4-BE49-F238E27FC236}">
                <a16:creationId xmlns:a16="http://schemas.microsoft.com/office/drawing/2014/main" id="{78FA2CB3-16CD-B6C3-DD78-919997C14242}"/>
              </a:ext>
            </a:extLst>
          </p:cNvPr>
          <p:cNvGrpSpPr/>
          <p:nvPr/>
        </p:nvGrpSpPr>
        <p:grpSpPr>
          <a:xfrm>
            <a:off x="11101569" y="1830995"/>
            <a:ext cx="647388" cy="576000"/>
            <a:chOff x="6553003" y="1830995"/>
            <a:chExt cx="647388" cy="576000"/>
          </a:xfrm>
        </p:grpSpPr>
        <p:sp>
          <p:nvSpPr>
            <p:cNvPr id="17" name="Content Placeholder 1">
              <a:extLst>
                <a:ext uri="{FF2B5EF4-FFF2-40B4-BE49-F238E27FC236}">
                  <a16:creationId xmlns:a16="http://schemas.microsoft.com/office/drawing/2014/main" id="{5F2DE715-FA6F-6E45-9FFA-2E7486865B08}"/>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8" name="Content Placeholder 1">
              <a:extLst>
                <a:ext uri="{FF2B5EF4-FFF2-40B4-BE49-F238E27FC236}">
                  <a16:creationId xmlns:a16="http://schemas.microsoft.com/office/drawing/2014/main" id="{7F6B9350-8C4F-16C2-68C3-04C074E465CD}"/>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9" name="Google Shape;760;p79">
              <a:extLst>
                <a:ext uri="{FF2B5EF4-FFF2-40B4-BE49-F238E27FC236}">
                  <a16:creationId xmlns:a16="http://schemas.microsoft.com/office/drawing/2014/main" id="{0C32969B-04D5-8343-4A7B-B432C6962BCE}"/>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sp>
        <p:nvSpPr>
          <p:cNvPr id="36" name="Rectangle 35">
            <a:extLst>
              <a:ext uri="{FF2B5EF4-FFF2-40B4-BE49-F238E27FC236}">
                <a16:creationId xmlns:a16="http://schemas.microsoft.com/office/drawing/2014/main" id="{A8F39C25-781C-A7DA-387A-D92FCABEE1F5}"/>
              </a:ext>
            </a:extLst>
          </p:cNvPr>
          <p:cNvSpPr/>
          <p:nvPr/>
        </p:nvSpPr>
        <p:spPr>
          <a:xfrm>
            <a:off x="442912" y="2630488"/>
            <a:ext cx="2208847" cy="3541834"/>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r>
              <a:rPr lang="lv-LV" sz="1400" b="1"/>
              <a:t>Insekta dzēliens </a:t>
            </a:r>
            <a:endParaRPr lang="en-US" sz="1400" b="1"/>
          </a:p>
          <a:p>
            <a:r>
              <a:rPr lang="lv-LV" sz="1400" b="1"/>
              <a:t>mutes dobumā </a:t>
            </a:r>
          </a:p>
        </p:txBody>
      </p:sp>
      <p:sp>
        <p:nvSpPr>
          <p:cNvPr id="38" name="Content Placeholder 1">
            <a:extLst>
              <a:ext uri="{FF2B5EF4-FFF2-40B4-BE49-F238E27FC236}">
                <a16:creationId xmlns:a16="http://schemas.microsoft.com/office/drawing/2014/main" id="{7B1F3CCD-2DE1-C2A8-D340-EAF5B3993679}"/>
              </a:ext>
            </a:extLst>
          </p:cNvPr>
          <p:cNvSpPr txBox="1">
            <a:spLocks/>
          </p:cNvSpPr>
          <p:nvPr/>
        </p:nvSpPr>
        <p:spPr>
          <a:xfrm>
            <a:off x="2579759" y="2630488"/>
            <a:ext cx="71997" cy="3541834"/>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a:lstStyle/>
          <a:p>
            <a:r>
              <a:rPr lang="lv-LV"/>
              <a:t>Kā rīkoties dzīvnieku izraisītā </a:t>
            </a:r>
            <a:br>
              <a:rPr lang="en-US"/>
            </a:br>
            <a:r>
              <a:rPr lang="lv-LV"/>
              <a:t>nelaimes gadījum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37</a:t>
            </a:fld>
            <a:endParaRPr lang="en-GB"/>
          </a:p>
        </p:txBody>
      </p:sp>
      <p:sp>
        <p:nvSpPr>
          <p:cNvPr id="16" name="TextBox 15">
            <a:extLst>
              <a:ext uri="{FF2B5EF4-FFF2-40B4-BE49-F238E27FC236}">
                <a16:creationId xmlns:a16="http://schemas.microsoft.com/office/drawing/2014/main" id="{30819613-CE74-49B6-0807-44FDBB81D466}"/>
              </a:ext>
            </a:extLst>
          </p:cNvPr>
          <p:cNvSpPr txBox="1"/>
          <p:nvPr/>
        </p:nvSpPr>
        <p:spPr>
          <a:xfrm>
            <a:off x="2847975" y="2630488"/>
            <a:ext cx="8901558" cy="3541712"/>
          </a:xfrm>
          <a:prstGeom prst="rect">
            <a:avLst/>
          </a:prstGeom>
          <a:noFill/>
        </p:spPr>
        <p:txBody>
          <a:bodyPr wrap="square" lIns="72000" rIns="72000" anchor="ctr">
            <a:noAutofit/>
          </a:bodyPr>
          <a:lstStyle/>
          <a:p>
            <a:pPr marL="342900" lvl="0" indent="-342900" hangingPunct="0">
              <a:spcAft>
                <a:spcPts val="600"/>
              </a:spcAft>
              <a:buSzPts val="1200"/>
              <a:buFont typeface="+mj-lt"/>
              <a:buAutoNum type="arabicPeriod"/>
            </a:pPr>
            <a:endParaRPr lang="lv-LV" sz="1600" b="1">
              <a:solidFill>
                <a:schemeClr val="accent2"/>
              </a:solidFill>
              <a:effectLst/>
              <a:ea typeface="Times New Roman" panose="02020603050405020304" pitchFamily="18" charset="0"/>
            </a:endParaRPr>
          </a:p>
        </p:txBody>
      </p:sp>
      <p:grpSp>
        <p:nvGrpSpPr>
          <p:cNvPr id="39" name="Group 38">
            <a:extLst>
              <a:ext uri="{FF2B5EF4-FFF2-40B4-BE49-F238E27FC236}">
                <a16:creationId xmlns:a16="http://schemas.microsoft.com/office/drawing/2014/main" id="{519A8B8C-D859-24CF-238A-710D6B2C4D35}"/>
              </a:ext>
            </a:extLst>
          </p:cNvPr>
          <p:cNvGrpSpPr/>
          <p:nvPr/>
        </p:nvGrpSpPr>
        <p:grpSpPr>
          <a:xfrm>
            <a:off x="2023691" y="5642770"/>
            <a:ext cx="360363" cy="360363"/>
            <a:chOff x="2023691" y="5642770"/>
            <a:chExt cx="360363" cy="360363"/>
          </a:xfrm>
        </p:grpSpPr>
        <p:grpSp>
          <p:nvGrpSpPr>
            <p:cNvPr id="30" name="Group 29">
              <a:extLst>
                <a:ext uri="{FF2B5EF4-FFF2-40B4-BE49-F238E27FC236}">
                  <a16:creationId xmlns:a16="http://schemas.microsoft.com/office/drawing/2014/main" id="{E6A65197-8152-A6D9-2D38-D8A76D8E62A3}"/>
                </a:ext>
              </a:extLst>
            </p:cNvPr>
            <p:cNvGrpSpPr/>
            <p:nvPr/>
          </p:nvGrpSpPr>
          <p:grpSpPr>
            <a:xfrm>
              <a:off x="2023691" y="5642770"/>
              <a:ext cx="360363" cy="360363"/>
              <a:chOff x="-455905" y="4611921"/>
              <a:chExt cx="455905" cy="457200"/>
            </a:xfrm>
          </p:grpSpPr>
          <p:sp>
            <p:nvSpPr>
              <p:cNvPr id="33" name="Google Shape;616;p77">
                <a:extLst>
                  <a:ext uri="{FF2B5EF4-FFF2-40B4-BE49-F238E27FC236}">
                    <a16:creationId xmlns:a16="http://schemas.microsoft.com/office/drawing/2014/main" id="{B506211A-ECD1-0836-E9FB-F8B570D6B234}"/>
                  </a:ext>
                </a:extLst>
              </p:cNvPr>
              <p:cNvSpPr/>
              <p:nvPr/>
            </p:nvSpPr>
            <p:spPr>
              <a:xfrm>
                <a:off x="-455905" y="4611921"/>
                <a:ext cx="455905" cy="4572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5"/>
                      <a:pt x="25" y="25"/>
                      <a:pt x="25" y="25"/>
                    </a:cubicBezTo>
                    <a:cubicBezTo>
                      <a:pt x="552" y="25"/>
                      <a:pt x="552" y="25"/>
                      <a:pt x="552" y="25"/>
                    </a:cubicBezTo>
                    <a:lnTo>
                      <a:pt x="552" y="551"/>
                    </a:lnTo>
                    <a:close/>
                    <a:moveTo>
                      <a:pt x="395" y="491"/>
                    </a:moveTo>
                    <a:cubicBezTo>
                      <a:pt x="378" y="491"/>
                      <a:pt x="362" y="487"/>
                      <a:pt x="345" y="482"/>
                    </a:cubicBezTo>
                    <a:cubicBezTo>
                      <a:pt x="326" y="477"/>
                      <a:pt x="307" y="472"/>
                      <a:pt x="285" y="472"/>
                    </a:cubicBezTo>
                    <a:cubicBezTo>
                      <a:pt x="264" y="472"/>
                      <a:pt x="245" y="477"/>
                      <a:pt x="226" y="482"/>
                    </a:cubicBezTo>
                    <a:cubicBezTo>
                      <a:pt x="206" y="487"/>
                      <a:pt x="188" y="492"/>
                      <a:pt x="168" y="491"/>
                    </a:cubicBezTo>
                    <a:cubicBezTo>
                      <a:pt x="152" y="489"/>
                      <a:pt x="138" y="473"/>
                      <a:pt x="130" y="446"/>
                    </a:cubicBezTo>
                    <a:cubicBezTo>
                      <a:pt x="122" y="418"/>
                      <a:pt x="122" y="384"/>
                      <a:pt x="141" y="370"/>
                    </a:cubicBezTo>
                    <a:cubicBezTo>
                      <a:pt x="150" y="364"/>
                      <a:pt x="157" y="360"/>
                      <a:pt x="164" y="356"/>
                    </a:cubicBezTo>
                    <a:cubicBezTo>
                      <a:pt x="174" y="351"/>
                      <a:pt x="181" y="348"/>
                      <a:pt x="189" y="336"/>
                    </a:cubicBezTo>
                    <a:cubicBezTo>
                      <a:pt x="192" y="332"/>
                      <a:pt x="195" y="325"/>
                      <a:pt x="198" y="319"/>
                    </a:cubicBezTo>
                    <a:cubicBezTo>
                      <a:pt x="210" y="292"/>
                      <a:pt x="229" y="251"/>
                      <a:pt x="285" y="251"/>
                    </a:cubicBezTo>
                    <a:cubicBezTo>
                      <a:pt x="342" y="251"/>
                      <a:pt x="361" y="292"/>
                      <a:pt x="373" y="319"/>
                    </a:cubicBezTo>
                    <a:cubicBezTo>
                      <a:pt x="376" y="325"/>
                      <a:pt x="379" y="332"/>
                      <a:pt x="382" y="336"/>
                    </a:cubicBezTo>
                    <a:cubicBezTo>
                      <a:pt x="390" y="348"/>
                      <a:pt x="396" y="351"/>
                      <a:pt x="407" y="356"/>
                    </a:cubicBezTo>
                    <a:cubicBezTo>
                      <a:pt x="414" y="360"/>
                      <a:pt x="421" y="364"/>
                      <a:pt x="430" y="370"/>
                    </a:cubicBezTo>
                    <a:cubicBezTo>
                      <a:pt x="449" y="384"/>
                      <a:pt x="449" y="418"/>
                      <a:pt x="441" y="446"/>
                    </a:cubicBezTo>
                    <a:cubicBezTo>
                      <a:pt x="433" y="473"/>
                      <a:pt x="419" y="489"/>
                      <a:pt x="402" y="491"/>
                    </a:cubicBezTo>
                    <a:cubicBezTo>
                      <a:pt x="400" y="491"/>
                      <a:pt x="398" y="491"/>
                      <a:pt x="395" y="491"/>
                    </a:cubicBezTo>
                    <a:close/>
                    <a:moveTo>
                      <a:pt x="285" y="447"/>
                    </a:moveTo>
                    <a:cubicBezTo>
                      <a:pt x="310" y="447"/>
                      <a:pt x="332" y="452"/>
                      <a:pt x="351" y="457"/>
                    </a:cubicBezTo>
                    <a:cubicBezTo>
                      <a:pt x="369" y="462"/>
                      <a:pt x="385" y="466"/>
                      <a:pt x="400" y="465"/>
                    </a:cubicBezTo>
                    <a:cubicBezTo>
                      <a:pt x="403" y="465"/>
                      <a:pt x="411" y="457"/>
                      <a:pt x="416" y="439"/>
                    </a:cubicBezTo>
                    <a:cubicBezTo>
                      <a:pt x="423" y="415"/>
                      <a:pt x="420" y="394"/>
                      <a:pt x="415" y="391"/>
                    </a:cubicBezTo>
                    <a:cubicBezTo>
                      <a:pt x="408" y="385"/>
                      <a:pt x="401" y="382"/>
                      <a:pt x="395" y="379"/>
                    </a:cubicBezTo>
                    <a:cubicBezTo>
                      <a:pt x="384" y="373"/>
                      <a:pt x="372" y="368"/>
                      <a:pt x="360" y="350"/>
                    </a:cubicBezTo>
                    <a:cubicBezTo>
                      <a:pt x="356" y="344"/>
                      <a:pt x="353" y="337"/>
                      <a:pt x="350" y="329"/>
                    </a:cubicBezTo>
                    <a:cubicBezTo>
                      <a:pt x="338" y="303"/>
                      <a:pt x="325" y="276"/>
                      <a:pt x="285" y="276"/>
                    </a:cubicBezTo>
                    <a:cubicBezTo>
                      <a:pt x="245" y="276"/>
                      <a:pt x="233" y="303"/>
                      <a:pt x="221" y="329"/>
                    </a:cubicBezTo>
                    <a:cubicBezTo>
                      <a:pt x="218" y="337"/>
                      <a:pt x="214" y="344"/>
                      <a:pt x="210" y="350"/>
                    </a:cubicBezTo>
                    <a:cubicBezTo>
                      <a:pt x="199" y="368"/>
                      <a:pt x="187" y="373"/>
                      <a:pt x="175" y="379"/>
                    </a:cubicBezTo>
                    <a:cubicBezTo>
                      <a:pt x="169" y="382"/>
                      <a:pt x="163" y="385"/>
                      <a:pt x="156" y="391"/>
                    </a:cubicBezTo>
                    <a:cubicBezTo>
                      <a:pt x="151" y="394"/>
                      <a:pt x="148" y="415"/>
                      <a:pt x="155" y="439"/>
                    </a:cubicBezTo>
                    <a:cubicBezTo>
                      <a:pt x="160" y="457"/>
                      <a:pt x="167" y="465"/>
                      <a:pt x="170" y="465"/>
                    </a:cubicBezTo>
                    <a:cubicBezTo>
                      <a:pt x="185" y="466"/>
                      <a:pt x="201" y="462"/>
                      <a:pt x="220" y="457"/>
                    </a:cubicBezTo>
                    <a:cubicBezTo>
                      <a:pt x="239" y="452"/>
                      <a:pt x="261" y="447"/>
                      <a:pt x="285" y="447"/>
                    </a:cubicBezTo>
                    <a:close/>
                    <a:moveTo>
                      <a:pt x="354" y="239"/>
                    </a:moveTo>
                    <a:cubicBezTo>
                      <a:pt x="351" y="239"/>
                      <a:pt x="348" y="238"/>
                      <a:pt x="346" y="238"/>
                    </a:cubicBezTo>
                    <a:cubicBezTo>
                      <a:pt x="329" y="235"/>
                      <a:pt x="314" y="223"/>
                      <a:pt x="306" y="205"/>
                    </a:cubicBezTo>
                    <a:cubicBezTo>
                      <a:pt x="298" y="188"/>
                      <a:pt x="295" y="168"/>
                      <a:pt x="299" y="147"/>
                    </a:cubicBezTo>
                    <a:cubicBezTo>
                      <a:pt x="303" y="127"/>
                      <a:pt x="312" y="108"/>
                      <a:pt x="325" y="95"/>
                    </a:cubicBezTo>
                    <a:cubicBezTo>
                      <a:pt x="340" y="81"/>
                      <a:pt x="357" y="75"/>
                      <a:pt x="374" y="78"/>
                    </a:cubicBezTo>
                    <a:cubicBezTo>
                      <a:pt x="391" y="81"/>
                      <a:pt x="405" y="93"/>
                      <a:pt x="414" y="111"/>
                    </a:cubicBezTo>
                    <a:cubicBezTo>
                      <a:pt x="422" y="128"/>
                      <a:pt x="424" y="148"/>
                      <a:pt x="420" y="169"/>
                    </a:cubicBezTo>
                    <a:cubicBezTo>
                      <a:pt x="420" y="169"/>
                      <a:pt x="420" y="169"/>
                      <a:pt x="420" y="169"/>
                    </a:cubicBezTo>
                    <a:cubicBezTo>
                      <a:pt x="413" y="210"/>
                      <a:pt x="385" y="239"/>
                      <a:pt x="354" y="239"/>
                    </a:cubicBezTo>
                    <a:close/>
                    <a:moveTo>
                      <a:pt x="365" y="103"/>
                    </a:moveTo>
                    <a:cubicBezTo>
                      <a:pt x="358" y="103"/>
                      <a:pt x="350" y="107"/>
                      <a:pt x="343" y="113"/>
                    </a:cubicBezTo>
                    <a:cubicBezTo>
                      <a:pt x="334" y="123"/>
                      <a:pt x="327" y="136"/>
                      <a:pt x="324" y="152"/>
                    </a:cubicBezTo>
                    <a:cubicBezTo>
                      <a:pt x="322" y="167"/>
                      <a:pt x="323" y="182"/>
                      <a:pt x="329" y="194"/>
                    </a:cubicBezTo>
                    <a:cubicBezTo>
                      <a:pt x="334" y="205"/>
                      <a:pt x="341" y="211"/>
                      <a:pt x="350" y="213"/>
                    </a:cubicBezTo>
                    <a:cubicBezTo>
                      <a:pt x="369" y="216"/>
                      <a:pt x="390" y="194"/>
                      <a:pt x="395" y="164"/>
                    </a:cubicBezTo>
                    <a:cubicBezTo>
                      <a:pt x="398" y="149"/>
                      <a:pt x="396" y="134"/>
                      <a:pt x="391" y="122"/>
                    </a:cubicBezTo>
                    <a:cubicBezTo>
                      <a:pt x="386" y="111"/>
                      <a:pt x="378" y="105"/>
                      <a:pt x="369" y="103"/>
                    </a:cubicBezTo>
                    <a:cubicBezTo>
                      <a:pt x="368" y="103"/>
                      <a:pt x="367" y="103"/>
                      <a:pt x="365" y="103"/>
                    </a:cubicBezTo>
                    <a:close/>
                    <a:moveTo>
                      <a:pt x="217" y="239"/>
                    </a:moveTo>
                    <a:cubicBezTo>
                      <a:pt x="186" y="239"/>
                      <a:pt x="158" y="210"/>
                      <a:pt x="150" y="169"/>
                    </a:cubicBezTo>
                    <a:cubicBezTo>
                      <a:pt x="147" y="148"/>
                      <a:pt x="149" y="128"/>
                      <a:pt x="157" y="111"/>
                    </a:cubicBezTo>
                    <a:cubicBezTo>
                      <a:pt x="166" y="93"/>
                      <a:pt x="180" y="81"/>
                      <a:pt x="197" y="78"/>
                    </a:cubicBezTo>
                    <a:cubicBezTo>
                      <a:pt x="214" y="75"/>
                      <a:pt x="231" y="81"/>
                      <a:pt x="246" y="95"/>
                    </a:cubicBezTo>
                    <a:cubicBezTo>
                      <a:pt x="259" y="108"/>
                      <a:pt x="268" y="127"/>
                      <a:pt x="272" y="147"/>
                    </a:cubicBezTo>
                    <a:cubicBezTo>
                      <a:pt x="275" y="168"/>
                      <a:pt x="273" y="188"/>
                      <a:pt x="265" y="205"/>
                    </a:cubicBezTo>
                    <a:cubicBezTo>
                      <a:pt x="256" y="223"/>
                      <a:pt x="242" y="235"/>
                      <a:pt x="225" y="238"/>
                    </a:cubicBezTo>
                    <a:cubicBezTo>
                      <a:pt x="222" y="238"/>
                      <a:pt x="219" y="239"/>
                      <a:pt x="217" y="239"/>
                    </a:cubicBezTo>
                    <a:close/>
                    <a:moveTo>
                      <a:pt x="205" y="103"/>
                    </a:moveTo>
                    <a:cubicBezTo>
                      <a:pt x="204" y="103"/>
                      <a:pt x="203" y="103"/>
                      <a:pt x="201" y="103"/>
                    </a:cubicBezTo>
                    <a:cubicBezTo>
                      <a:pt x="193" y="105"/>
                      <a:pt x="185" y="111"/>
                      <a:pt x="180" y="122"/>
                    </a:cubicBezTo>
                    <a:cubicBezTo>
                      <a:pt x="175" y="134"/>
                      <a:pt x="173" y="149"/>
                      <a:pt x="176" y="164"/>
                    </a:cubicBezTo>
                    <a:cubicBezTo>
                      <a:pt x="181" y="194"/>
                      <a:pt x="202" y="216"/>
                      <a:pt x="221" y="213"/>
                    </a:cubicBezTo>
                    <a:cubicBezTo>
                      <a:pt x="229" y="211"/>
                      <a:pt x="237" y="205"/>
                      <a:pt x="242" y="194"/>
                    </a:cubicBezTo>
                    <a:cubicBezTo>
                      <a:pt x="248" y="182"/>
                      <a:pt x="249" y="167"/>
                      <a:pt x="246" y="152"/>
                    </a:cubicBezTo>
                    <a:cubicBezTo>
                      <a:pt x="244" y="136"/>
                      <a:pt x="237" y="123"/>
                      <a:pt x="228" y="113"/>
                    </a:cubicBezTo>
                    <a:cubicBezTo>
                      <a:pt x="221" y="107"/>
                      <a:pt x="213" y="103"/>
                      <a:pt x="205" y="103"/>
                    </a:cubicBezTo>
                    <a:close/>
                    <a:moveTo>
                      <a:pt x="445" y="341"/>
                    </a:moveTo>
                    <a:cubicBezTo>
                      <a:pt x="440" y="341"/>
                      <a:pt x="434" y="340"/>
                      <a:pt x="429" y="338"/>
                    </a:cubicBezTo>
                    <a:cubicBezTo>
                      <a:pt x="400" y="327"/>
                      <a:pt x="386" y="290"/>
                      <a:pt x="399" y="254"/>
                    </a:cubicBezTo>
                    <a:cubicBezTo>
                      <a:pt x="412" y="219"/>
                      <a:pt x="447" y="198"/>
                      <a:pt x="476" y="209"/>
                    </a:cubicBezTo>
                    <a:cubicBezTo>
                      <a:pt x="491" y="214"/>
                      <a:pt x="502" y="226"/>
                      <a:pt x="507" y="243"/>
                    </a:cubicBezTo>
                    <a:cubicBezTo>
                      <a:pt x="513" y="258"/>
                      <a:pt x="512" y="276"/>
                      <a:pt x="506" y="293"/>
                    </a:cubicBezTo>
                    <a:cubicBezTo>
                      <a:pt x="495" y="322"/>
                      <a:pt x="470" y="341"/>
                      <a:pt x="445" y="341"/>
                    </a:cubicBezTo>
                    <a:close/>
                    <a:moveTo>
                      <a:pt x="460" y="232"/>
                    </a:moveTo>
                    <a:cubicBezTo>
                      <a:pt x="446" y="232"/>
                      <a:pt x="430" y="244"/>
                      <a:pt x="423" y="263"/>
                    </a:cubicBezTo>
                    <a:cubicBezTo>
                      <a:pt x="415" y="285"/>
                      <a:pt x="422" y="308"/>
                      <a:pt x="438" y="314"/>
                    </a:cubicBezTo>
                    <a:cubicBezTo>
                      <a:pt x="454" y="320"/>
                      <a:pt x="474" y="306"/>
                      <a:pt x="482" y="284"/>
                    </a:cubicBezTo>
                    <a:cubicBezTo>
                      <a:pt x="486" y="273"/>
                      <a:pt x="486" y="261"/>
                      <a:pt x="483" y="251"/>
                    </a:cubicBezTo>
                    <a:cubicBezTo>
                      <a:pt x="480" y="242"/>
                      <a:pt x="475" y="236"/>
                      <a:pt x="467" y="233"/>
                    </a:cubicBezTo>
                    <a:cubicBezTo>
                      <a:pt x="465" y="232"/>
                      <a:pt x="462" y="232"/>
                      <a:pt x="460" y="232"/>
                    </a:cubicBezTo>
                    <a:close/>
                    <a:moveTo>
                      <a:pt x="125" y="341"/>
                    </a:moveTo>
                    <a:cubicBezTo>
                      <a:pt x="100" y="341"/>
                      <a:pt x="75" y="322"/>
                      <a:pt x="65" y="293"/>
                    </a:cubicBezTo>
                    <a:cubicBezTo>
                      <a:pt x="59" y="276"/>
                      <a:pt x="58" y="258"/>
                      <a:pt x="63" y="243"/>
                    </a:cubicBezTo>
                    <a:cubicBezTo>
                      <a:pt x="69" y="226"/>
                      <a:pt x="80" y="214"/>
                      <a:pt x="95" y="209"/>
                    </a:cubicBezTo>
                    <a:cubicBezTo>
                      <a:pt x="124" y="198"/>
                      <a:pt x="158" y="219"/>
                      <a:pt x="171" y="254"/>
                    </a:cubicBezTo>
                    <a:cubicBezTo>
                      <a:pt x="184" y="290"/>
                      <a:pt x="171" y="327"/>
                      <a:pt x="142" y="338"/>
                    </a:cubicBezTo>
                    <a:cubicBezTo>
                      <a:pt x="136" y="340"/>
                      <a:pt x="131" y="341"/>
                      <a:pt x="125" y="341"/>
                    </a:cubicBezTo>
                    <a:close/>
                    <a:moveTo>
                      <a:pt x="111" y="232"/>
                    </a:moveTo>
                    <a:cubicBezTo>
                      <a:pt x="108" y="232"/>
                      <a:pt x="106" y="232"/>
                      <a:pt x="103" y="233"/>
                    </a:cubicBezTo>
                    <a:cubicBezTo>
                      <a:pt x="96" y="236"/>
                      <a:pt x="91" y="242"/>
                      <a:pt x="88" y="251"/>
                    </a:cubicBezTo>
                    <a:cubicBezTo>
                      <a:pt x="84" y="261"/>
                      <a:pt x="85" y="273"/>
                      <a:pt x="89" y="284"/>
                    </a:cubicBezTo>
                    <a:cubicBezTo>
                      <a:pt x="97" y="306"/>
                      <a:pt x="117" y="320"/>
                      <a:pt x="133" y="314"/>
                    </a:cubicBezTo>
                    <a:cubicBezTo>
                      <a:pt x="149" y="308"/>
                      <a:pt x="155" y="285"/>
                      <a:pt x="147" y="263"/>
                    </a:cubicBezTo>
                    <a:cubicBezTo>
                      <a:pt x="141" y="244"/>
                      <a:pt x="125" y="232"/>
                      <a:pt x="111" y="232"/>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4" name="Rectangle 33">
                <a:extLst>
                  <a:ext uri="{FF2B5EF4-FFF2-40B4-BE49-F238E27FC236}">
                    <a16:creationId xmlns:a16="http://schemas.microsoft.com/office/drawing/2014/main" id="{3B5D66C3-47BC-AE6C-0AE6-55E952D53630}"/>
                  </a:ext>
                </a:extLst>
              </p:cNvPr>
              <p:cNvSpPr/>
              <p:nvPr/>
            </p:nvSpPr>
            <p:spPr>
              <a:xfrm>
                <a:off x="-426720" y="4640580"/>
                <a:ext cx="398145" cy="39814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pic>
          <p:nvPicPr>
            <p:cNvPr id="25" name="Graphic 24" descr="Bee with solid fill">
              <a:extLst>
                <a:ext uri="{FF2B5EF4-FFF2-40B4-BE49-F238E27FC236}">
                  <a16:creationId xmlns:a16="http://schemas.microsoft.com/office/drawing/2014/main" id="{CD034C99-3AF5-C1DE-88C9-2001613953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64333" y="5683412"/>
              <a:ext cx="279079" cy="279079"/>
            </a:xfrm>
            <a:prstGeom prst="rect">
              <a:avLst/>
            </a:prstGeom>
          </p:spPr>
        </p:pic>
      </p:grpSp>
      <p:sp>
        <p:nvSpPr>
          <p:cNvPr id="40" name="Google Shape;866;p77">
            <a:extLst>
              <a:ext uri="{FF2B5EF4-FFF2-40B4-BE49-F238E27FC236}">
                <a16:creationId xmlns:a16="http://schemas.microsoft.com/office/drawing/2014/main" id="{20C39927-6FEB-B068-6830-6BF11F44CD7D}"/>
              </a:ext>
            </a:extLst>
          </p:cNvPr>
          <p:cNvSpPr/>
          <p:nvPr/>
        </p:nvSpPr>
        <p:spPr>
          <a:xfrm>
            <a:off x="3086224" y="5795926"/>
            <a:ext cx="217760" cy="192082"/>
          </a:xfrm>
          <a:custGeom>
            <a:avLst/>
            <a:gdLst/>
            <a:ahLst/>
            <a:cxnLst/>
            <a:rect l="l" t="t" r="r" b="b"/>
            <a:pathLst>
              <a:path w="447798" h="394996" extrusionOk="0">
                <a:moveTo>
                  <a:pt x="223879" y="0"/>
                </a:moveTo>
                <a:cubicBezTo>
                  <a:pt x="214410" y="56"/>
                  <a:pt x="205689" y="5157"/>
                  <a:pt x="200988" y="13374"/>
                </a:cubicBezTo>
                <a:lnTo>
                  <a:pt x="3552" y="354937"/>
                </a:lnTo>
                <a:cubicBezTo>
                  <a:pt x="-3800" y="367751"/>
                  <a:pt x="627" y="384098"/>
                  <a:pt x="13440" y="391451"/>
                </a:cubicBezTo>
                <a:cubicBezTo>
                  <a:pt x="17511" y="393783"/>
                  <a:pt x="22124" y="395009"/>
                  <a:pt x="26817" y="394996"/>
                </a:cubicBezTo>
                <a:lnTo>
                  <a:pt x="421066" y="394996"/>
                </a:lnTo>
                <a:cubicBezTo>
                  <a:pt x="435804" y="395021"/>
                  <a:pt x="447773" y="383097"/>
                  <a:pt x="447799" y="368361"/>
                </a:cubicBezTo>
                <a:cubicBezTo>
                  <a:pt x="447808" y="363645"/>
                  <a:pt x="446568" y="359018"/>
                  <a:pt x="444206" y="354937"/>
                </a:cubicBezTo>
                <a:lnTo>
                  <a:pt x="247019" y="13374"/>
                </a:lnTo>
                <a:cubicBezTo>
                  <a:pt x="242293" y="5058"/>
                  <a:pt x="233444" y="-56"/>
                  <a:pt x="223879" y="0"/>
                </a:cubicBezTo>
                <a:close/>
                <a:moveTo>
                  <a:pt x="28932" y="367005"/>
                </a:moveTo>
                <a:lnTo>
                  <a:pt x="223879" y="29299"/>
                </a:lnTo>
                <a:lnTo>
                  <a:pt x="418702" y="367005"/>
                </a:lnTo>
                <a:close/>
                <a:moveTo>
                  <a:pt x="209883" y="161047"/>
                </a:moveTo>
                <a:lnTo>
                  <a:pt x="209883" y="235318"/>
                </a:lnTo>
                <a:cubicBezTo>
                  <a:pt x="209883" y="243050"/>
                  <a:pt x="216150" y="249314"/>
                  <a:pt x="223879" y="249314"/>
                </a:cubicBezTo>
                <a:cubicBezTo>
                  <a:pt x="231609" y="249314"/>
                  <a:pt x="237875" y="243050"/>
                  <a:pt x="237875" y="235318"/>
                </a:cubicBezTo>
                <a:lnTo>
                  <a:pt x="237875" y="161047"/>
                </a:lnTo>
                <a:cubicBezTo>
                  <a:pt x="237875" y="153315"/>
                  <a:pt x="231609" y="147051"/>
                  <a:pt x="223879" y="147051"/>
                </a:cubicBezTo>
                <a:cubicBezTo>
                  <a:pt x="216150" y="147051"/>
                  <a:pt x="209883" y="153315"/>
                  <a:pt x="209883" y="161047"/>
                </a:cubicBezTo>
                <a:close/>
                <a:moveTo>
                  <a:pt x="202916" y="308284"/>
                </a:moveTo>
                <a:cubicBezTo>
                  <a:pt x="202916" y="319897"/>
                  <a:pt x="212330" y="329309"/>
                  <a:pt x="223941" y="329309"/>
                </a:cubicBezTo>
                <a:cubicBezTo>
                  <a:pt x="235553" y="329309"/>
                  <a:pt x="244966" y="319897"/>
                  <a:pt x="244966" y="308284"/>
                </a:cubicBezTo>
                <a:cubicBezTo>
                  <a:pt x="244966" y="296670"/>
                  <a:pt x="235553" y="287259"/>
                  <a:pt x="223941" y="287259"/>
                </a:cubicBezTo>
                <a:cubicBezTo>
                  <a:pt x="223921" y="287259"/>
                  <a:pt x="223900" y="287259"/>
                  <a:pt x="223879" y="287259"/>
                </a:cubicBezTo>
                <a:cubicBezTo>
                  <a:pt x="212302" y="287259"/>
                  <a:pt x="202916" y="296645"/>
                  <a:pt x="202916" y="308222"/>
                </a:cubicBezTo>
                <a:cubicBezTo>
                  <a:pt x="202916" y="308240"/>
                  <a:pt x="202916" y="308265"/>
                  <a:pt x="202916" y="308284"/>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 name="Rectangle 1">
            <a:extLst>
              <a:ext uri="{FF2B5EF4-FFF2-40B4-BE49-F238E27FC236}">
                <a16:creationId xmlns:a16="http://schemas.microsoft.com/office/drawing/2014/main" id="{26CBEC25-69EE-FABD-D9B3-821EC29127F9}"/>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sp>
        <p:nvSpPr>
          <p:cNvPr id="48" name="Content Placeholder 1">
            <a:extLst>
              <a:ext uri="{FF2B5EF4-FFF2-40B4-BE49-F238E27FC236}">
                <a16:creationId xmlns:a16="http://schemas.microsoft.com/office/drawing/2014/main" id="{A4A1DC63-F989-7DAC-799B-BCA0AFE699E2}"/>
              </a:ext>
            </a:extLst>
          </p:cNvPr>
          <p:cNvSpPr txBox="1">
            <a:spLocks/>
          </p:cNvSpPr>
          <p:nvPr/>
        </p:nvSpPr>
        <p:spPr>
          <a:xfrm>
            <a:off x="2966130" y="3279751"/>
            <a:ext cx="630238" cy="567711"/>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2</a:t>
            </a:r>
          </a:p>
        </p:txBody>
      </p:sp>
      <p:sp>
        <p:nvSpPr>
          <p:cNvPr id="49" name="Content Placeholder 1">
            <a:extLst>
              <a:ext uri="{FF2B5EF4-FFF2-40B4-BE49-F238E27FC236}">
                <a16:creationId xmlns:a16="http://schemas.microsoft.com/office/drawing/2014/main" id="{A7A0151E-5B58-8D8A-285E-361B78A9422E}"/>
              </a:ext>
            </a:extLst>
          </p:cNvPr>
          <p:cNvSpPr txBox="1">
            <a:spLocks/>
          </p:cNvSpPr>
          <p:nvPr/>
        </p:nvSpPr>
        <p:spPr>
          <a:xfrm>
            <a:off x="2966130" y="3879774"/>
            <a:ext cx="630238" cy="504632"/>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3</a:t>
            </a:r>
          </a:p>
        </p:txBody>
      </p:sp>
      <p:sp>
        <p:nvSpPr>
          <p:cNvPr id="50" name="Content Placeholder 1">
            <a:extLst>
              <a:ext uri="{FF2B5EF4-FFF2-40B4-BE49-F238E27FC236}">
                <a16:creationId xmlns:a16="http://schemas.microsoft.com/office/drawing/2014/main" id="{010CCCE4-E9F2-B809-0C8E-827EF3E5E426}"/>
              </a:ext>
            </a:extLst>
          </p:cNvPr>
          <p:cNvSpPr txBox="1">
            <a:spLocks/>
          </p:cNvSpPr>
          <p:nvPr/>
        </p:nvSpPr>
        <p:spPr>
          <a:xfrm>
            <a:off x="2966130" y="4416718"/>
            <a:ext cx="630238" cy="504632"/>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4</a:t>
            </a:r>
          </a:p>
        </p:txBody>
      </p:sp>
      <p:sp>
        <p:nvSpPr>
          <p:cNvPr id="51" name="Content Placeholder 1">
            <a:extLst>
              <a:ext uri="{FF2B5EF4-FFF2-40B4-BE49-F238E27FC236}">
                <a16:creationId xmlns:a16="http://schemas.microsoft.com/office/drawing/2014/main" id="{512D1EAE-F968-7682-ECE5-72B4FFFF85A3}"/>
              </a:ext>
            </a:extLst>
          </p:cNvPr>
          <p:cNvSpPr txBox="1">
            <a:spLocks/>
          </p:cNvSpPr>
          <p:nvPr/>
        </p:nvSpPr>
        <p:spPr>
          <a:xfrm>
            <a:off x="2966130" y="4953662"/>
            <a:ext cx="630238" cy="504632"/>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5</a:t>
            </a:r>
          </a:p>
        </p:txBody>
      </p:sp>
      <p:sp>
        <p:nvSpPr>
          <p:cNvPr id="53" name="Content Placeholder 1">
            <a:extLst>
              <a:ext uri="{FF2B5EF4-FFF2-40B4-BE49-F238E27FC236}">
                <a16:creationId xmlns:a16="http://schemas.microsoft.com/office/drawing/2014/main" id="{61E235E7-84ED-A6CC-1651-ABAD842FA0B8}"/>
              </a:ext>
            </a:extLst>
          </p:cNvPr>
          <p:cNvSpPr txBox="1">
            <a:spLocks/>
          </p:cNvSpPr>
          <p:nvPr/>
        </p:nvSpPr>
        <p:spPr>
          <a:xfrm>
            <a:off x="2966130" y="2742807"/>
            <a:ext cx="630238" cy="504632"/>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1</a:t>
            </a:r>
          </a:p>
        </p:txBody>
      </p:sp>
      <p:cxnSp>
        <p:nvCxnSpPr>
          <p:cNvPr id="54" name="Straight Connector 53">
            <a:extLst>
              <a:ext uri="{FF2B5EF4-FFF2-40B4-BE49-F238E27FC236}">
                <a16:creationId xmlns:a16="http://schemas.microsoft.com/office/drawing/2014/main" id="{0F3DA636-2777-B2C2-32AD-3AE30818D252}"/>
              </a:ext>
            </a:extLst>
          </p:cNvPr>
          <p:cNvCxnSpPr>
            <a:cxnSpLocks/>
            <a:stCxn id="55" idx="4"/>
            <a:endCxn id="61" idx="3"/>
          </p:cNvCxnSpPr>
          <p:nvPr/>
        </p:nvCxnSpPr>
        <p:spPr>
          <a:xfrm>
            <a:off x="3388807" y="2988968"/>
            <a:ext cx="0" cy="2294488"/>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55" name="Oval 54">
            <a:extLst>
              <a:ext uri="{FF2B5EF4-FFF2-40B4-BE49-F238E27FC236}">
                <a16:creationId xmlns:a16="http://schemas.microsoft.com/office/drawing/2014/main" id="{CAAE35C6-3DA4-1798-DBDE-9C3BD133112C}"/>
              </a:ext>
            </a:extLst>
          </p:cNvPr>
          <p:cNvSpPr/>
          <p:nvPr/>
        </p:nvSpPr>
        <p:spPr>
          <a:xfrm>
            <a:off x="3316417" y="2844968"/>
            <a:ext cx="144780" cy="14400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6" name="Isosceles Triangle 55">
            <a:extLst>
              <a:ext uri="{FF2B5EF4-FFF2-40B4-BE49-F238E27FC236}">
                <a16:creationId xmlns:a16="http://schemas.microsoft.com/office/drawing/2014/main" id="{4BD693FD-7EA4-B359-63B3-1F582FA6A5E1}"/>
              </a:ext>
            </a:extLst>
          </p:cNvPr>
          <p:cNvSpPr/>
          <p:nvPr/>
        </p:nvSpPr>
        <p:spPr>
          <a:xfrm flipV="1">
            <a:off x="3214976" y="3247148"/>
            <a:ext cx="347662" cy="119962"/>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7" name="Isosceles Triangle 56">
            <a:extLst>
              <a:ext uri="{FF2B5EF4-FFF2-40B4-BE49-F238E27FC236}">
                <a16:creationId xmlns:a16="http://schemas.microsoft.com/office/drawing/2014/main" id="{B8D0412D-A242-A961-6FD5-E5CE9DFA949D}"/>
              </a:ext>
            </a:extLst>
          </p:cNvPr>
          <p:cNvSpPr/>
          <p:nvPr/>
        </p:nvSpPr>
        <p:spPr>
          <a:xfrm flipV="1">
            <a:off x="3214976" y="4918358"/>
            <a:ext cx="347662" cy="119962"/>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9" name="Isosceles Triangle 58">
            <a:extLst>
              <a:ext uri="{FF2B5EF4-FFF2-40B4-BE49-F238E27FC236}">
                <a16:creationId xmlns:a16="http://schemas.microsoft.com/office/drawing/2014/main" id="{548B9B05-848B-0CB7-938A-C340555E2864}"/>
              </a:ext>
            </a:extLst>
          </p:cNvPr>
          <p:cNvSpPr/>
          <p:nvPr/>
        </p:nvSpPr>
        <p:spPr>
          <a:xfrm flipV="1">
            <a:off x="3214976" y="4380506"/>
            <a:ext cx="347662" cy="119962"/>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60" name="Isosceles Triangle 59">
            <a:extLst>
              <a:ext uri="{FF2B5EF4-FFF2-40B4-BE49-F238E27FC236}">
                <a16:creationId xmlns:a16="http://schemas.microsoft.com/office/drawing/2014/main" id="{A49A4C87-9F67-6768-6AC6-5FBB5DD27C68}"/>
              </a:ext>
            </a:extLst>
          </p:cNvPr>
          <p:cNvSpPr/>
          <p:nvPr/>
        </p:nvSpPr>
        <p:spPr>
          <a:xfrm flipV="1">
            <a:off x="3214976" y="3847462"/>
            <a:ext cx="347662" cy="119962"/>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61" name="Isosceles Triangle 60">
            <a:extLst>
              <a:ext uri="{FF2B5EF4-FFF2-40B4-BE49-F238E27FC236}">
                <a16:creationId xmlns:a16="http://schemas.microsoft.com/office/drawing/2014/main" id="{B3436993-D048-8EDA-F1FF-E9D38591FEEC}"/>
              </a:ext>
            </a:extLst>
          </p:cNvPr>
          <p:cNvSpPr/>
          <p:nvPr/>
        </p:nvSpPr>
        <p:spPr>
          <a:xfrm flipV="1">
            <a:off x="3334038" y="5283456"/>
            <a:ext cx="109538" cy="76688"/>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64" name="TextBox 63">
            <a:extLst>
              <a:ext uri="{FF2B5EF4-FFF2-40B4-BE49-F238E27FC236}">
                <a16:creationId xmlns:a16="http://schemas.microsoft.com/office/drawing/2014/main" id="{8AAAF1FD-1289-4D07-6647-2F1F62A6A243}"/>
              </a:ext>
            </a:extLst>
          </p:cNvPr>
          <p:cNvSpPr txBox="1"/>
          <p:nvPr/>
        </p:nvSpPr>
        <p:spPr>
          <a:xfrm>
            <a:off x="3670718" y="2841235"/>
            <a:ext cx="6094070" cy="307777"/>
          </a:xfrm>
          <a:prstGeom prst="rect">
            <a:avLst/>
          </a:prstGeom>
          <a:noFill/>
        </p:spPr>
        <p:txBody>
          <a:bodyPr wrap="square">
            <a:spAutoFit/>
          </a:bodyPr>
          <a:lstStyle/>
          <a:p>
            <a:pPr lvl="0" hangingPunct="0">
              <a:spcAft>
                <a:spcPts val="600"/>
              </a:spcAft>
              <a:buSzPts val="1200"/>
            </a:pPr>
            <a:r>
              <a:rPr lang="lv-LV" sz="1400">
                <a:effectLst/>
                <a:ea typeface="Calibri" panose="020F0502020204030204" pitchFamily="34" charset="0"/>
                <a:cs typeface="Times New Roman" panose="02020603050405020304" pitchFamily="18" charset="0"/>
              </a:rPr>
              <a:t>Izsauciet Neatliekamo palīdzību.</a:t>
            </a:r>
          </a:p>
        </p:txBody>
      </p:sp>
      <p:sp>
        <p:nvSpPr>
          <p:cNvPr id="66" name="TextBox 65">
            <a:extLst>
              <a:ext uri="{FF2B5EF4-FFF2-40B4-BE49-F238E27FC236}">
                <a16:creationId xmlns:a16="http://schemas.microsoft.com/office/drawing/2014/main" id="{176904F0-FFB9-5BAF-13F1-EC5C9104D6E0}"/>
              </a:ext>
            </a:extLst>
          </p:cNvPr>
          <p:cNvSpPr txBox="1"/>
          <p:nvPr/>
        </p:nvSpPr>
        <p:spPr>
          <a:xfrm>
            <a:off x="3443576" y="5722690"/>
            <a:ext cx="8274140" cy="338554"/>
          </a:xfrm>
          <a:prstGeom prst="rect">
            <a:avLst/>
          </a:prstGeom>
          <a:noFill/>
        </p:spPr>
        <p:txBody>
          <a:bodyPr wrap="square">
            <a:spAutoFit/>
          </a:bodyPr>
          <a:lstStyle/>
          <a:p>
            <a:pPr lvl="0" hangingPunct="0">
              <a:spcAft>
                <a:spcPts val="600"/>
              </a:spcAft>
              <a:buSzPts val="1200"/>
            </a:pPr>
            <a:r>
              <a:rPr lang="lv-LV" sz="1600" b="1">
                <a:solidFill>
                  <a:schemeClr val="accent2"/>
                </a:solidFill>
                <a:effectLst/>
                <a:ea typeface="Times New Roman" panose="02020603050405020304" pitchFamily="18" charset="0"/>
              </a:rPr>
              <a:t>Bīstami! Iespējama elpceļu nosprostošanās un smakšana tūskas dēļ.</a:t>
            </a:r>
          </a:p>
        </p:txBody>
      </p:sp>
      <p:sp>
        <p:nvSpPr>
          <p:cNvPr id="69" name="TextBox 68">
            <a:extLst>
              <a:ext uri="{FF2B5EF4-FFF2-40B4-BE49-F238E27FC236}">
                <a16:creationId xmlns:a16="http://schemas.microsoft.com/office/drawing/2014/main" id="{06CF4829-D23F-A9B8-E20B-BC6A9BBED4BD}"/>
              </a:ext>
            </a:extLst>
          </p:cNvPr>
          <p:cNvSpPr txBox="1"/>
          <p:nvPr/>
        </p:nvSpPr>
        <p:spPr>
          <a:xfrm>
            <a:off x="3670718" y="3409718"/>
            <a:ext cx="6094070" cy="307777"/>
          </a:xfrm>
          <a:prstGeom prst="rect">
            <a:avLst/>
          </a:prstGeom>
          <a:noFill/>
        </p:spPr>
        <p:txBody>
          <a:bodyPr wrap="square">
            <a:spAutoFit/>
          </a:bodyPr>
          <a:lstStyle/>
          <a:p>
            <a:pPr lvl="0" hangingPunct="0">
              <a:spcAft>
                <a:spcPts val="600"/>
              </a:spcAft>
              <a:buSzPts val="1200"/>
            </a:pPr>
            <a:r>
              <a:rPr lang="lv-LV" sz="1400">
                <a:effectLst/>
                <a:ea typeface="Calibri" panose="020F0502020204030204" pitchFamily="34" charset="0"/>
                <a:cs typeface="Times New Roman" panose="02020603050405020304" pitchFamily="18" charset="0"/>
              </a:rPr>
              <a:t>Dodiet sūkāt ledu vai maziem malkiem dzert aukstu dzeramo.</a:t>
            </a:r>
          </a:p>
        </p:txBody>
      </p:sp>
      <p:sp>
        <p:nvSpPr>
          <p:cNvPr id="70" name="TextBox 69">
            <a:extLst>
              <a:ext uri="{FF2B5EF4-FFF2-40B4-BE49-F238E27FC236}">
                <a16:creationId xmlns:a16="http://schemas.microsoft.com/office/drawing/2014/main" id="{D0C077BE-209A-E2B3-0FDA-A6FFAB74B3DB}"/>
              </a:ext>
            </a:extLst>
          </p:cNvPr>
          <p:cNvSpPr txBox="1"/>
          <p:nvPr/>
        </p:nvSpPr>
        <p:spPr>
          <a:xfrm>
            <a:off x="3670718" y="3978202"/>
            <a:ext cx="6094070" cy="307777"/>
          </a:xfrm>
          <a:prstGeom prst="rect">
            <a:avLst/>
          </a:prstGeom>
          <a:noFill/>
        </p:spPr>
        <p:txBody>
          <a:bodyPr wrap="square">
            <a:spAutoFit/>
          </a:bodyPr>
          <a:lstStyle/>
          <a:p>
            <a:pPr lvl="0" hangingPunct="0">
              <a:spcAft>
                <a:spcPts val="600"/>
              </a:spcAft>
              <a:buSzPts val="1200"/>
            </a:pPr>
            <a:r>
              <a:rPr lang="lv-LV" sz="1400">
                <a:effectLst/>
                <a:ea typeface="Calibri" panose="020F0502020204030204" pitchFamily="34" charset="0"/>
                <a:cs typeface="Times New Roman" panose="02020603050405020304" pitchFamily="18" charset="0"/>
              </a:rPr>
              <a:t>Dzesējiet kaklu no ārpuses.</a:t>
            </a:r>
          </a:p>
        </p:txBody>
      </p:sp>
      <p:sp>
        <p:nvSpPr>
          <p:cNvPr id="71" name="TextBox 70">
            <a:extLst>
              <a:ext uri="{FF2B5EF4-FFF2-40B4-BE49-F238E27FC236}">
                <a16:creationId xmlns:a16="http://schemas.microsoft.com/office/drawing/2014/main" id="{3D68D09B-FBBB-6CDD-7F30-BA85C9DA4B91}"/>
              </a:ext>
            </a:extLst>
          </p:cNvPr>
          <p:cNvSpPr txBox="1"/>
          <p:nvPr/>
        </p:nvSpPr>
        <p:spPr>
          <a:xfrm>
            <a:off x="3670718" y="4515146"/>
            <a:ext cx="6094070" cy="307777"/>
          </a:xfrm>
          <a:prstGeom prst="rect">
            <a:avLst/>
          </a:prstGeom>
          <a:noFill/>
        </p:spPr>
        <p:txBody>
          <a:bodyPr wrap="square">
            <a:spAutoFit/>
          </a:bodyPr>
          <a:lstStyle/>
          <a:p>
            <a:pPr lvl="0" hangingPunct="0">
              <a:spcAft>
                <a:spcPts val="600"/>
              </a:spcAft>
              <a:buSzPts val="1200"/>
            </a:pPr>
            <a:r>
              <a:rPr lang="lv-LV" sz="1400">
                <a:effectLst/>
                <a:ea typeface="Calibri" panose="020F0502020204030204" pitchFamily="34" charset="0"/>
                <a:cs typeface="Times New Roman" panose="02020603050405020304" pitchFamily="18" charset="0"/>
              </a:rPr>
              <a:t>Aprūpējiet, nomieriniet cietušo.</a:t>
            </a:r>
          </a:p>
        </p:txBody>
      </p:sp>
      <p:sp>
        <p:nvSpPr>
          <p:cNvPr id="73" name="TextBox 72">
            <a:extLst>
              <a:ext uri="{FF2B5EF4-FFF2-40B4-BE49-F238E27FC236}">
                <a16:creationId xmlns:a16="http://schemas.microsoft.com/office/drawing/2014/main" id="{5EA1CE50-8C28-1BC6-6E3B-A6077460C743}"/>
              </a:ext>
            </a:extLst>
          </p:cNvPr>
          <p:cNvSpPr txBox="1"/>
          <p:nvPr/>
        </p:nvSpPr>
        <p:spPr>
          <a:xfrm>
            <a:off x="3670718" y="5052090"/>
            <a:ext cx="6094070" cy="307777"/>
          </a:xfrm>
          <a:prstGeom prst="rect">
            <a:avLst/>
          </a:prstGeom>
          <a:noFill/>
        </p:spPr>
        <p:txBody>
          <a:bodyPr wrap="square">
            <a:spAutoFit/>
          </a:bodyPr>
          <a:lstStyle/>
          <a:p>
            <a:pPr lvl="0" hangingPunct="0">
              <a:spcAft>
                <a:spcPts val="600"/>
              </a:spcAft>
              <a:buSzPts val="1200"/>
            </a:pPr>
            <a:r>
              <a:rPr lang="lv-LV" sz="1400">
                <a:effectLst/>
                <a:ea typeface="Calibri" panose="020F0502020204030204" pitchFamily="34" charset="0"/>
                <a:cs typeface="Times New Roman" panose="02020603050405020304" pitchFamily="18" charset="0"/>
              </a:rPr>
              <a:t>Veiciet atdzīvināšanas pasākumus, ja nepieciešams.</a:t>
            </a:r>
          </a:p>
        </p:txBody>
      </p:sp>
      <p:grpSp>
        <p:nvGrpSpPr>
          <p:cNvPr id="26" name="Group 25">
            <a:extLst>
              <a:ext uri="{FF2B5EF4-FFF2-40B4-BE49-F238E27FC236}">
                <a16:creationId xmlns:a16="http://schemas.microsoft.com/office/drawing/2014/main" id="{47E9C767-523E-A201-9C13-87E61A5EE729}"/>
              </a:ext>
            </a:extLst>
          </p:cNvPr>
          <p:cNvGrpSpPr/>
          <p:nvPr/>
        </p:nvGrpSpPr>
        <p:grpSpPr>
          <a:xfrm>
            <a:off x="9842140" y="372215"/>
            <a:ext cx="1667215" cy="313259"/>
            <a:chOff x="9842140" y="372215"/>
            <a:chExt cx="1667215" cy="313259"/>
          </a:xfrm>
        </p:grpSpPr>
        <p:sp>
          <p:nvSpPr>
            <p:cNvPr id="27" name="TextBox 26">
              <a:extLst>
                <a:ext uri="{FF2B5EF4-FFF2-40B4-BE49-F238E27FC236}">
                  <a16:creationId xmlns:a16="http://schemas.microsoft.com/office/drawing/2014/main" id="{469C9D93-50A4-5B2B-F704-EC09936EEECD}"/>
                </a:ext>
              </a:extLst>
            </p:cNvPr>
            <p:cNvSpPr txBox="1"/>
            <p:nvPr/>
          </p:nvSpPr>
          <p:spPr>
            <a:xfrm>
              <a:off x="9842140" y="372215"/>
              <a:ext cx="1667215" cy="313259"/>
            </a:xfrm>
            <a:prstGeom prst="rect">
              <a:avLst/>
            </a:prstGeom>
            <a:solidFill>
              <a:schemeClr val="accent3"/>
            </a:solidFill>
            <a:ln>
              <a:noFill/>
            </a:ln>
          </p:spPr>
          <p:txBody>
            <a:bodyPr wrap="square" lIns="144000" tIns="0" rIns="0" bIns="0" rtlCol="0" anchor="ctr">
              <a:noAutofit/>
            </a:bodyPr>
            <a:lstStyle/>
            <a:p>
              <a:pPr algn="ctr">
                <a:lnSpc>
                  <a:spcPct val="100000"/>
                </a:lnSpc>
                <a:buSzPct val="100000"/>
              </a:pPr>
              <a:r>
                <a:rPr lang="lv-LV" sz="800">
                  <a:solidFill>
                    <a:schemeClr val="bg1"/>
                  </a:solidFill>
                </a:rPr>
                <a:t>Dzīvnieku izraisīti </a:t>
              </a:r>
              <a:endParaRPr lang="en-US" sz="800">
                <a:solidFill>
                  <a:schemeClr val="bg1"/>
                </a:solidFill>
              </a:endParaRPr>
            </a:p>
            <a:p>
              <a:pPr algn="ctr">
                <a:lnSpc>
                  <a:spcPct val="100000"/>
                </a:lnSpc>
                <a:buSzPct val="100000"/>
              </a:pPr>
              <a:r>
                <a:rPr lang="lv-LV" sz="800">
                  <a:solidFill>
                    <a:schemeClr val="bg1"/>
                  </a:solidFill>
                </a:rPr>
                <a:t>nelaimes gadījumi</a:t>
              </a:r>
            </a:p>
          </p:txBody>
        </p:sp>
        <p:sp>
          <p:nvSpPr>
            <p:cNvPr id="28" name="Freeform 49">
              <a:extLst>
                <a:ext uri="{FF2B5EF4-FFF2-40B4-BE49-F238E27FC236}">
                  <a16:creationId xmlns:a16="http://schemas.microsoft.com/office/drawing/2014/main" id="{A4C79EC0-5C27-3DDA-AD3B-409B7D704DEC}"/>
                </a:ext>
              </a:extLst>
            </p:cNvPr>
            <p:cNvSpPr>
              <a:spLocks noChangeAspect="1"/>
            </p:cNvSpPr>
            <p:nvPr/>
          </p:nvSpPr>
          <p:spPr bwMode="auto">
            <a:xfrm>
              <a:off x="9897382" y="476606"/>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21" name="Group 20">
            <a:extLst>
              <a:ext uri="{FF2B5EF4-FFF2-40B4-BE49-F238E27FC236}">
                <a16:creationId xmlns:a16="http://schemas.microsoft.com/office/drawing/2014/main" id="{D1E048D0-E6F3-9F74-475B-C14176FF331B}"/>
              </a:ext>
            </a:extLst>
          </p:cNvPr>
          <p:cNvGrpSpPr/>
          <p:nvPr/>
        </p:nvGrpSpPr>
        <p:grpSpPr>
          <a:xfrm>
            <a:off x="9122935" y="126781"/>
            <a:ext cx="2626153" cy="217488"/>
            <a:chOff x="9122935" y="126781"/>
            <a:chExt cx="2626153" cy="217488"/>
          </a:xfrm>
        </p:grpSpPr>
        <p:sp>
          <p:nvSpPr>
            <p:cNvPr id="22" name="Rectangle 21">
              <a:extLst>
                <a:ext uri="{FF2B5EF4-FFF2-40B4-BE49-F238E27FC236}">
                  <a16:creationId xmlns:a16="http://schemas.microsoft.com/office/drawing/2014/main" id="{9BC09C63-04F8-C961-AB24-C7A1746ECCF8}"/>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23" name="Rectangle 22">
              <a:extLst>
                <a:ext uri="{FF2B5EF4-FFF2-40B4-BE49-F238E27FC236}">
                  <a16:creationId xmlns:a16="http://schemas.microsoft.com/office/drawing/2014/main" id="{8CD13DE2-B636-72D7-41F4-2FD6D8DC8B5D}"/>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FA38FC6C-86BB-5EC3-478A-9C8DC916F5B6}"/>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9" name="Rectangle 28">
              <a:extLst>
                <a:ext uri="{FF2B5EF4-FFF2-40B4-BE49-F238E27FC236}">
                  <a16:creationId xmlns:a16="http://schemas.microsoft.com/office/drawing/2014/main" id="{4147C813-DC08-2FA6-4D39-0006A51AB31F}"/>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F32F51E3-94CC-50FB-7AA1-4823CB2F89F8}"/>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32" name="Rectangle 31">
              <a:extLst>
                <a:ext uri="{FF2B5EF4-FFF2-40B4-BE49-F238E27FC236}">
                  <a16:creationId xmlns:a16="http://schemas.microsoft.com/office/drawing/2014/main" id="{78F609E0-569B-B1C3-7EDE-B5EB7AA5694E}"/>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21697854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9E6BB6A-4571-FBF8-9A7D-06ADE4374D4D}"/>
              </a:ext>
            </a:extLst>
          </p:cNvPr>
          <p:cNvGraphicFramePr>
            <a:graphicFrameLocks noChangeAspect="1"/>
          </p:cNvGraphicFramePr>
          <p:nvPr>
            <p:custDataLst>
              <p:tags r:id="rId1"/>
            </p:custDataLst>
            <p:extLst>
              <p:ext uri="{D42A27DB-BD31-4B8C-83A1-F6EECF244321}">
                <p14:modId xmlns:p14="http://schemas.microsoft.com/office/powerpoint/2010/main" val="2416266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D9E6BB6A-4571-FBF8-9A7D-06ADE4374D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A2BB43A5-DD5D-8646-71E8-1A36915C0B8C}"/>
              </a:ext>
            </a:extLst>
          </p:cNvPr>
          <p:cNvSpPr/>
          <p:nvPr/>
        </p:nvSpPr>
        <p:spPr>
          <a:xfrm>
            <a:off x="2651760" y="2630366"/>
            <a:ext cx="9097328" cy="278537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7" name="Rectangle 6">
            <a:extLst>
              <a:ext uri="{FF2B5EF4-FFF2-40B4-BE49-F238E27FC236}">
                <a16:creationId xmlns:a16="http://schemas.microsoft.com/office/drawing/2014/main" id="{E4EF8F99-6CAF-89D6-2B0A-03C46A8AE78A}"/>
              </a:ext>
            </a:extLst>
          </p:cNvPr>
          <p:cNvSpPr/>
          <p:nvPr/>
        </p:nvSpPr>
        <p:spPr>
          <a:xfrm>
            <a:off x="2847530" y="2419349"/>
            <a:ext cx="4352925" cy="2996387"/>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8" name="Rectangle 7">
            <a:extLst>
              <a:ext uri="{FF2B5EF4-FFF2-40B4-BE49-F238E27FC236}">
                <a16:creationId xmlns:a16="http://schemas.microsoft.com/office/drawing/2014/main" id="{0DC07B40-AB81-B121-2741-FD0AC669FE4B}"/>
              </a:ext>
            </a:extLst>
          </p:cNvPr>
          <p:cNvSpPr/>
          <p:nvPr/>
        </p:nvSpPr>
        <p:spPr>
          <a:xfrm>
            <a:off x="7396160" y="2419349"/>
            <a:ext cx="4352925" cy="2996387"/>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16" name="TextBox 15">
            <a:extLst>
              <a:ext uri="{FF2B5EF4-FFF2-40B4-BE49-F238E27FC236}">
                <a16:creationId xmlns:a16="http://schemas.microsoft.com/office/drawing/2014/main" id="{30819613-CE74-49B6-0807-44FDBB81D466}"/>
              </a:ext>
            </a:extLst>
          </p:cNvPr>
          <p:cNvSpPr txBox="1"/>
          <p:nvPr/>
        </p:nvSpPr>
        <p:spPr>
          <a:xfrm>
            <a:off x="2847466" y="2630489"/>
            <a:ext cx="4352925" cy="2785370"/>
          </a:xfrm>
          <a:prstGeom prst="rect">
            <a:avLst/>
          </a:prstGeom>
          <a:noFill/>
        </p:spPr>
        <p:txBody>
          <a:bodyPr wrap="square" lIns="72000" rIns="72000" anchor="ctr">
            <a:noAutofit/>
          </a:bodyPr>
          <a:lstStyle/>
          <a:p>
            <a:pPr marL="284400" lvl="1" indent="-284400" hangingPunct="0">
              <a:buSzPts val="1200"/>
              <a:buBlip>
                <a:blip r:embed="rId6"/>
              </a:buBlip>
              <a:tabLst>
                <a:tab pos="457200" algn="l"/>
                <a:tab pos="1586230" algn="l"/>
              </a:tabLst>
            </a:pPr>
            <a:r>
              <a:rPr lang="lv-LV" sz="1400">
                <a:ea typeface="Calibri" panose="020F0502020204030204" pitchFamily="34" charset="0"/>
                <a:cs typeface="Times New Roman" panose="02020603050405020304" pitchFamily="18" charset="0"/>
              </a:rPr>
              <a:t>Pajautājiet, vai cietušais ir aizrijies.</a:t>
            </a:r>
          </a:p>
          <a:p>
            <a:pPr marL="284400" lvl="1" indent="-284400" hangingPunct="0">
              <a:buSzPts val="1200"/>
              <a:buBlip>
                <a:blip r:embed="rId6"/>
              </a:buBlip>
              <a:tabLst>
                <a:tab pos="457200" algn="l"/>
                <a:tab pos="1586230" algn="l"/>
              </a:tabLst>
            </a:pPr>
            <a:r>
              <a:rPr lang="lv-LV" sz="1400">
                <a:ea typeface="Calibri" panose="020F0502020204030204" pitchFamily="34" charset="0"/>
                <a:cs typeface="Times New Roman" panose="02020603050405020304" pitchFamily="18" charset="0"/>
              </a:rPr>
              <a:t>Ļaujiet cietušajam svešķermeni atklepot pašam.</a:t>
            </a:r>
          </a:p>
          <a:p>
            <a:pPr marL="284400" indent="-284400" hangingPunct="0">
              <a:buSzPts val="1200"/>
              <a:buBlip>
                <a:blip r:embed="rId6"/>
              </a:buBlip>
              <a:tabLst>
                <a:tab pos="457200" algn="l"/>
                <a:tab pos="1586230" algn="l"/>
              </a:tabLst>
            </a:pPr>
            <a:r>
              <a:rPr lang="lv-LV" sz="1400">
                <a:ea typeface="Calibri" panose="020F0502020204030204" pitchFamily="34" charset="0"/>
                <a:cs typeface="Times New Roman" panose="02020603050405020304" pitchFamily="18" charset="0"/>
              </a:rPr>
              <a:t>Mudiniet cietušo klepot.</a:t>
            </a:r>
          </a:p>
          <a:p>
            <a:pPr marL="284400" indent="-284400" hangingPunct="0">
              <a:buSzPts val="1200"/>
              <a:buBlip>
                <a:blip r:embed="rId6"/>
              </a:buBlip>
              <a:tabLst>
                <a:tab pos="457200" algn="l"/>
                <a:tab pos="1586230" algn="l"/>
              </a:tabLst>
            </a:pPr>
            <a:r>
              <a:rPr lang="lv-LV" sz="1400">
                <a:ea typeface="Calibri" panose="020F0502020204030204" pitchFamily="34" charset="0"/>
                <a:cs typeface="Times New Roman" panose="02020603050405020304" pitchFamily="18" charset="0"/>
              </a:rPr>
              <a:t>Ja cietušais vairs nespēj runāt un aktīvi klepot:</a:t>
            </a:r>
          </a:p>
          <a:p>
            <a:pPr marL="468000" lvl="1" indent="-180000" hangingPunct="0">
              <a:buSzPct val="100000"/>
              <a:buFont typeface="Arial" panose="020B0604020202020204" pitchFamily="34" charset="0"/>
              <a:buChar char="•"/>
              <a:tabLst>
                <a:tab pos="457200" algn="l"/>
                <a:tab pos="1586230" algn="l"/>
              </a:tabLst>
            </a:pPr>
            <a:r>
              <a:rPr lang="lv-LV" sz="1400">
                <a:ea typeface="Calibri" panose="020F0502020204030204" pitchFamily="34" charset="0"/>
                <a:cs typeface="Times New Roman" panose="02020603050405020304" pitchFamily="18" charset="0"/>
              </a:rPr>
              <a:t>nolieciet cietušā ķermeņa augšdaļu un veiciet 5 sitienus starp lāpstiņām;</a:t>
            </a:r>
          </a:p>
          <a:p>
            <a:pPr marL="468000" lvl="1" indent="-180000" hangingPunct="0">
              <a:buSzPct val="100000"/>
              <a:buFont typeface="Arial" panose="020B0604020202020204" pitchFamily="34" charset="0"/>
              <a:buChar char="•"/>
              <a:tabLst>
                <a:tab pos="457200" algn="l"/>
                <a:tab pos="1586230" algn="l"/>
              </a:tabLst>
            </a:pPr>
            <a:r>
              <a:rPr lang="lv-LV" sz="1400">
                <a:ea typeface="Calibri" panose="020F0502020204030204" pitchFamily="34" charset="0"/>
                <a:cs typeface="Times New Roman" panose="02020603050405020304" pitchFamily="18" charset="0"/>
              </a:rPr>
              <a:t>ja tas nepalīdz, lietojiet Heimliha paņēmienu;</a:t>
            </a:r>
          </a:p>
          <a:p>
            <a:pPr marL="468000" lvl="1" indent="-180000" hangingPunct="0">
              <a:buSzPct val="100000"/>
              <a:buFont typeface="Arial" panose="020B0604020202020204" pitchFamily="34" charset="0"/>
              <a:buChar char="•"/>
              <a:tabLst>
                <a:tab pos="457200" algn="l"/>
                <a:tab pos="1586230" algn="l"/>
              </a:tabLst>
            </a:pPr>
            <a:r>
              <a:rPr lang="lv-LV" sz="1400">
                <a:ea typeface="Calibri" panose="020F0502020204030204" pitchFamily="34" charset="0"/>
                <a:cs typeface="Times New Roman" panose="02020603050405020304" pitchFamily="18" charset="0"/>
              </a:rPr>
              <a:t>ja nepieciešams, turpiniet, pārmaiņus veicot sitienus starp lāpstiņām un Heimliha paņēmienu;</a:t>
            </a:r>
          </a:p>
          <a:p>
            <a:pPr marL="468000" lvl="1" indent="-180000" hangingPunct="0">
              <a:buSzPct val="100000"/>
              <a:buFont typeface="Arial" panose="020B0604020202020204" pitchFamily="34" charset="0"/>
              <a:buChar char="•"/>
              <a:tabLst>
                <a:tab pos="457200" algn="l"/>
                <a:tab pos="1586230" algn="l"/>
              </a:tabLst>
            </a:pPr>
            <a:r>
              <a:rPr lang="lv-LV" sz="1400">
                <a:ea typeface="Calibri" panose="020F0502020204030204" pitchFamily="34" charset="0"/>
                <a:cs typeface="Times New Roman" panose="02020603050405020304" pitchFamily="18" charset="0"/>
              </a:rPr>
              <a:t>izsauciet Neatliekamo palīdzību;</a:t>
            </a:r>
          </a:p>
          <a:p>
            <a:pPr marL="468000" lvl="1" indent="-180000" hangingPunct="0">
              <a:buSzPct val="100000"/>
              <a:buFont typeface="Arial" panose="020B0604020202020204" pitchFamily="34" charset="0"/>
              <a:buChar char="•"/>
              <a:tabLst>
                <a:tab pos="457200" algn="l"/>
                <a:tab pos="1586230" algn="l"/>
              </a:tabLst>
            </a:pPr>
            <a:r>
              <a:rPr lang="lv-LV" sz="1400">
                <a:ea typeface="Calibri" panose="020F0502020204030204" pitchFamily="34" charset="0"/>
                <a:cs typeface="Times New Roman" panose="02020603050405020304" pitchFamily="18" charset="0"/>
              </a:rPr>
              <a:t>veiciet atdzīvināšanas pasākumus, ja nepieciešams.</a:t>
            </a:r>
          </a:p>
        </p:txBody>
      </p:sp>
      <p:sp>
        <p:nvSpPr>
          <p:cNvPr id="18" name="TextBox 17">
            <a:extLst>
              <a:ext uri="{FF2B5EF4-FFF2-40B4-BE49-F238E27FC236}">
                <a16:creationId xmlns:a16="http://schemas.microsoft.com/office/drawing/2014/main" id="{E1D4AC8F-0322-E8A8-E509-5AF71473A8F4}"/>
              </a:ext>
            </a:extLst>
          </p:cNvPr>
          <p:cNvSpPr txBox="1"/>
          <p:nvPr/>
        </p:nvSpPr>
        <p:spPr>
          <a:xfrm>
            <a:off x="7396160" y="2630489"/>
            <a:ext cx="4352925" cy="2785370"/>
          </a:xfrm>
          <a:prstGeom prst="rect">
            <a:avLst/>
          </a:prstGeom>
          <a:noFill/>
        </p:spPr>
        <p:txBody>
          <a:bodyPr wrap="square" lIns="72000" rIns="72000" anchor="ctr">
            <a:noAutofit/>
          </a:bodyPr>
          <a:lstStyle/>
          <a:p>
            <a:pPr marL="284400" lvl="0" indent="-284400" hangingPunct="0">
              <a:buSzPts val="1200"/>
              <a:buBlip>
                <a:blip r:embed="rId6"/>
              </a:buBlip>
            </a:pPr>
            <a:r>
              <a:rPr lang="lv-LV" sz="1400">
                <a:effectLst/>
                <a:ea typeface="Calibri" panose="020F0502020204030204" pitchFamily="34" charset="0"/>
                <a:cs typeface="Times New Roman" panose="02020603050405020304" pitchFamily="18" charset="0"/>
              </a:rPr>
              <a:t>Ja izmantots Heimliha paņēmiens, Neatliekamo palīdzību izsauciet vienmēr, jo arī šķietami labvēlīgas norises gadījumā cietušā stāvoklis vēlāk var būtiski pasliktināties. </a:t>
            </a:r>
          </a:p>
        </p:txBody>
      </p:sp>
      <p:sp>
        <p:nvSpPr>
          <p:cNvPr id="36" name="Rectangle 35">
            <a:extLst>
              <a:ext uri="{FF2B5EF4-FFF2-40B4-BE49-F238E27FC236}">
                <a16:creationId xmlns:a16="http://schemas.microsoft.com/office/drawing/2014/main" id="{A8F39C25-781C-A7DA-387A-D92FCABEE1F5}"/>
              </a:ext>
            </a:extLst>
          </p:cNvPr>
          <p:cNvSpPr/>
          <p:nvPr/>
        </p:nvSpPr>
        <p:spPr>
          <a:xfrm>
            <a:off x="442912" y="2630487"/>
            <a:ext cx="2208847" cy="278537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Svešķermenis elpceļos</a:t>
            </a:r>
          </a:p>
        </p:txBody>
      </p:sp>
      <p:sp>
        <p:nvSpPr>
          <p:cNvPr id="38" name="Content Placeholder 1">
            <a:extLst>
              <a:ext uri="{FF2B5EF4-FFF2-40B4-BE49-F238E27FC236}">
                <a16:creationId xmlns:a16="http://schemas.microsoft.com/office/drawing/2014/main" id="{7B1F3CCD-2DE1-C2A8-D340-EAF5B3993679}"/>
              </a:ext>
            </a:extLst>
          </p:cNvPr>
          <p:cNvSpPr txBox="1">
            <a:spLocks/>
          </p:cNvSpPr>
          <p:nvPr/>
        </p:nvSpPr>
        <p:spPr>
          <a:xfrm>
            <a:off x="2579759" y="2630487"/>
            <a:ext cx="72000" cy="278537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0"/>
            <a:ext cx="11306175" cy="1387275"/>
          </a:xfrm>
        </p:spPr>
        <p:txBody>
          <a:bodyPr vert="horz"/>
          <a:lstStyle/>
          <a:p>
            <a:r>
              <a:rPr lang="lv-LV"/>
              <a:t>Kā rīkoties, ja organismā </a:t>
            </a:r>
            <a:br>
              <a:rPr lang="en-US"/>
            </a:br>
            <a:r>
              <a:rPr lang="lv-LV"/>
              <a:t>nonākuši svešķermeņi?</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38</a:t>
            </a:fld>
            <a:endParaRPr lang="en-GB"/>
          </a:p>
        </p:txBody>
      </p:sp>
      <p:sp>
        <p:nvSpPr>
          <p:cNvPr id="10" name="Rectangle 9">
            <a:extLst>
              <a:ext uri="{FF2B5EF4-FFF2-40B4-BE49-F238E27FC236}">
                <a16:creationId xmlns:a16="http://schemas.microsoft.com/office/drawing/2014/main" id="{FD39E877-8733-6B3A-0736-82AE534CA18E}"/>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11" name="Content Placeholder 1">
            <a:extLst>
              <a:ext uri="{FF2B5EF4-FFF2-40B4-BE49-F238E27FC236}">
                <a16:creationId xmlns:a16="http://schemas.microsoft.com/office/drawing/2014/main" id="{284EF3B7-0D90-7812-B83D-6F9FB9C16ADE}"/>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2" name="Content Placeholder 1">
            <a:extLst>
              <a:ext uri="{FF2B5EF4-FFF2-40B4-BE49-F238E27FC236}">
                <a16:creationId xmlns:a16="http://schemas.microsoft.com/office/drawing/2014/main" id="{645AEA1F-484B-9114-07B9-348240688C2A}"/>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3" name="Google Shape;794;p79">
            <a:extLst>
              <a:ext uri="{FF2B5EF4-FFF2-40B4-BE49-F238E27FC236}">
                <a16:creationId xmlns:a16="http://schemas.microsoft.com/office/drawing/2014/main" id="{4D41839D-B245-47A7-C971-A1DF27C69FD1}"/>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4" name="Rectangle 13">
            <a:extLst>
              <a:ext uri="{FF2B5EF4-FFF2-40B4-BE49-F238E27FC236}">
                <a16:creationId xmlns:a16="http://schemas.microsoft.com/office/drawing/2014/main" id="{A0CB0E11-2B7E-5E0C-8007-0A75CD1A76D9}"/>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15" name="Content Placeholder 1">
            <a:extLst>
              <a:ext uri="{FF2B5EF4-FFF2-40B4-BE49-F238E27FC236}">
                <a16:creationId xmlns:a16="http://schemas.microsoft.com/office/drawing/2014/main" id="{B18768A5-110E-10C0-6D3E-DB72A0912CCB}"/>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7" name="Content Placeholder 1">
            <a:extLst>
              <a:ext uri="{FF2B5EF4-FFF2-40B4-BE49-F238E27FC236}">
                <a16:creationId xmlns:a16="http://schemas.microsoft.com/office/drawing/2014/main" id="{942F1E49-5A40-BD21-159E-8060CE8FA7BC}"/>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9" name="Google Shape;760;p79">
            <a:extLst>
              <a:ext uri="{FF2B5EF4-FFF2-40B4-BE49-F238E27FC236}">
                <a16:creationId xmlns:a16="http://schemas.microsoft.com/office/drawing/2014/main" id="{CF9BE83C-42B3-50C4-4EF0-2F8A69DC017B}"/>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1" name="Rectangle 20">
            <a:extLst>
              <a:ext uri="{FF2B5EF4-FFF2-40B4-BE49-F238E27FC236}">
                <a16:creationId xmlns:a16="http://schemas.microsoft.com/office/drawing/2014/main" id="{47F90413-FED8-5E76-8366-C80AC457EE4C}"/>
              </a:ext>
            </a:extLst>
          </p:cNvPr>
          <p:cNvSpPr/>
          <p:nvPr/>
        </p:nvSpPr>
        <p:spPr>
          <a:xfrm>
            <a:off x="442913" y="5596201"/>
            <a:ext cx="11306175" cy="576000"/>
          </a:xfrm>
          <a:prstGeom prst="rect">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algn="ctr"/>
            <a:r>
              <a:rPr lang="lv-LV" sz="1100" b="1">
                <a:solidFill>
                  <a:schemeClr val="bg1"/>
                </a:solidFill>
                <a:hlinkClick r:id="rId7">
                  <a:extLst>
                    <a:ext uri="{A12FA001-AC4F-418D-AE19-62706E023703}">
                      <ahyp:hlinkClr xmlns:ahyp="http://schemas.microsoft.com/office/drawing/2018/hyperlinkcolor" val="tx"/>
                    </a:ext>
                  </a:extLst>
                </a:hlinkClick>
              </a:rPr>
              <a:t>NMPD instrukcija "Kā sniegt pirmo palīdzību aizrīšanās gadījumos?"</a:t>
            </a:r>
            <a:endParaRPr lang="lv-LV" sz="1100" b="1">
              <a:solidFill>
                <a:schemeClr val="bg1"/>
              </a:solidFill>
            </a:endParaRPr>
          </a:p>
        </p:txBody>
      </p:sp>
      <p:sp>
        <p:nvSpPr>
          <p:cNvPr id="37" name="Google Shape;2001;p98">
            <a:extLst>
              <a:ext uri="{FF2B5EF4-FFF2-40B4-BE49-F238E27FC236}">
                <a16:creationId xmlns:a16="http://schemas.microsoft.com/office/drawing/2014/main" id="{E30F7D34-DADA-8F5C-B87F-33FA0FE4040C}"/>
              </a:ext>
            </a:extLst>
          </p:cNvPr>
          <p:cNvSpPr/>
          <p:nvPr/>
        </p:nvSpPr>
        <p:spPr>
          <a:xfrm>
            <a:off x="563974" y="5704201"/>
            <a:ext cx="360000" cy="360000"/>
          </a:xfrm>
          <a:custGeom>
            <a:avLst/>
            <a:gdLst/>
            <a:ahLst/>
            <a:cxnLst/>
            <a:rect l="l" t="t" r="r" b="b"/>
            <a:pathLst>
              <a:path w="347" h="347" extrusionOk="0">
                <a:moveTo>
                  <a:pt x="0" y="0"/>
                </a:moveTo>
                <a:cubicBezTo>
                  <a:pt x="0" y="347"/>
                  <a:pt x="0" y="347"/>
                  <a:pt x="0" y="347"/>
                </a:cubicBezTo>
                <a:cubicBezTo>
                  <a:pt x="347" y="347"/>
                  <a:pt x="347" y="347"/>
                  <a:pt x="347" y="347"/>
                </a:cubicBezTo>
                <a:cubicBezTo>
                  <a:pt x="347" y="0"/>
                  <a:pt x="347" y="0"/>
                  <a:pt x="347" y="0"/>
                </a:cubicBezTo>
                <a:lnTo>
                  <a:pt x="0" y="0"/>
                </a:lnTo>
                <a:close/>
                <a:moveTo>
                  <a:pt x="332" y="332"/>
                </a:moveTo>
                <a:cubicBezTo>
                  <a:pt x="15" y="332"/>
                  <a:pt x="15" y="332"/>
                  <a:pt x="15" y="332"/>
                </a:cubicBezTo>
                <a:cubicBezTo>
                  <a:pt x="15" y="15"/>
                  <a:pt x="15" y="15"/>
                  <a:pt x="15" y="15"/>
                </a:cubicBezTo>
                <a:cubicBezTo>
                  <a:pt x="332" y="15"/>
                  <a:pt x="332" y="15"/>
                  <a:pt x="332" y="15"/>
                </a:cubicBezTo>
                <a:lnTo>
                  <a:pt x="332" y="332"/>
                </a:lnTo>
                <a:close/>
                <a:moveTo>
                  <a:pt x="173" y="300"/>
                </a:moveTo>
                <a:cubicBezTo>
                  <a:pt x="243" y="300"/>
                  <a:pt x="300" y="243"/>
                  <a:pt x="300" y="173"/>
                </a:cubicBezTo>
                <a:cubicBezTo>
                  <a:pt x="300" y="104"/>
                  <a:pt x="243" y="47"/>
                  <a:pt x="173" y="47"/>
                </a:cubicBezTo>
                <a:cubicBezTo>
                  <a:pt x="104" y="47"/>
                  <a:pt x="47" y="104"/>
                  <a:pt x="47" y="173"/>
                </a:cubicBezTo>
                <a:cubicBezTo>
                  <a:pt x="47" y="243"/>
                  <a:pt x="104" y="300"/>
                  <a:pt x="173" y="300"/>
                </a:cubicBezTo>
                <a:close/>
                <a:moveTo>
                  <a:pt x="84" y="240"/>
                </a:moveTo>
                <a:cubicBezTo>
                  <a:pt x="109" y="240"/>
                  <a:pt x="109" y="240"/>
                  <a:pt x="109" y="240"/>
                </a:cubicBezTo>
                <a:cubicBezTo>
                  <a:pt x="114" y="254"/>
                  <a:pt x="121" y="266"/>
                  <a:pt x="129" y="276"/>
                </a:cubicBezTo>
                <a:cubicBezTo>
                  <a:pt x="111" y="268"/>
                  <a:pt x="96" y="256"/>
                  <a:pt x="84" y="240"/>
                </a:cubicBezTo>
                <a:close/>
                <a:moveTo>
                  <a:pt x="91" y="121"/>
                </a:moveTo>
                <a:cubicBezTo>
                  <a:pt x="92" y="128"/>
                  <a:pt x="96" y="134"/>
                  <a:pt x="101" y="137"/>
                </a:cubicBezTo>
                <a:cubicBezTo>
                  <a:pt x="100" y="147"/>
                  <a:pt x="99" y="156"/>
                  <a:pt x="99" y="166"/>
                </a:cubicBezTo>
                <a:cubicBezTo>
                  <a:pt x="62" y="166"/>
                  <a:pt x="62" y="166"/>
                  <a:pt x="62" y="166"/>
                </a:cubicBezTo>
                <a:cubicBezTo>
                  <a:pt x="63" y="150"/>
                  <a:pt x="67" y="135"/>
                  <a:pt x="75" y="121"/>
                </a:cubicBezTo>
                <a:lnTo>
                  <a:pt x="91" y="121"/>
                </a:lnTo>
                <a:close/>
                <a:moveTo>
                  <a:pt x="285" y="166"/>
                </a:moveTo>
                <a:cubicBezTo>
                  <a:pt x="267" y="166"/>
                  <a:pt x="267" y="166"/>
                  <a:pt x="267" y="166"/>
                </a:cubicBezTo>
                <a:cubicBezTo>
                  <a:pt x="264" y="157"/>
                  <a:pt x="257" y="151"/>
                  <a:pt x="247" y="149"/>
                </a:cubicBezTo>
                <a:cubicBezTo>
                  <a:pt x="246" y="139"/>
                  <a:pt x="244" y="130"/>
                  <a:pt x="242" y="121"/>
                </a:cubicBezTo>
                <a:cubicBezTo>
                  <a:pt x="272" y="121"/>
                  <a:pt x="272" y="121"/>
                  <a:pt x="272" y="121"/>
                </a:cubicBezTo>
                <a:cubicBezTo>
                  <a:pt x="279" y="135"/>
                  <a:pt x="284" y="150"/>
                  <a:pt x="285" y="166"/>
                </a:cubicBezTo>
                <a:close/>
                <a:moveTo>
                  <a:pt x="145" y="121"/>
                </a:moveTo>
                <a:cubicBezTo>
                  <a:pt x="166" y="121"/>
                  <a:pt x="166" y="121"/>
                  <a:pt x="166" y="121"/>
                </a:cubicBezTo>
                <a:cubicBezTo>
                  <a:pt x="166" y="166"/>
                  <a:pt x="166" y="166"/>
                  <a:pt x="166" y="166"/>
                </a:cubicBezTo>
                <a:cubicBezTo>
                  <a:pt x="113" y="166"/>
                  <a:pt x="113" y="166"/>
                  <a:pt x="113" y="166"/>
                </a:cubicBezTo>
                <a:cubicBezTo>
                  <a:pt x="114" y="158"/>
                  <a:pt x="114" y="150"/>
                  <a:pt x="115" y="143"/>
                </a:cubicBezTo>
                <a:cubicBezTo>
                  <a:pt x="116" y="143"/>
                  <a:pt x="117" y="143"/>
                  <a:pt x="118" y="143"/>
                </a:cubicBezTo>
                <a:cubicBezTo>
                  <a:pt x="131" y="143"/>
                  <a:pt x="142" y="134"/>
                  <a:pt x="145" y="121"/>
                </a:cubicBezTo>
                <a:close/>
                <a:moveTo>
                  <a:pt x="166" y="181"/>
                </a:moveTo>
                <a:cubicBezTo>
                  <a:pt x="166" y="205"/>
                  <a:pt x="166" y="205"/>
                  <a:pt x="166" y="205"/>
                </a:cubicBezTo>
                <a:cubicBezTo>
                  <a:pt x="157" y="208"/>
                  <a:pt x="149" y="216"/>
                  <a:pt x="147" y="226"/>
                </a:cubicBezTo>
                <a:cubicBezTo>
                  <a:pt x="120" y="226"/>
                  <a:pt x="120" y="226"/>
                  <a:pt x="120" y="226"/>
                </a:cubicBezTo>
                <a:cubicBezTo>
                  <a:pt x="116" y="212"/>
                  <a:pt x="114" y="197"/>
                  <a:pt x="113" y="181"/>
                </a:cubicBezTo>
                <a:lnTo>
                  <a:pt x="166" y="181"/>
                </a:lnTo>
                <a:close/>
                <a:moveTo>
                  <a:pt x="174" y="244"/>
                </a:moveTo>
                <a:cubicBezTo>
                  <a:pt x="167" y="244"/>
                  <a:pt x="161" y="238"/>
                  <a:pt x="161" y="232"/>
                </a:cubicBezTo>
                <a:cubicBezTo>
                  <a:pt x="161" y="225"/>
                  <a:pt x="167" y="219"/>
                  <a:pt x="174" y="219"/>
                </a:cubicBezTo>
                <a:cubicBezTo>
                  <a:pt x="181" y="219"/>
                  <a:pt x="186" y="225"/>
                  <a:pt x="186" y="232"/>
                </a:cubicBezTo>
                <a:cubicBezTo>
                  <a:pt x="186" y="238"/>
                  <a:pt x="181" y="244"/>
                  <a:pt x="174" y="244"/>
                </a:cubicBezTo>
                <a:close/>
                <a:moveTo>
                  <a:pt x="148" y="240"/>
                </a:moveTo>
                <a:cubicBezTo>
                  <a:pt x="151" y="249"/>
                  <a:pt x="158" y="255"/>
                  <a:pt x="166" y="258"/>
                </a:cubicBezTo>
                <a:cubicBezTo>
                  <a:pt x="166" y="284"/>
                  <a:pt x="166" y="284"/>
                  <a:pt x="166" y="284"/>
                </a:cubicBezTo>
                <a:cubicBezTo>
                  <a:pt x="150" y="280"/>
                  <a:pt x="135" y="264"/>
                  <a:pt x="126" y="240"/>
                </a:cubicBezTo>
                <a:lnTo>
                  <a:pt x="148" y="240"/>
                </a:lnTo>
                <a:close/>
                <a:moveTo>
                  <a:pt x="181" y="284"/>
                </a:moveTo>
                <a:cubicBezTo>
                  <a:pt x="181" y="258"/>
                  <a:pt x="181" y="258"/>
                  <a:pt x="181" y="258"/>
                </a:cubicBezTo>
                <a:cubicBezTo>
                  <a:pt x="190" y="256"/>
                  <a:pt x="197" y="249"/>
                  <a:pt x="200" y="240"/>
                </a:cubicBezTo>
                <a:cubicBezTo>
                  <a:pt x="221" y="240"/>
                  <a:pt x="221" y="240"/>
                  <a:pt x="221" y="240"/>
                </a:cubicBezTo>
                <a:cubicBezTo>
                  <a:pt x="212" y="264"/>
                  <a:pt x="197" y="280"/>
                  <a:pt x="181" y="284"/>
                </a:cubicBezTo>
                <a:close/>
                <a:moveTo>
                  <a:pt x="201" y="226"/>
                </a:moveTo>
                <a:cubicBezTo>
                  <a:pt x="198" y="216"/>
                  <a:pt x="191" y="208"/>
                  <a:pt x="181" y="205"/>
                </a:cubicBezTo>
                <a:cubicBezTo>
                  <a:pt x="181" y="181"/>
                  <a:pt x="181" y="181"/>
                  <a:pt x="181" y="181"/>
                </a:cubicBezTo>
                <a:cubicBezTo>
                  <a:pt x="215" y="181"/>
                  <a:pt x="215" y="181"/>
                  <a:pt x="215" y="181"/>
                </a:cubicBezTo>
                <a:cubicBezTo>
                  <a:pt x="217" y="190"/>
                  <a:pt x="223" y="198"/>
                  <a:pt x="232" y="201"/>
                </a:cubicBezTo>
                <a:cubicBezTo>
                  <a:pt x="231" y="210"/>
                  <a:pt x="229" y="218"/>
                  <a:pt x="227" y="226"/>
                </a:cubicBezTo>
                <a:lnTo>
                  <a:pt x="201" y="226"/>
                </a:lnTo>
                <a:close/>
                <a:moveTo>
                  <a:pt x="242" y="163"/>
                </a:moveTo>
                <a:cubicBezTo>
                  <a:pt x="249" y="163"/>
                  <a:pt x="254" y="169"/>
                  <a:pt x="254" y="176"/>
                </a:cubicBezTo>
                <a:cubicBezTo>
                  <a:pt x="254" y="182"/>
                  <a:pt x="249" y="188"/>
                  <a:pt x="242" y="188"/>
                </a:cubicBezTo>
                <a:cubicBezTo>
                  <a:pt x="235" y="188"/>
                  <a:pt x="229" y="182"/>
                  <a:pt x="229" y="176"/>
                </a:cubicBezTo>
                <a:cubicBezTo>
                  <a:pt x="229" y="169"/>
                  <a:pt x="235" y="163"/>
                  <a:pt x="242" y="163"/>
                </a:cubicBezTo>
                <a:close/>
                <a:moveTo>
                  <a:pt x="247" y="202"/>
                </a:moveTo>
                <a:cubicBezTo>
                  <a:pt x="258" y="201"/>
                  <a:pt x="266" y="192"/>
                  <a:pt x="269" y="181"/>
                </a:cubicBezTo>
                <a:cubicBezTo>
                  <a:pt x="285" y="181"/>
                  <a:pt x="285" y="181"/>
                  <a:pt x="285" y="181"/>
                </a:cubicBezTo>
                <a:cubicBezTo>
                  <a:pt x="284" y="197"/>
                  <a:pt x="279" y="212"/>
                  <a:pt x="272" y="226"/>
                </a:cubicBezTo>
                <a:cubicBezTo>
                  <a:pt x="242" y="226"/>
                  <a:pt x="242" y="226"/>
                  <a:pt x="242" y="226"/>
                </a:cubicBezTo>
                <a:cubicBezTo>
                  <a:pt x="244" y="218"/>
                  <a:pt x="245" y="211"/>
                  <a:pt x="247" y="202"/>
                </a:cubicBezTo>
                <a:close/>
                <a:moveTo>
                  <a:pt x="232" y="150"/>
                </a:moveTo>
                <a:cubicBezTo>
                  <a:pt x="225" y="153"/>
                  <a:pt x="219" y="159"/>
                  <a:pt x="216" y="166"/>
                </a:cubicBezTo>
                <a:cubicBezTo>
                  <a:pt x="181" y="166"/>
                  <a:pt x="181" y="166"/>
                  <a:pt x="181" y="166"/>
                </a:cubicBezTo>
                <a:cubicBezTo>
                  <a:pt x="181" y="121"/>
                  <a:pt x="181" y="121"/>
                  <a:pt x="181" y="121"/>
                </a:cubicBezTo>
                <a:cubicBezTo>
                  <a:pt x="227" y="121"/>
                  <a:pt x="227" y="121"/>
                  <a:pt x="227" y="121"/>
                </a:cubicBezTo>
                <a:cubicBezTo>
                  <a:pt x="229" y="130"/>
                  <a:pt x="231" y="140"/>
                  <a:pt x="232" y="150"/>
                </a:cubicBezTo>
                <a:close/>
                <a:moveTo>
                  <a:pt x="181" y="106"/>
                </a:moveTo>
                <a:cubicBezTo>
                  <a:pt x="181" y="63"/>
                  <a:pt x="181" y="63"/>
                  <a:pt x="181" y="63"/>
                </a:cubicBezTo>
                <a:cubicBezTo>
                  <a:pt x="197" y="66"/>
                  <a:pt x="212" y="83"/>
                  <a:pt x="222" y="106"/>
                </a:cubicBezTo>
                <a:lnTo>
                  <a:pt x="181" y="106"/>
                </a:lnTo>
                <a:close/>
                <a:moveTo>
                  <a:pt x="166" y="63"/>
                </a:moveTo>
                <a:cubicBezTo>
                  <a:pt x="166" y="106"/>
                  <a:pt x="166" y="106"/>
                  <a:pt x="166" y="106"/>
                </a:cubicBezTo>
                <a:cubicBezTo>
                  <a:pt x="144" y="106"/>
                  <a:pt x="144" y="106"/>
                  <a:pt x="144" y="106"/>
                </a:cubicBezTo>
                <a:cubicBezTo>
                  <a:pt x="142" y="101"/>
                  <a:pt x="138" y="96"/>
                  <a:pt x="132" y="92"/>
                </a:cubicBezTo>
                <a:cubicBezTo>
                  <a:pt x="142" y="76"/>
                  <a:pt x="154" y="66"/>
                  <a:pt x="166" y="63"/>
                </a:cubicBezTo>
                <a:close/>
                <a:moveTo>
                  <a:pt x="118" y="103"/>
                </a:moveTo>
                <a:cubicBezTo>
                  <a:pt x="125" y="103"/>
                  <a:pt x="130" y="109"/>
                  <a:pt x="130" y="116"/>
                </a:cubicBezTo>
                <a:cubicBezTo>
                  <a:pt x="130" y="122"/>
                  <a:pt x="125" y="128"/>
                  <a:pt x="118" y="128"/>
                </a:cubicBezTo>
                <a:cubicBezTo>
                  <a:pt x="111" y="128"/>
                  <a:pt x="105" y="122"/>
                  <a:pt x="105" y="116"/>
                </a:cubicBezTo>
                <a:cubicBezTo>
                  <a:pt x="105" y="109"/>
                  <a:pt x="111" y="103"/>
                  <a:pt x="118" y="103"/>
                </a:cubicBezTo>
                <a:close/>
                <a:moveTo>
                  <a:pt x="98" y="181"/>
                </a:moveTo>
                <a:cubicBezTo>
                  <a:pt x="99" y="197"/>
                  <a:pt x="101" y="212"/>
                  <a:pt x="105" y="226"/>
                </a:cubicBezTo>
                <a:cubicBezTo>
                  <a:pt x="75" y="226"/>
                  <a:pt x="75" y="226"/>
                  <a:pt x="75" y="226"/>
                </a:cubicBezTo>
                <a:cubicBezTo>
                  <a:pt x="67" y="212"/>
                  <a:pt x="63" y="197"/>
                  <a:pt x="62" y="181"/>
                </a:cubicBezTo>
                <a:lnTo>
                  <a:pt x="98" y="181"/>
                </a:lnTo>
                <a:close/>
                <a:moveTo>
                  <a:pt x="217" y="276"/>
                </a:moveTo>
                <a:cubicBezTo>
                  <a:pt x="225" y="267"/>
                  <a:pt x="232" y="255"/>
                  <a:pt x="237" y="240"/>
                </a:cubicBezTo>
                <a:cubicBezTo>
                  <a:pt x="263" y="240"/>
                  <a:pt x="263" y="240"/>
                  <a:pt x="263" y="240"/>
                </a:cubicBezTo>
                <a:cubicBezTo>
                  <a:pt x="251" y="256"/>
                  <a:pt x="235" y="268"/>
                  <a:pt x="217" y="276"/>
                </a:cubicBezTo>
                <a:close/>
                <a:moveTo>
                  <a:pt x="263" y="106"/>
                </a:moveTo>
                <a:cubicBezTo>
                  <a:pt x="237" y="106"/>
                  <a:pt x="237" y="106"/>
                  <a:pt x="237" y="106"/>
                </a:cubicBezTo>
                <a:cubicBezTo>
                  <a:pt x="232" y="92"/>
                  <a:pt x="226" y="80"/>
                  <a:pt x="218" y="71"/>
                </a:cubicBezTo>
                <a:cubicBezTo>
                  <a:pt x="236" y="79"/>
                  <a:pt x="251" y="91"/>
                  <a:pt x="263" y="106"/>
                </a:cubicBezTo>
                <a:close/>
                <a:moveTo>
                  <a:pt x="129" y="71"/>
                </a:moveTo>
                <a:cubicBezTo>
                  <a:pt x="125" y="76"/>
                  <a:pt x="121" y="82"/>
                  <a:pt x="118" y="88"/>
                </a:cubicBezTo>
                <a:cubicBezTo>
                  <a:pt x="106" y="88"/>
                  <a:pt x="96" y="96"/>
                  <a:pt x="92" y="106"/>
                </a:cubicBezTo>
                <a:cubicBezTo>
                  <a:pt x="84" y="106"/>
                  <a:pt x="84" y="106"/>
                  <a:pt x="84" y="106"/>
                </a:cubicBezTo>
                <a:cubicBezTo>
                  <a:pt x="96" y="91"/>
                  <a:pt x="111" y="79"/>
                  <a:pt x="129" y="71"/>
                </a:cubicBez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39" name="Google Shape;1696;p92">
            <a:extLst>
              <a:ext uri="{FF2B5EF4-FFF2-40B4-BE49-F238E27FC236}">
                <a16:creationId xmlns:a16="http://schemas.microsoft.com/office/drawing/2014/main" id="{A33A8691-5AD1-2CF8-9C5D-C16FB49C59A3}"/>
              </a:ext>
            </a:extLst>
          </p:cNvPr>
          <p:cNvGrpSpPr/>
          <p:nvPr/>
        </p:nvGrpSpPr>
        <p:grpSpPr>
          <a:xfrm>
            <a:off x="2021278" y="4878369"/>
            <a:ext cx="360363" cy="360363"/>
            <a:chOff x="6478734" y="4634724"/>
            <a:chExt cx="457200" cy="457200"/>
          </a:xfrm>
          <a:solidFill>
            <a:schemeClr val="bg1"/>
          </a:solidFill>
        </p:grpSpPr>
        <p:sp>
          <p:nvSpPr>
            <p:cNvPr id="40" name="Google Shape;1697;p92">
              <a:extLst>
                <a:ext uri="{FF2B5EF4-FFF2-40B4-BE49-F238E27FC236}">
                  <a16:creationId xmlns:a16="http://schemas.microsoft.com/office/drawing/2014/main" id="{939AFD7E-CE7C-68BB-2CB0-9DE736774427}"/>
                </a:ext>
              </a:extLst>
            </p:cNvPr>
            <p:cNvSpPr/>
            <p:nvPr/>
          </p:nvSpPr>
          <p:spPr>
            <a:xfrm>
              <a:off x="6478734" y="4634724"/>
              <a:ext cx="457200" cy="457200"/>
            </a:xfrm>
            <a:custGeom>
              <a:avLst/>
              <a:gdLst/>
              <a:ahLst/>
              <a:cxnLst/>
              <a:rect l="l" t="t" r="r" b="b"/>
              <a:pathLst>
                <a:path w="457200" h="457200" extrusionOk="0">
                  <a:moveTo>
                    <a:pt x="0" y="0"/>
                  </a:moveTo>
                  <a:lnTo>
                    <a:pt x="0" y="457200"/>
                  </a:lnTo>
                  <a:lnTo>
                    <a:pt x="457200" y="457200"/>
                  </a:lnTo>
                  <a:lnTo>
                    <a:pt x="457200" y="0"/>
                  </a:lnTo>
                  <a:close/>
                  <a:moveTo>
                    <a:pt x="236569" y="19526"/>
                  </a:moveTo>
                  <a:lnTo>
                    <a:pt x="236569" y="105029"/>
                  </a:lnTo>
                  <a:cubicBezTo>
                    <a:pt x="236542" y="123542"/>
                    <a:pt x="244930" y="141064"/>
                    <a:pt x="259366" y="152654"/>
                  </a:cubicBezTo>
                  <a:lnTo>
                    <a:pt x="261906" y="155226"/>
                  </a:lnTo>
                  <a:lnTo>
                    <a:pt x="276225" y="169482"/>
                  </a:lnTo>
                  <a:lnTo>
                    <a:pt x="321151" y="214376"/>
                  </a:lnTo>
                  <a:lnTo>
                    <a:pt x="334963" y="200565"/>
                  </a:lnTo>
                  <a:lnTo>
                    <a:pt x="301847" y="167418"/>
                  </a:lnTo>
                  <a:lnTo>
                    <a:pt x="300355" y="165894"/>
                  </a:lnTo>
                  <a:lnTo>
                    <a:pt x="287655" y="153194"/>
                  </a:lnTo>
                  <a:cubicBezTo>
                    <a:pt x="296450" y="144494"/>
                    <a:pt x="309372" y="137859"/>
                    <a:pt x="318802" y="137859"/>
                  </a:cubicBezTo>
                  <a:cubicBezTo>
                    <a:pt x="330073" y="137859"/>
                    <a:pt x="345059" y="148685"/>
                    <a:pt x="350838" y="161004"/>
                  </a:cubicBezTo>
                  <a:lnTo>
                    <a:pt x="370840" y="203200"/>
                  </a:lnTo>
                  <a:cubicBezTo>
                    <a:pt x="378450" y="221050"/>
                    <a:pt x="382753" y="240135"/>
                    <a:pt x="383540" y="259525"/>
                  </a:cubicBezTo>
                  <a:lnTo>
                    <a:pt x="383540" y="366014"/>
                  </a:lnTo>
                  <a:cubicBezTo>
                    <a:pt x="383540" y="370935"/>
                    <a:pt x="382143" y="374618"/>
                    <a:pt x="379698" y="376142"/>
                  </a:cubicBezTo>
                  <a:cubicBezTo>
                    <a:pt x="377254" y="377666"/>
                    <a:pt x="373348" y="377381"/>
                    <a:pt x="368903" y="375253"/>
                  </a:cubicBezTo>
                  <a:lnTo>
                    <a:pt x="287306" y="336074"/>
                  </a:lnTo>
                  <a:cubicBezTo>
                    <a:pt x="275019" y="330200"/>
                    <a:pt x="264224" y="313055"/>
                    <a:pt x="264224" y="299434"/>
                  </a:cubicBezTo>
                  <a:lnTo>
                    <a:pt x="264224" y="215424"/>
                  </a:lnTo>
                  <a:cubicBezTo>
                    <a:pt x="264224" y="214979"/>
                    <a:pt x="264224" y="214535"/>
                    <a:pt x="264224" y="214090"/>
                  </a:cubicBezTo>
                  <a:lnTo>
                    <a:pt x="291783" y="241618"/>
                  </a:lnTo>
                  <a:lnTo>
                    <a:pt x="292862" y="242729"/>
                  </a:lnTo>
                  <a:lnTo>
                    <a:pt x="306673" y="228918"/>
                  </a:lnTo>
                  <a:lnTo>
                    <a:pt x="274003" y="196247"/>
                  </a:lnTo>
                  <a:lnTo>
                    <a:pt x="271113" y="193326"/>
                  </a:lnTo>
                  <a:cubicBezTo>
                    <a:pt x="270161" y="192437"/>
                    <a:pt x="269177" y="191643"/>
                    <a:pt x="268161" y="190818"/>
                  </a:cubicBezTo>
                  <a:cubicBezTo>
                    <a:pt x="256606" y="181065"/>
                    <a:pt x="242005" y="175663"/>
                    <a:pt x="226886" y="175546"/>
                  </a:cubicBezTo>
                  <a:lnTo>
                    <a:pt x="226314" y="176149"/>
                  </a:lnTo>
                  <a:lnTo>
                    <a:pt x="225711" y="175546"/>
                  </a:lnTo>
                  <a:cubicBezTo>
                    <a:pt x="210964" y="175722"/>
                    <a:pt x="196705" y="180855"/>
                    <a:pt x="185230" y="190119"/>
                  </a:cubicBezTo>
                  <a:cubicBezTo>
                    <a:pt x="183960" y="191135"/>
                    <a:pt x="182690" y="192215"/>
                    <a:pt x="181483" y="193294"/>
                  </a:cubicBezTo>
                  <a:lnTo>
                    <a:pt x="178594" y="196215"/>
                  </a:lnTo>
                  <a:lnTo>
                    <a:pt x="145637" y="229203"/>
                  </a:lnTo>
                  <a:lnTo>
                    <a:pt x="159417" y="243015"/>
                  </a:lnTo>
                  <a:lnTo>
                    <a:pt x="160814" y="241618"/>
                  </a:lnTo>
                  <a:lnTo>
                    <a:pt x="189389" y="213043"/>
                  </a:lnTo>
                  <a:cubicBezTo>
                    <a:pt x="189389" y="213836"/>
                    <a:pt x="189389" y="214598"/>
                    <a:pt x="189389" y="215360"/>
                  </a:cubicBezTo>
                  <a:lnTo>
                    <a:pt x="189389" y="299434"/>
                  </a:lnTo>
                  <a:cubicBezTo>
                    <a:pt x="189389" y="313055"/>
                    <a:pt x="178594" y="330200"/>
                    <a:pt x="166275" y="336074"/>
                  </a:cubicBezTo>
                  <a:lnTo>
                    <a:pt x="84836" y="375095"/>
                  </a:lnTo>
                  <a:cubicBezTo>
                    <a:pt x="80423" y="377222"/>
                    <a:pt x="76486" y="377539"/>
                    <a:pt x="74041" y="375984"/>
                  </a:cubicBezTo>
                  <a:cubicBezTo>
                    <a:pt x="71596" y="374428"/>
                    <a:pt x="70199" y="370777"/>
                    <a:pt x="70199" y="365855"/>
                  </a:cubicBezTo>
                  <a:lnTo>
                    <a:pt x="70199" y="259366"/>
                  </a:lnTo>
                  <a:cubicBezTo>
                    <a:pt x="70986" y="239977"/>
                    <a:pt x="75289" y="220892"/>
                    <a:pt x="82899" y="203041"/>
                  </a:cubicBezTo>
                  <a:lnTo>
                    <a:pt x="102743" y="160877"/>
                  </a:lnTo>
                  <a:cubicBezTo>
                    <a:pt x="108553" y="148558"/>
                    <a:pt x="123539" y="137732"/>
                    <a:pt x="134779" y="137732"/>
                  </a:cubicBezTo>
                  <a:cubicBezTo>
                    <a:pt x="144082" y="137732"/>
                    <a:pt x="156718" y="144082"/>
                    <a:pt x="165481" y="152591"/>
                  </a:cubicBezTo>
                  <a:lnTo>
                    <a:pt x="152400" y="165894"/>
                  </a:lnTo>
                  <a:lnTo>
                    <a:pt x="150876" y="167450"/>
                  </a:lnTo>
                  <a:lnTo>
                    <a:pt x="117284" y="200851"/>
                  </a:lnTo>
                  <a:lnTo>
                    <a:pt x="131096" y="214662"/>
                  </a:lnTo>
                  <a:lnTo>
                    <a:pt x="176975" y="168783"/>
                  </a:lnTo>
                  <a:lnTo>
                    <a:pt x="191326" y="154464"/>
                  </a:lnTo>
                  <a:lnTo>
                    <a:pt x="193231" y="152527"/>
                  </a:lnTo>
                  <a:cubicBezTo>
                    <a:pt x="207667" y="140937"/>
                    <a:pt x="216054" y="123415"/>
                    <a:pt x="216027" y="104902"/>
                  </a:cubicBezTo>
                  <a:lnTo>
                    <a:pt x="216027" y="19526"/>
                  </a:lnTo>
                  <a:close/>
                  <a:moveTo>
                    <a:pt x="437674" y="437674"/>
                  </a:moveTo>
                  <a:lnTo>
                    <a:pt x="19526" y="437674"/>
                  </a:lnTo>
                  <a:lnTo>
                    <a:pt x="19526" y="19526"/>
                  </a:lnTo>
                  <a:lnTo>
                    <a:pt x="196501" y="19526"/>
                  </a:lnTo>
                  <a:lnTo>
                    <a:pt x="196501" y="97187"/>
                  </a:lnTo>
                  <a:cubicBezTo>
                    <a:pt x="196844" y="100353"/>
                    <a:pt x="196844" y="103546"/>
                    <a:pt x="196501" y="106712"/>
                  </a:cubicBezTo>
                  <a:cubicBezTo>
                    <a:pt x="196501" y="106966"/>
                    <a:pt x="196501" y="107252"/>
                    <a:pt x="196501" y="107537"/>
                  </a:cubicBezTo>
                  <a:cubicBezTo>
                    <a:pt x="195751" y="120023"/>
                    <a:pt x="189404" y="131503"/>
                    <a:pt x="179229" y="138779"/>
                  </a:cubicBezTo>
                  <a:cubicBezTo>
                    <a:pt x="166783" y="126746"/>
                    <a:pt x="149225" y="118269"/>
                    <a:pt x="134779" y="118269"/>
                  </a:cubicBezTo>
                  <a:cubicBezTo>
                    <a:pt x="115983" y="118269"/>
                    <a:pt x="94139" y="133350"/>
                    <a:pt x="85090" y="152622"/>
                  </a:cubicBezTo>
                  <a:lnTo>
                    <a:pt x="65119" y="194755"/>
                  </a:lnTo>
                  <a:cubicBezTo>
                    <a:pt x="56328" y="215200"/>
                    <a:pt x="51470" y="237120"/>
                    <a:pt x="50800" y="259366"/>
                  </a:cubicBezTo>
                  <a:lnTo>
                    <a:pt x="50800" y="365855"/>
                  </a:lnTo>
                  <a:cubicBezTo>
                    <a:pt x="50800" y="377603"/>
                    <a:pt x="55531" y="387318"/>
                    <a:pt x="63786" y="392525"/>
                  </a:cubicBezTo>
                  <a:cubicBezTo>
                    <a:pt x="68026" y="395154"/>
                    <a:pt x="72927" y="396519"/>
                    <a:pt x="77915" y="396462"/>
                  </a:cubicBezTo>
                  <a:cubicBezTo>
                    <a:pt x="83305" y="396389"/>
                    <a:pt x="88610" y="395110"/>
                    <a:pt x="93440" y="392716"/>
                  </a:cubicBezTo>
                  <a:lnTo>
                    <a:pt x="174625" y="353695"/>
                  </a:lnTo>
                  <a:cubicBezTo>
                    <a:pt x="193675" y="344519"/>
                    <a:pt x="208820" y="320675"/>
                    <a:pt x="208820" y="299434"/>
                  </a:cubicBezTo>
                  <a:lnTo>
                    <a:pt x="208820" y="215424"/>
                  </a:lnTo>
                  <a:cubicBezTo>
                    <a:pt x="208754" y="209992"/>
                    <a:pt x="208234" y="204576"/>
                    <a:pt x="207264" y="199231"/>
                  </a:cubicBezTo>
                  <a:cubicBezTo>
                    <a:pt x="219596" y="193503"/>
                    <a:pt x="233856" y="193655"/>
                    <a:pt x="246063" y="199644"/>
                  </a:cubicBezTo>
                  <a:cubicBezTo>
                    <a:pt x="245147" y="204888"/>
                    <a:pt x="244659" y="210196"/>
                    <a:pt x="244602" y="215519"/>
                  </a:cubicBezTo>
                  <a:lnTo>
                    <a:pt x="244602" y="299434"/>
                  </a:lnTo>
                  <a:cubicBezTo>
                    <a:pt x="244602" y="320675"/>
                    <a:pt x="259620" y="344519"/>
                    <a:pt x="278797" y="353695"/>
                  </a:cubicBezTo>
                  <a:lnTo>
                    <a:pt x="360236" y="392716"/>
                  </a:lnTo>
                  <a:cubicBezTo>
                    <a:pt x="365065" y="395110"/>
                    <a:pt x="370370" y="396389"/>
                    <a:pt x="375761" y="396462"/>
                  </a:cubicBezTo>
                  <a:cubicBezTo>
                    <a:pt x="380749" y="396519"/>
                    <a:pt x="385651" y="395154"/>
                    <a:pt x="389890" y="392525"/>
                  </a:cubicBezTo>
                  <a:cubicBezTo>
                    <a:pt x="398113" y="387318"/>
                    <a:pt x="402844" y="377603"/>
                    <a:pt x="402844" y="365855"/>
                  </a:cubicBezTo>
                  <a:lnTo>
                    <a:pt x="402844" y="259366"/>
                  </a:lnTo>
                  <a:cubicBezTo>
                    <a:pt x="402117" y="237114"/>
                    <a:pt x="397215" y="215197"/>
                    <a:pt x="388398" y="194755"/>
                  </a:cubicBezTo>
                  <a:lnTo>
                    <a:pt x="368554" y="152559"/>
                  </a:lnTo>
                  <a:cubicBezTo>
                    <a:pt x="359505" y="133287"/>
                    <a:pt x="337661" y="118205"/>
                    <a:pt x="318834" y="118205"/>
                  </a:cubicBezTo>
                  <a:cubicBezTo>
                    <a:pt x="304229" y="118205"/>
                    <a:pt x="286417" y="126873"/>
                    <a:pt x="274003" y="139129"/>
                  </a:cubicBezTo>
                  <a:cubicBezTo>
                    <a:pt x="262735" y="131436"/>
                    <a:pt x="255996" y="118672"/>
                    <a:pt x="256000" y="105029"/>
                  </a:cubicBezTo>
                  <a:cubicBezTo>
                    <a:pt x="256000" y="104204"/>
                    <a:pt x="256000" y="103442"/>
                    <a:pt x="256000" y="102648"/>
                  </a:cubicBezTo>
                  <a:cubicBezTo>
                    <a:pt x="256000" y="102394"/>
                    <a:pt x="256000" y="102172"/>
                    <a:pt x="256000" y="101917"/>
                  </a:cubicBezTo>
                  <a:lnTo>
                    <a:pt x="256000" y="101917"/>
                  </a:lnTo>
                  <a:lnTo>
                    <a:pt x="256000" y="19526"/>
                  </a:lnTo>
                  <a:lnTo>
                    <a:pt x="437579" y="1952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41" name="Google Shape;1698;p92">
              <a:extLst>
                <a:ext uri="{FF2B5EF4-FFF2-40B4-BE49-F238E27FC236}">
                  <a16:creationId xmlns:a16="http://schemas.microsoft.com/office/drawing/2014/main" id="{3CCBB661-91D3-721F-B441-B5554103118F}"/>
                </a:ext>
              </a:extLst>
            </p:cNvPr>
            <p:cNvSpPr/>
            <p:nvPr/>
          </p:nvSpPr>
          <p:spPr>
            <a:xfrm>
              <a:off x="6791979" y="4881739"/>
              <a:ext cx="49150" cy="94838"/>
            </a:xfrm>
            <a:custGeom>
              <a:avLst/>
              <a:gdLst/>
              <a:ahLst/>
              <a:cxnLst/>
              <a:rect l="l" t="t" r="r" b="b"/>
              <a:pathLst>
                <a:path w="49150" h="94838" extrusionOk="0">
                  <a:moveTo>
                    <a:pt x="37497" y="94837"/>
                  </a:moveTo>
                  <a:cubicBezTo>
                    <a:pt x="39745" y="94869"/>
                    <a:pt x="41951" y="94240"/>
                    <a:pt x="43847" y="93027"/>
                  </a:cubicBezTo>
                  <a:cubicBezTo>
                    <a:pt x="47215" y="90795"/>
                    <a:pt x="49216" y="87001"/>
                    <a:pt x="49149" y="82963"/>
                  </a:cubicBezTo>
                  <a:lnTo>
                    <a:pt x="49149" y="0"/>
                  </a:lnTo>
                  <a:lnTo>
                    <a:pt x="29654" y="0"/>
                  </a:lnTo>
                  <a:lnTo>
                    <a:pt x="29654" y="70993"/>
                  </a:lnTo>
                  <a:lnTo>
                    <a:pt x="8033" y="61182"/>
                  </a:lnTo>
                  <a:lnTo>
                    <a:pt x="0" y="78994"/>
                  </a:lnTo>
                  <a:lnTo>
                    <a:pt x="32512" y="93726"/>
                  </a:lnTo>
                  <a:cubicBezTo>
                    <a:pt x="34080" y="94431"/>
                    <a:pt x="35776" y="94809"/>
                    <a:pt x="37497" y="94837"/>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42" name="Google Shape;1699;p92">
              <a:extLst>
                <a:ext uri="{FF2B5EF4-FFF2-40B4-BE49-F238E27FC236}">
                  <a16:creationId xmlns:a16="http://schemas.microsoft.com/office/drawing/2014/main" id="{1C3D77FE-2050-57C5-699B-E23D89EE4D9F}"/>
                </a:ext>
              </a:extLst>
            </p:cNvPr>
            <p:cNvSpPr/>
            <p:nvPr/>
          </p:nvSpPr>
          <p:spPr>
            <a:xfrm>
              <a:off x="6569696" y="4881739"/>
              <a:ext cx="49309" cy="94838"/>
            </a:xfrm>
            <a:custGeom>
              <a:avLst/>
              <a:gdLst/>
              <a:ahLst/>
              <a:cxnLst/>
              <a:rect l="l" t="t" r="r" b="b"/>
              <a:pathLst>
                <a:path w="49309" h="94838" extrusionOk="0">
                  <a:moveTo>
                    <a:pt x="19528" y="70993"/>
                  </a:moveTo>
                  <a:lnTo>
                    <a:pt x="19528" y="0"/>
                  </a:lnTo>
                  <a:lnTo>
                    <a:pt x="2" y="0"/>
                  </a:lnTo>
                  <a:lnTo>
                    <a:pt x="2" y="82963"/>
                  </a:lnTo>
                  <a:cubicBezTo>
                    <a:pt x="-64" y="87001"/>
                    <a:pt x="1935" y="90795"/>
                    <a:pt x="5304" y="93027"/>
                  </a:cubicBezTo>
                  <a:cubicBezTo>
                    <a:pt x="7198" y="94240"/>
                    <a:pt x="9406" y="94869"/>
                    <a:pt x="11654" y="94837"/>
                  </a:cubicBezTo>
                  <a:cubicBezTo>
                    <a:pt x="13416" y="94825"/>
                    <a:pt x="15157" y="94447"/>
                    <a:pt x="16766" y="93726"/>
                  </a:cubicBezTo>
                  <a:lnTo>
                    <a:pt x="49309" y="78994"/>
                  </a:lnTo>
                  <a:lnTo>
                    <a:pt x="41245" y="61182"/>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grpSp>
      <p:sp>
        <p:nvSpPr>
          <p:cNvPr id="5" name="Rectangle 4">
            <a:extLst>
              <a:ext uri="{FF2B5EF4-FFF2-40B4-BE49-F238E27FC236}">
                <a16:creationId xmlns:a16="http://schemas.microsoft.com/office/drawing/2014/main" id="{3EE9A8D7-974A-0CF9-3140-9CBC7B279E05}"/>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sp>
        <p:nvSpPr>
          <p:cNvPr id="31" name="Content Placeholder 1">
            <a:extLst>
              <a:ext uri="{FF2B5EF4-FFF2-40B4-BE49-F238E27FC236}">
                <a16:creationId xmlns:a16="http://schemas.microsoft.com/office/drawing/2014/main" id="{6C40605B-972D-274D-B9C5-B49D58BC4487}"/>
              </a:ext>
            </a:extLst>
          </p:cNvPr>
          <p:cNvSpPr txBox="1">
            <a:spLocks/>
          </p:cNvSpPr>
          <p:nvPr/>
        </p:nvSpPr>
        <p:spPr>
          <a:xfrm>
            <a:off x="11677088" y="5595938"/>
            <a:ext cx="72000" cy="576263"/>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grpSp>
        <p:nvGrpSpPr>
          <p:cNvPr id="2" name="Group 1">
            <a:extLst>
              <a:ext uri="{FF2B5EF4-FFF2-40B4-BE49-F238E27FC236}">
                <a16:creationId xmlns:a16="http://schemas.microsoft.com/office/drawing/2014/main" id="{6D238C93-22D9-249A-7A45-198757C3913C}"/>
              </a:ext>
            </a:extLst>
          </p:cNvPr>
          <p:cNvGrpSpPr/>
          <p:nvPr/>
        </p:nvGrpSpPr>
        <p:grpSpPr>
          <a:xfrm>
            <a:off x="9842140" y="372216"/>
            <a:ext cx="1667215" cy="217488"/>
            <a:chOff x="9842140" y="372216"/>
            <a:chExt cx="1667215" cy="217488"/>
          </a:xfrm>
        </p:grpSpPr>
        <p:sp>
          <p:nvSpPr>
            <p:cNvPr id="23" name="TextBox 22">
              <a:extLst>
                <a:ext uri="{FF2B5EF4-FFF2-40B4-BE49-F238E27FC236}">
                  <a16:creationId xmlns:a16="http://schemas.microsoft.com/office/drawing/2014/main" id="{741B907D-7A83-A3AE-8435-171CA406F057}"/>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a:lnSpc>
                  <a:spcPct val="100000"/>
                </a:lnSpc>
                <a:spcAft>
                  <a:spcPts val="600"/>
                </a:spcAft>
                <a:buSzPct val="100000"/>
              </a:pPr>
              <a:r>
                <a:rPr lang="lv-LV" sz="800">
                  <a:solidFill>
                    <a:schemeClr val="bg1"/>
                  </a:solidFill>
                </a:rPr>
                <a:t>Svešķermeņi</a:t>
              </a:r>
            </a:p>
          </p:txBody>
        </p:sp>
        <p:sp>
          <p:nvSpPr>
            <p:cNvPr id="30" name="Freeform 49">
              <a:extLst>
                <a:ext uri="{FF2B5EF4-FFF2-40B4-BE49-F238E27FC236}">
                  <a16:creationId xmlns:a16="http://schemas.microsoft.com/office/drawing/2014/main" id="{670429FC-0BF9-4D66-697C-24E16A7CB369}"/>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29" name="Group 28">
            <a:extLst>
              <a:ext uri="{FF2B5EF4-FFF2-40B4-BE49-F238E27FC236}">
                <a16:creationId xmlns:a16="http://schemas.microsoft.com/office/drawing/2014/main" id="{50318D11-40E2-C660-3AF1-C6ADEAAD7014}"/>
              </a:ext>
            </a:extLst>
          </p:cNvPr>
          <p:cNvGrpSpPr/>
          <p:nvPr/>
        </p:nvGrpSpPr>
        <p:grpSpPr>
          <a:xfrm>
            <a:off x="9122935" y="126781"/>
            <a:ext cx="2626153" cy="217488"/>
            <a:chOff x="9122935" y="126781"/>
            <a:chExt cx="2626153" cy="217488"/>
          </a:xfrm>
        </p:grpSpPr>
        <p:sp>
          <p:nvSpPr>
            <p:cNvPr id="32" name="Rectangle 31">
              <a:extLst>
                <a:ext uri="{FF2B5EF4-FFF2-40B4-BE49-F238E27FC236}">
                  <a16:creationId xmlns:a16="http://schemas.microsoft.com/office/drawing/2014/main" id="{505D855B-1B31-586B-31CB-3EB835AF04E3}"/>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33" name="Rectangle 32">
              <a:extLst>
                <a:ext uri="{FF2B5EF4-FFF2-40B4-BE49-F238E27FC236}">
                  <a16:creationId xmlns:a16="http://schemas.microsoft.com/office/drawing/2014/main" id="{44F1245A-ADC4-80D9-1597-6BC77517D6FE}"/>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B225B6CA-07C5-CFD0-A8A6-0114BB0461AE}"/>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5" name="Rectangle 34">
              <a:extLst>
                <a:ext uri="{FF2B5EF4-FFF2-40B4-BE49-F238E27FC236}">
                  <a16:creationId xmlns:a16="http://schemas.microsoft.com/office/drawing/2014/main" id="{B13D1DD2-1E41-B1FD-953D-735D0463FE45}"/>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43" name="Rectangle 42">
              <a:extLst>
                <a:ext uri="{FF2B5EF4-FFF2-40B4-BE49-F238E27FC236}">
                  <a16:creationId xmlns:a16="http://schemas.microsoft.com/office/drawing/2014/main" id="{DCFD6FB4-B411-DB1D-EF62-25922747D7BB}"/>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44" name="Rectangle 43">
              <a:extLst>
                <a:ext uri="{FF2B5EF4-FFF2-40B4-BE49-F238E27FC236}">
                  <a16:creationId xmlns:a16="http://schemas.microsoft.com/office/drawing/2014/main" id="{87F395C1-16E0-1A92-C23B-70A8CC8A0BE0}"/>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422943431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9E6BB6A-4571-FBF8-9A7D-06ADE4374D4D}"/>
              </a:ext>
            </a:extLst>
          </p:cNvPr>
          <p:cNvGraphicFramePr>
            <a:graphicFrameLocks noChangeAspect="1"/>
          </p:cNvGraphicFramePr>
          <p:nvPr>
            <p:custDataLst>
              <p:tags r:id="rId1"/>
            </p:custDataLst>
            <p:extLst>
              <p:ext uri="{D42A27DB-BD31-4B8C-83A1-F6EECF244321}">
                <p14:modId xmlns:p14="http://schemas.microsoft.com/office/powerpoint/2010/main" val="2150014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D9E6BB6A-4571-FBF8-9A7D-06ADE4374D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Rectangle 44">
            <a:extLst>
              <a:ext uri="{FF2B5EF4-FFF2-40B4-BE49-F238E27FC236}">
                <a16:creationId xmlns:a16="http://schemas.microsoft.com/office/drawing/2014/main" id="{ACCF17B9-A116-B3E5-4253-E3D27A07EBE6}"/>
              </a:ext>
            </a:extLst>
          </p:cNvPr>
          <p:cNvSpPr/>
          <p:nvPr/>
        </p:nvSpPr>
        <p:spPr>
          <a:xfrm>
            <a:off x="2651760" y="3877424"/>
            <a:ext cx="9097328" cy="10302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46" name="Rectangle 45">
            <a:extLst>
              <a:ext uri="{FF2B5EF4-FFF2-40B4-BE49-F238E27FC236}">
                <a16:creationId xmlns:a16="http://schemas.microsoft.com/office/drawing/2014/main" id="{B1F489B2-211A-189D-1FC2-52DBCFFFA12A}"/>
              </a:ext>
            </a:extLst>
          </p:cNvPr>
          <p:cNvSpPr/>
          <p:nvPr/>
        </p:nvSpPr>
        <p:spPr>
          <a:xfrm>
            <a:off x="2651760" y="2630488"/>
            <a:ext cx="9097328" cy="10302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62" name="Rectangle 61">
            <a:extLst>
              <a:ext uri="{FF2B5EF4-FFF2-40B4-BE49-F238E27FC236}">
                <a16:creationId xmlns:a16="http://schemas.microsoft.com/office/drawing/2014/main" id="{8F1ACBBE-C6FA-4666-5248-C1605BDAD626}"/>
              </a:ext>
            </a:extLst>
          </p:cNvPr>
          <p:cNvSpPr/>
          <p:nvPr/>
        </p:nvSpPr>
        <p:spPr>
          <a:xfrm>
            <a:off x="2651760" y="5142237"/>
            <a:ext cx="9097328" cy="10302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47" name="Rectangle 46">
            <a:extLst>
              <a:ext uri="{FF2B5EF4-FFF2-40B4-BE49-F238E27FC236}">
                <a16:creationId xmlns:a16="http://schemas.microsoft.com/office/drawing/2014/main" id="{B2495B1F-472D-0A3B-8475-9C34F129F695}"/>
              </a:ext>
            </a:extLst>
          </p:cNvPr>
          <p:cNvSpPr/>
          <p:nvPr/>
        </p:nvSpPr>
        <p:spPr>
          <a:xfrm>
            <a:off x="2847530" y="2406995"/>
            <a:ext cx="4352925" cy="3765529"/>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48" name="Rectangle 47">
            <a:extLst>
              <a:ext uri="{FF2B5EF4-FFF2-40B4-BE49-F238E27FC236}">
                <a16:creationId xmlns:a16="http://schemas.microsoft.com/office/drawing/2014/main" id="{5D5376FA-B5D9-BD4A-2E60-484F85927EC5}"/>
              </a:ext>
            </a:extLst>
          </p:cNvPr>
          <p:cNvSpPr/>
          <p:nvPr/>
        </p:nvSpPr>
        <p:spPr>
          <a:xfrm>
            <a:off x="7396160" y="2406995"/>
            <a:ext cx="4352925" cy="3765529"/>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49" name="Rectangle 48">
            <a:extLst>
              <a:ext uri="{FF2B5EF4-FFF2-40B4-BE49-F238E27FC236}">
                <a16:creationId xmlns:a16="http://schemas.microsoft.com/office/drawing/2014/main" id="{C0FB0A2A-8E58-5714-4E5D-483BA9D70A3C}"/>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50" name="Content Placeholder 1">
            <a:extLst>
              <a:ext uri="{FF2B5EF4-FFF2-40B4-BE49-F238E27FC236}">
                <a16:creationId xmlns:a16="http://schemas.microsoft.com/office/drawing/2014/main" id="{0D2829EB-2DB7-92B6-ED60-5F4CCE5EA10F}"/>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51" name="Content Placeholder 1">
            <a:extLst>
              <a:ext uri="{FF2B5EF4-FFF2-40B4-BE49-F238E27FC236}">
                <a16:creationId xmlns:a16="http://schemas.microsoft.com/office/drawing/2014/main" id="{06048512-5DC5-9021-22C4-AFCDFDBB09B7}"/>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52" name="Google Shape;794;p79">
            <a:extLst>
              <a:ext uri="{FF2B5EF4-FFF2-40B4-BE49-F238E27FC236}">
                <a16:creationId xmlns:a16="http://schemas.microsoft.com/office/drawing/2014/main" id="{E84079C4-A3E3-E2C1-1A20-FA736957F86A}"/>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3" name="Rectangle 52">
            <a:extLst>
              <a:ext uri="{FF2B5EF4-FFF2-40B4-BE49-F238E27FC236}">
                <a16:creationId xmlns:a16="http://schemas.microsoft.com/office/drawing/2014/main" id="{13A9E587-1DB7-4681-C8DF-047EB324C085}"/>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54" name="Content Placeholder 1">
            <a:extLst>
              <a:ext uri="{FF2B5EF4-FFF2-40B4-BE49-F238E27FC236}">
                <a16:creationId xmlns:a16="http://schemas.microsoft.com/office/drawing/2014/main" id="{F3BCA6AD-5AB6-7270-4339-1C66A6A7FD37}"/>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55" name="Content Placeholder 1">
            <a:extLst>
              <a:ext uri="{FF2B5EF4-FFF2-40B4-BE49-F238E27FC236}">
                <a16:creationId xmlns:a16="http://schemas.microsoft.com/office/drawing/2014/main" id="{BFBB300A-2BF9-E2D4-BBEF-173F767980B6}"/>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56" name="Google Shape;760;p79">
            <a:extLst>
              <a:ext uri="{FF2B5EF4-FFF2-40B4-BE49-F238E27FC236}">
                <a16:creationId xmlns:a16="http://schemas.microsoft.com/office/drawing/2014/main" id="{6B255094-3850-7320-5989-3104B5A2D549}"/>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6" name="Rectangle 35">
            <a:extLst>
              <a:ext uri="{FF2B5EF4-FFF2-40B4-BE49-F238E27FC236}">
                <a16:creationId xmlns:a16="http://schemas.microsoft.com/office/drawing/2014/main" id="{A8F39C25-781C-A7DA-387A-D92FCABEE1F5}"/>
              </a:ext>
            </a:extLst>
          </p:cNvPr>
          <p:cNvSpPr/>
          <p:nvPr/>
        </p:nvSpPr>
        <p:spPr>
          <a:xfrm>
            <a:off x="442912" y="2630366"/>
            <a:ext cx="2208847" cy="103076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r>
              <a:rPr lang="lv-LV" sz="1400" b="1"/>
              <a:t>Svešķermenis </a:t>
            </a:r>
            <a:endParaRPr lang="en-US" sz="1400" b="1"/>
          </a:p>
          <a:p>
            <a:r>
              <a:rPr lang="lv-LV" sz="1400" b="1"/>
              <a:t>brūcē</a:t>
            </a:r>
          </a:p>
        </p:txBody>
      </p:sp>
      <p:sp>
        <p:nvSpPr>
          <p:cNvPr id="38" name="Content Placeholder 1">
            <a:extLst>
              <a:ext uri="{FF2B5EF4-FFF2-40B4-BE49-F238E27FC236}">
                <a16:creationId xmlns:a16="http://schemas.microsoft.com/office/drawing/2014/main" id="{7B1F3CCD-2DE1-C2A8-D340-EAF5B3993679}"/>
              </a:ext>
            </a:extLst>
          </p:cNvPr>
          <p:cNvSpPr txBox="1">
            <a:spLocks/>
          </p:cNvSpPr>
          <p:nvPr/>
        </p:nvSpPr>
        <p:spPr>
          <a:xfrm>
            <a:off x="2579759" y="2630366"/>
            <a:ext cx="72000" cy="1030244"/>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a:lstStyle/>
          <a:p>
            <a:r>
              <a:rPr lang="lv-LV"/>
              <a:t>Kā rīkoties, ja organismā nonākuši </a:t>
            </a:r>
            <a:br>
              <a:rPr lang="en-US"/>
            </a:br>
            <a:r>
              <a:rPr lang="lv-LV"/>
              <a:t>svešķermeņi?</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39</a:t>
            </a:fld>
            <a:endParaRPr lang="en-GB"/>
          </a:p>
        </p:txBody>
      </p:sp>
      <p:sp>
        <p:nvSpPr>
          <p:cNvPr id="16" name="TextBox 15">
            <a:extLst>
              <a:ext uri="{FF2B5EF4-FFF2-40B4-BE49-F238E27FC236}">
                <a16:creationId xmlns:a16="http://schemas.microsoft.com/office/drawing/2014/main" id="{30819613-CE74-49B6-0807-44FDBB81D466}"/>
              </a:ext>
            </a:extLst>
          </p:cNvPr>
          <p:cNvSpPr txBox="1"/>
          <p:nvPr/>
        </p:nvSpPr>
        <p:spPr>
          <a:xfrm>
            <a:off x="2847530" y="2630366"/>
            <a:ext cx="4352925" cy="1030288"/>
          </a:xfrm>
          <a:prstGeom prst="rect">
            <a:avLst/>
          </a:prstGeom>
          <a:noFill/>
        </p:spPr>
        <p:txBody>
          <a:bodyPr wrap="square" lIns="72000" rIns="72000" anchor="ctr">
            <a:noAutofit/>
          </a:bodyPr>
          <a:lstStyle/>
          <a:p>
            <a:pPr marL="342900" lvl="1" indent="-342900" hangingPunct="0">
              <a:buFont typeface="+mj-lt"/>
              <a:buAutoNum type="arabicPeriod"/>
              <a:tabLst>
                <a:tab pos="457200" algn="l"/>
                <a:tab pos="1586230" algn="l"/>
              </a:tabLst>
            </a:pPr>
            <a:endParaRPr lang="lv-LV" sz="1400">
              <a:effectLst/>
              <a:ea typeface="Times New Roman" panose="02020603050405020304" pitchFamily="18" charset="0"/>
            </a:endParaRPr>
          </a:p>
        </p:txBody>
      </p:sp>
      <p:sp>
        <p:nvSpPr>
          <p:cNvPr id="18" name="TextBox 17">
            <a:extLst>
              <a:ext uri="{FF2B5EF4-FFF2-40B4-BE49-F238E27FC236}">
                <a16:creationId xmlns:a16="http://schemas.microsoft.com/office/drawing/2014/main" id="{E1D4AC8F-0322-E8A8-E509-5AF71473A8F4}"/>
              </a:ext>
            </a:extLst>
          </p:cNvPr>
          <p:cNvSpPr txBox="1"/>
          <p:nvPr/>
        </p:nvSpPr>
        <p:spPr>
          <a:xfrm>
            <a:off x="7396160" y="2630366"/>
            <a:ext cx="4352925" cy="1030288"/>
          </a:xfrm>
          <a:prstGeom prst="rect">
            <a:avLst/>
          </a:prstGeom>
          <a:noFill/>
        </p:spPr>
        <p:txBody>
          <a:bodyPr wrap="square" lIns="72000" rIns="72000" anchor="ctr">
            <a:noAutofit/>
          </a:bodyPr>
          <a:lstStyle/>
          <a:p>
            <a:pPr marL="284400" lvl="0" indent="-284400" hangingPunct="0">
              <a:buSzPts val="1200"/>
              <a:buBlip>
                <a:blip r:embed="rId6"/>
              </a:buBlip>
            </a:pPr>
            <a:r>
              <a:rPr lang="lv-LV" sz="1400">
                <a:effectLst/>
                <a:ea typeface="Calibri" panose="020F0502020204030204" pitchFamily="34" charset="0"/>
                <a:cs typeface="Times New Roman" panose="02020603050405020304" pitchFamily="18" charset="0"/>
              </a:rPr>
              <a:t>Neizvelciet svešķermeni.</a:t>
            </a:r>
          </a:p>
          <a:p>
            <a:pPr marL="284400" lvl="0" indent="-284400" hangingPunct="0">
              <a:buSzPts val="1200"/>
              <a:buBlip>
                <a:blip r:embed="rId6"/>
              </a:buBlip>
            </a:pPr>
            <a:r>
              <a:rPr lang="lv-LV" sz="1400">
                <a:effectLst/>
                <a:ea typeface="Calibri" panose="020F0502020204030204" pitchFamily="34" charset="0"/>
                <a:cs typeface="Times New Roman" panose="02020603050405020304" pitchFamily="18" charset="0"/>
              </a:rPr>
              <a:t>Nepieļaujiet svešķermeņa iespiešanu brūcē.</a:t>
            </a:r>
          </a:p>
        </p:txBody>
      </p:sp>
      <p:sp>
        <p:nvSpPr>
          <p:cNvPr id="6" name="Rectangle 5">
            <a:extLst>
              <a:ext uri="{FF2B5EF4-FFF2-40B4-BE49-F238E27FC236}">
                <a16:creationId xmlns:a16="http://schemas.microsoft.com/office/drawing/2014/main" id="{9FCB5464-71C0-8D26-F8EA-D639E3AD3942}"/>
              </a:ext>
            </a:extLst>
          </p:cNvPr>
          <p:cNvSpPr/>
          <p:nvPr/>
        </p:nvSpPr>
        <p:spPr>
          <a:xfrm>
            <a:off x="442912" y="3877424"/>
            <a:ext cx="2208847" cy="103028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r>
              <a:rPr lang="lv-LV" sz="1400" b="1"/>
              <a:t>Svešķermenis </a:t>
            </a:r>
            <a:endParaRPr lang="en-US" sz="1400" b="1"/>
          </a:p>
          <a:p>
            <a:r>
              <a:rPr lang="lv-LV" sz="1400" b="1"/>
              <a:t>acī</a:t>
            </a:r>
          </a:p>
        </p:txBody>
      </p:sp>
      <p:sp>
        <p:nvSpPr>
          <p:cNvPr id="7" name="Content Placeholder 1">
            <a:extLst>
              <a:ext uri="{FF2B5EF4-FFF2-40B4-BE49-F238E27FC236}">
                <a16:creationId xmlns:a16="http://schemas.microsoft.com/office/drawing/2014/main" id="{131CF737-7F8A-F69F-9074-8E1795165146}"/>
              </a:ext>
            </a:extLst>
          </p:cNvPr>
          <p:cNvSpPr txBox="1">
            <a:spLocks/>
          </p:cNvSpPr>
          <p:nvPr/>
        </p:nvSpPr>
        <p:spPr>
          <a:xfrm>
            <a:off x="2579759" y="3877424"/>
            <a:ext cx="72000" cy="103028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8" name="TextBox 7">
            <a:extLst>
              <a:ext uri="{FF2B5EF4-FFF2-40B4-BE49-F238E27FC236}">
                <a16:creationId xmlns:a16="http://schemas.microsoft.com/office/drawing/2014/main" id="{DE394745-7D20-7CFE-FA0E-311E6546C320}"/>
              </a:ext>
            </a:extLst>
          </p:cNvPr>
          <p:cNvSpPr txBox="1"/>
          <p:nvPr/>
        </p:nvSpPr>
        <p:spPr>
          <a:xfrm>
            <a:off x="2847530" y="3877424"/>
            <a:ext cx="4352925" cy="1030288"/>
          </a:xfrm>
          <a:prstGeom prst="rect">
            <a:avLst/>
          </a:prstGeom>
          <a:noFill/>
        </p:spPr>
        <p:txBody>
          <a:bodyPr wrap="square" lIns="72000" rIns="72000" anchor="ctr">
            <a:noAutofit/>
          </a:bodyPr>
          <a:lstStyle/>
          <a:p>
            <a:pPr marL="0" lvl="1" hangingPunct="0">
              <a:tabLst>
                <a:tab pos="457200" algn="l"/>
                <a:tab pos="1586230" algn="l"/>
              </a:tabLst>
            </a:pPr>
            <a:r>
              <a:rPr lang="lv-LV" sz="1400">
                <a:effectLst/>
                <a:ea typeface="Times New Roman" panose="02020603050405020304" pitchFamily="18" charset="0"/>
              </a:rPr>
              <a:t>Ja svešķermeni neizdodas viegli izskalot, pieņemiet, ka tas var būt iedūries. Šādā gadījumā:</a:t>
            </a:r>
          </a:p>
          <a:p>
            <a:pPr marL="284400" indent="-284400" hangingPunct="0">
              <a:buSzPct val="100000"/>
              <a:buBlip>
                <a:blip r:embed="rId6"/>
              </a:buBlip>
              <a:tabLst>
                <a:tab pos="457200" algn="l"/>
                <a:tab pos="1586230" algn="l"/>
              </a:tabLst>
            </a:pPr>
            <a:r>
              <a:rPr lang="lv-LV" sz="1400">
                <a:ea typeface="Calibri" panose="020F0502020204030204" pitchFamily="34" charset="0"/>
                <a:cs typeface="Times New Roman" panose="02020603050405020304" pitchFamily="18" charset="0"/>
              </a:rPr>
              <a:t>uzlieciet pārsēju abām acīm;</a:t>
            </a:r>
          </a:p>
          <a:p>
            <a:pPr marL="284400" indent="-284400" hangingPunct="0">
              <a:buSzPct val="100000"/>
              <a:buBlip>
                <a:blip r:embed="rId6"/>
              </a:buBlip>
              <a:tabLst>
                <a:tab pos="457200" algn="l"/>
                <a:tab pos="1586230" algn="l"/>
              </a:tabLst>
            </a:pPr>
            <a:r>
              <a:rPr lang="lv-LV" sz="1400">
                <a:ea typeface="Calibri" panose="020F0502020204030204" pitchFamily="34" charset="0"/>
                <a:cs typeface="Times New Roman" panose="02020603050405020304" pitchFamily="18" charset="0"/>
              </a:rPr>
              <a:t>meklējiet medicīnisko palīdzību.</a:t>
            </a:r>
          </a:p>
        </p:txBody>
      </p:sp>
      <p:sp>
        <p:nvSpPr>
          <p:cNvPr id="10" name="TextBox 9">
            <a:extLst>
              <a:ext uri="{FF2B5EF4-FFF2-40B4-BE49-F238E27FC236}">
                <a16:creationId xmlns:a16="http://schemas.microsoft.com/office/drawing/2014/main" id="{CEB10E6B-E2C2-E173-D397-F7696E76B2B3}"/>
              </a:ext>
            </a:extLst>
          </p:cNvPr>
          <p:cNvSpPr txBox="1"/>
          <p:nvPr/>
        </p:nvSpPr>
        <p:spPr>
          <a:xfrm>
            <a:off x="7396160" y="3877424"/>
            <a:ext cx="4352925" cy="1030288"/>
          </a:xfrm>
          <a:prstGeom prst="rect">
            <a:avLst/>
          </a:prstGeom>
          <a:noFill/>
        </p:spPr>
        <p:txBody>
          <a:bodyPr wrap="square" lIns="72000" rIns="72000" anchor="ctr">
            <a:noAutofit/>
          </a:bodyPr>
          <a:lstStyle/>
          <a:p>
            <a:pPr marL="284400" lvl="0" indent="-284400" hangingPunct="0">
              <a:buSzPts val="1200"/>
              <a:buBlip>
                <a:blip r:embed="rId6"/>
              </a:buBlip>
            </a:pPr>
            <a:r>
              <a:rPr lang="lv-LV" sz="1400">
                <a:ea typeface="Calibri" panose="020F0502020204030204" pitchFamily="34" charset="0"/>
                <a:cs typeface="Times New Roman" panose="02020603050405020304" pitchFamily="18" charset="0"/>
              </a:rPr>
              <a:t>Neizvelciet svešķermeni, kas varētu būt iedūries. Meklējiet mediķu konsultāciju.</a:t>
            </a:r>
            <a:endParaRPr lang="lv-LV" sz="1400">
              <a:effectLst/>
              <a:ea typeface="Calibri" panose="020F0502020204030204" pitchFamily="34" charset="0"/>
              <a:cs typeface="Times New Roman" panose="02020603050405020304" pitchFamily="18" charset="0"/>
            </a:endParaRPr>
          </a:p>
        </p:txBody>
      </p:sp>
      <p:sp>
        <p:nvSpPr>
          <p:cNvPr id="12" name="Rectangle 11">
            <a:extLst>
              <a:ext uri="{FF2B5EF4-FFF2-40B4-BE49-F238E27FC236}">
                <a16:creationId xmlns:a16="http://schemas.microsoft.com/office/drawing/2014/main" id="{BCD23311-41AD-9807-EF29-568FF837616E}"/>
              </a:ext>
            </a:extLst>
          </p:cNvPr>
          <p:cNvSpPr/>
          <p:nvPr/>
        </p:nvSpPr>
        <p:spPr>
          <a:xfrm>
            <a:off x="442910" y="5142237"/>
            <a:ext cx="2208847" cy="103028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r>
              <a:rPr lang="lv-LV" sz="1400" b="1"/>
              <a:t>Svešķermenis </a:t>
            </a:r>
            <a:endParaRPr lang="en-US" sz="1400" b="1"/>
          </a:p>
          <a:p>
            <a:r>
              <a:rPr lang="lv-LV" sz="1400" b="1"/>
              <a:t>ausī </a:t>
            </a:r>
          </a:p>
        </p:txBody>
      </p:sp>
      <p:sp>
        <p:nvSpPr>
          <p:cNvPr id="13" name="Content Placeholder 1">
            <a:extLst>
              <a:ext uri="{FF2B5EF4-FFF2-40B4-BE49-F238E27FC236}">
                <a16:creationId xmlns:a16="http://schemas.microsoft.com/office/drawing/2014/main" id="{71ED36E5-E465-D1F1-1E45-A8813A4B5D7F}"/>
              </a:ext>
            </a:extLst>
          </p:cNvPr>
          <p:cNvSpPr txBox="1">
            <a:spLocks/>
          </p:cNvSpPr>
          <p:nvPr/>
        </p:nvSpPr>
        <p:spPr>
          <a:xfrm>
            <a:off x="2579757" y="5142237"/>
            <a:ext cx="72000" cy="103028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4" name="TextBox 13">
            <a:extLst>
              <a:ext uri="{FF2B5EF4-FFF2-40B4-BE49-F238E27FC236}">
                <a16:creationId xmlns:a16="http://schemas.microsoft.com/office/drawing/2014/main" id="{259DB89D-0663-813E-2C04-0B4D674C635D}"/>
              </a:ext>
            </a:extLst>
          </p:cNvPr>
          <p:cNvSpPr txBox="1"/>
          <p:nvPr/>
        </p:nvSpPr>
        <p:spPr>
          <a:xfrm>
            <a:off x="2847530" y="5142237"/>
            <a:ext cx="4352925" cy="1030288"/>
          </a:xfrm>
          <a:prstGeom prst="rect">
            <a:avLst/>
          </a:prstGeom>
          <a:noFill/>
        </p:spPr>
        <p:txBody>
          <a:bodyPr wrap="square" lIns="72000" rIns="72000" anchor="ctr">
            <a:noAutofit/>
          </a:bodyPr>
          <a:lstStyle/>
          <a:p>
            <a:pPr marL="0" lvl="1" hangingPunct="0">
              <a:tabLst>
                <a:tab pos="457200" algn="l"/>
                <a:tab pos="1586230" algn="l"/>
              </a:tabLst>
            </a:pPr>
            <a:r>
              <a:rPr lang="lv-LV" sz="1400">
                <a:effectLst/>
                <a:ea typeface="Times New Roman" panose="02020603050405020304" pitchFamily="18" charset="0"/>
              </a:rPr>
              <a:t>Ja auss ejā ir iekļuvis kukainis:</a:t>
            </a:r>
          </a:p>
          <a:p>
            <a:pPr marL="285750" lvl="1" indent="-285750" hangingPunct="0">
              <a:buBlip>
                <a:blip r:embed="rId6"/>
              </a:buBlip>
              <a:tabLst>
                <a:tab pos="457200" algn="l"/>
                <a:tab pos="1586230" algn="l"/>
              </a:tabLst>
            </a:pPr>
            <a:r>
              <a:rPr lang="lv-LV" sz="1400">
                <a:effectLst/>
                <a:ea typeface="Times New Roman" panose="02020603050405020304" pitchFamily="18" charset="0"/>
              </a:rPr>
              <a:t>iepiliniet ausī eļļu vai ūdeni, lai to noslīcinātu;</a:t>
            </a:r>
          </a:p>
          <a:p>
            <a:pPr marL="285750" lvl="1" indent="-285750" hangingPunct="0">
              <a:buBlip>
                <a:blip r:embed="rId6"/>
              </a:buBlip>
              <a:tabLst>
                <a:tab pos="457200" algn="l"/>
                <a:tab pos="1586230" algn="l"/>
              </a:tabLst>
            </a:pPr>
            <a:r>
              <a:rPr lang="lv-LV" sz="1400">
                <a:effectLst/>
                <a:ea typeface="Times New Roman" panose="02020603050405020304" pitchFamily="18" charset="0"/>
              </a:rPr>
              <a:t>meklējiet medicīnisko palīdzību.</a:t>
            </a:r>
          </a:p>
        </p:txBody>
      </p:sp>
      <p:sp>
        <p:nvSpPr>
          <p:cNvPr id="15" name="TextBox 14">
            <a:extLst>
              <a:ext uri="{FF2B5EF4-FFF2-40B4-BE49-F238E27FC236}">
                <a16:creationId xmlns:a16="http://schemas.microsoft.com/office/drawing/2014/main" id="{CD0345AC-E5CC-E9A5-9519-EA39D36AEABB}"/>
              </a:ext>
            </a:extLst>
          </p:cNvPr>
          <p:cNvSpPr txBox="1"/>
          <p:nvPr/>
        </p:nvSpPr>
        <p:spPr>
          <a:xfrm>
            <a:off x="7396160" y="5142237"/>
            <a:ext cx="4352925" cy="1030288"/>
          </a:xfrm>
          <a:prstGeom prst="rect">
            <a:avLst/>
          </a:prstGeom>
          <a:noFill/>
        </p:spPr>
        <p:txBody>
          <a:bodyPr wrap="square" lIns="72000" rIns="72000" anchor="ctr">
            <a:noAutofit/>
          </a:bodyPr>
          <a:lstStyle/>
          <a:p>
            <a:pPr marL="284400" lvl="0" indent="-284400" hangingPunct="0">
              <a:buSzPts val="1200"/>
              <a:buBlip>
                <a:blip r:embed="rId6"/>
              </a:buBlip>
            </a:pPr>
            <a:r>
              <a:rPr lang="lv-LV" sz="1400">
                <a:ea typeface="Calibri" panose="020F0502020204030204" pitchFamily="34" charset="0"/>
                <a:cs typeface="Times New Roman" panose="02020603050405020304" pitchFamily="18" charset="0"/>
              </a:rPr>
              <a:t>Neizmantojiet palīglīdzekļus svešķermeņa izņemšanai. Meklējiet mediķu konsultāciju.</a:t>
            </a:r>
            <a:endParaRPr lang="lv-LV" sz="1400">
              <a:effectLst/>
              <a:ea typeface="Calibri" panose="020F0502020204030204" pitchFamily="34" charset="0"/>
              <a:cs typeface="Times New Roman" panose="02020603050405020304" pitchFamily="18" charset="0"/>
            </a:endParaRPr>
          </a:p>
        </p:txBody>
      </p:sp>
      <p:grpSp>
        <p:nvGrpSpPr>
          <p:cNvPr id="63" name="Google Shape;1572;p92">
            <a:extLst>
              <a:ext uri="{FF2B5EF4-FFF2-40B4-BE49-F238E27FC236}">
                <a16:creationId xmlns:a16="http://schemas.microsoft.com/office/drawing/2014/main" id="{8E3807C4-D158-E79B-C45B-DD81FB3A492A}"/>
              </a:ext>
            </a:extLst>
          </p:cNvPr>
          <p:cNvGrpSpPr/>
          <p:nvPr/>
        </p:nvGrpSpPr>
        <p:grpSpPr>
          <a:xfrm>
            <a:off x="2023691" y="3120199"/>
            <a:ext cx="360363" cy="360363"/>
            <a:chOff x="8448646" y="3895566"/>
            <a:chExt cx="457200" cy="457200"/>
          </a:xfrm>
          <a:solidFill>
            <a:schemeClr val="bg1"/>
          </a:solidFill>
        </p:grpSpPr>
        <p:sp>
          <p:nvSpPr>
            <p:cNvPr id="64" name="Google Shape;1573;p92">
              <a:extLst>
                <a:ext uri="{FF2B5EF4-FFF2-40B4-BE49-F238E27FC236}">
                  <a16:creationId xmlns:a16="http://schemas.microsoft.com/office/drawing/2014/main" id="{1CC801F4-CCCF-2F7F-84A8-D8E48274A6B6}"/>
                </a:ext>
              </a:extLst>
            </p:cNvPr>
            <p:cNvSpPr/>
            <p:nvPr/>
          </p:nvSpPr>
          <p:spPr>
            <a:xfrm>
              <a:off x="8448646" y="3895566"/>
              <a:ext cx="457200" cy="457200"/>
            </a:xfrm>
            <a:custGeom>
              <a:avLst/>
              <a:gdLst/>
              <a:ahLst/>
              <a:cxnLst/>
              <a:rect l="l" t="t" r="r" b="b"/>
              <a:pathLst>
                <a:path w="457200" h="457200" extrusionOk="0">
                  <a:moveTo>
                    <a:pt x="0" y="0"/>
                  </a:moveTo>
                  <a:lnTo>
                    <a:pt x="0" y="457200"/>
                  </a:lnTo>
                  <a:lnTo>
                    <a:pt x="457200" y="457200"/>
                  </a:lnTo>
                  <a:lnTo>
                    <a:pt x="457200" y="0"/>
                  </a:lnTo>
                  <a:close/>
                  <a:moveTo>
                    <a:pt x="437674" y="19526"/>
                  </a:moveTo>
                  <a:lnTo>
                    <a:pt x="437674" y="195834"/>
                  </a:lnTo>
                  <a:lnTo>
                    <a:pt x="251714" y="195834"/>
                  </a:lnTo>
                  <a:lnTo>
                    <a:pt x="263176" y="215233"/>
                  </a:lnTo>
                  <a:lnTo>
                    <a:pt x="263176" y="215233"/>
                  </a:lnTo>
                  <a:lnTo>
                    <a:pt x="263620" y="215963"/>
                  </a:lnTo>
                  <a:lnTo>
                    <a:pt x="264224" y="216789"/>
                  </a:lnTo>
                  <a:cubicBezTo>
                    <a:pt x="272628" y="228506"/>
                    <a:pt x="277077" y="242598"/>
                    <a:pt x="276924" y="257016"/>
                  </a:cubicBezTo>
                  <a:cubicBezTo>
                    <a:pt x="276919" y="263749"/>
                    <a:pt x="275979" y="270449"/>
                    <a:pt x="274130" y="276924"/>
                  </a:cubicBezTo>
                  <a:cubicBezTo>
                    <a:pt x="272387" y="283430"/>
                    <a:pt x="269634" y="289623"/>
                    <a:pt x="265970" y="295275"/>
                  </a:cubicBezTo>
                  <a:cubicBezTo>
                    <a:pt x="257080" y="308610"/>
                    <a:pt x="243745" y="317119"/>
                    <a:pt x="228600" y="317119"/>
                  </a:cubicBezTo>
                  <a:cubicBezTo>
                    <a:pt x="213455" y="317119"/>
                    <a:pt x="199327" y="307975"/>
                    <a:pt x="190500" y="293846"/>
                  </a:cubicBezTo>
                  <a:cubicBezTo>
                    <a:pt x="187020" y="288292"/>
                    <a:pt x="184397" y="282244"/>
                    <a:pt x="182721" y="275908"/>
                  </a:cubicBezTo>
                  <a:cubicBezTo>
                    <a:pt x="181057" y="269802"/>
                    <a:pt x="180203" y="263503"/>
                    <a:pt x="180181" y="257175"/>
                  </a:cubicBezTo>
                  <a:cubicBezTo>
                    <a:pt x="180028" y="242756"/>
                    <a:pt x="184477" y="228665"/>
                    <a:pt x="192881" y="216948"/>
                  </a:cubicBezTo>
                  <a:lnTo>
                    <a:pt x="193485" y="216122"/>
                  </a:lnTo>
                  <a:lnTo>
                    <a:pt x="193929" y="215392"/>
                  </a:lnTo>
                  <a:lnTo>
                    <a:pt x="193929" y="215392"/>
                  </a:lnTo>
                  <a:lnTo>
                    <a:pt x="205391" y="195993"/>
                  </a:lnTo>
                  <a:lnTo>
                    <a:pt x="19526" y="195993"/>
                  </a:lnTo>
                  <a:lnTo>
                    <a:pt x="19526" y="19526"/>
                  </a:lnTo>
                  <a:close/>
                  <a:moveTo>
                    <a:pt x="286322" y="215360"/>
                  </a:moveTo>
                  <a:lnTo>
                    <a:pt x="437674" y="215360"/>
                  </a:lnTo>
                  <a:lnTo>
                    <a:pt x="437674" y="259017"/>
                  </a:lnTo>
                  <a:cubicBezTo>
                    <a:pt x="428396" y="260304"/>
                    <a:pt x="419627" y="264041"/>
                    <a:pt x="412274" y="269843"/>
                  </a:cubicBezTo>
                  <a:cubicBezTo>
                    <a:pt x="405924" y="274352"/>
                    <a:pt x="401098" y="277590"/>
                    <a:pt x="390462" y="277590"/>
                  </a:cubicBezTo>
                  <a:cubicBezTo>
                    <a:pt x="379825" y="277590"/>
                    <a:pt x="375190" y="274415"/>
                    <a:pt x="368681" y="269843"/>
                  </a:cubicBezTo>
                  <a:cubicBezTo>
                    <a:pt x="349320" y="254769"/>
                    <a:pt x="322193" y="254769"/>
                    <a:pt x="302832" y="269843"/>
                  </a:cubicBezTo>
                  <a:cubicBezTo>
                    <a:pt x="300311" y="271668"/>
                    <a:pt x="297658" y="273303"/>
                    <a:pt x="294894" y="274733"/>
                  </a:cubicBezTo>
                  <a:cubicBezTo>
                    <a:pt x="295995" y="268945"/>
                    <a:pt x="296548" y="263067"/>
                    <a:pt x="296545" y="257175"/>
                  </a:cubicBezTo>
                  <a:cubicBezTo>
                    <a:pt x="296602" y="242611"/>
                    <a:pt x="293093" y="228255"/>
                    <a:pt x="286322" y="215360"/>
                  </a:cubicBezTo>
                  <a:close/>
                  <a:moveTo>
                    <a:pt x="162719" y="276574"/>
                  </a:moveTo>
                  <a:cubicBezTo>
                    <a:pt x="158042" y="275164"/>
                    <a:pt x="153670" y="272892"/>
                    <a:pt x="149828" y="269875"/>
                  </a:cubicBezTo>
                  <a:cubicBezTo>
                    <a:pt x="140494" y="262407"/>
                    <a:pt x="128856" y="258412"/>
                    <a:pt x="116904" y="258572"/>
                  </a:cubicBezTo>
                  <a:cubicBezTo>
                    <a:pt x="104941" y="258412"/>
                    <a:pt x="93294" y="262407"/>
                    <a:pt x="83947" y="269875"/>
                  </a:cubicBezTo>
                  <a:cubicBezTo>
                    <a:pt x="77597" y="274384"/>
                    <a:pt x="72803" y="277622"/>
                    <a:pt x="62198" y="277622"/>
                  </a:cubicBezTo>
                  <a:cubicBezTo>
                    <a:pt x="51594" y="277622"/>
                    <a:pt x="46895" y="274447"/>
                    <a:pt x="40418" y="269875"/>
                  </a:cubicBezTo>
                  <a:cubicBezTo>
                    <a:pt x="34249" y="265079"/>
                    <a:pt x="27126" y="261658"/>
                    <a:pt x="19526" y="259842"/>
                  </a:cubicBezTo>
                  <a:lnTo>
                    <a:pt x="19526" y="215392"/>
                  </a:lnTo>
                  <a:lnTo>
                    <a:pt x="170879" y="215392"/>
                  </a:lnTo>
                  <a:cubicBezTo>
                    <a:pt x="164113" y="228277"/>
                    <a:pt x="160603" y="242622"/>
                    <a:pt x="160655" y="257175"/>
                  </a:cubicBezTo>
                  <a:cubicBezTo>
                    <a:pt x="160643" y="263697"/>
                    <a:pt x="161335" y="270201"/>
                    <a:pt x="162719" y="276574"/>
                  </a:cubicBezTo>
                  <a:close/>
                  <a:moveTo>
                    <a:pt x="19526" y="437674"/>
                  </a:moveTo>
                  <a:lnTo>
                    <a:pt x="19526" y="280130"/>
                  </a:lnTo>
                  <a:cubicBezTo>
                    <a:pt x="22980" y="281623"/>
                    <a:pt x="26251" y="283509"/>
                    <a:pt x="29274" y="285750"/>
                  </a:cubicBezTo>
                  <a:cubicBezTo>
                    <a:pt x="38612" y="293207"/>
                    <a:pt x="50249" y="297190"/>
                    <a:pt x="62198" y="297021"/>
                  </a:cubicBezTo>
                  <a:cubicBezTo>
                    <a:pt x="74191" y="297220"/>
                    <a:pt x="85878" y="293235"/>
                    <a:pt x="95250" y="285750"/>
                  </a:cubicBezTo>
                  <a:cubicBezTo>
                    <a:pt x="101600" y="281242"/>
                    <a:pt x="106394" y="277971"/>
                    <a:pt x="117031" y="277971"/>
                  </a:cubicBezTo>
                  <a:cubicBezTo>
                    <a:pt x="127667" y="277971"/>
                    <a:pt x="132302" y="281146"/>
                    <a:pt x="138779" y="285750"/>
                  </a:cubicBezTo>
                  <a:cubicBezTo>
                    <a:pt x="147680" y="292820"/>
                    <a:pt x="158657" y="296769"/>
                    <a:pt x="170021" y="296990"/>
                  </a:cubicBezTo>
                  <a:cubicBezTo>
                    <a:pt x="181674" y="320675"/>
                    <a:pt x="203549" y="336550"/>
                    <a:pt x="228600" y="336550"/>
                  </a:cubicBezTo>
                  <a:cubicBezTo>
                    <a:pt x="253651" y="336550"/>
                    <a:pt x="275685" y="320675"/>
                    <a:pt x="287433" y="296863"/>
                  </a:cubicBezTo>
                  <a:cubicBezTo>
                    <a:pt x="297132" y="295698"/>
                    <a:pt x="306313" y="291849"/>
                    <a:pt x="313944" y="285750"/>
                  </a:cubicBezTo>
                  <a:cubicBezTo>
                    <a:pt x="320294" y="281242"/>
                    <a:pt x="325120" y="277971"/>
                    <a:pt x="335725" y="277971"/>
                  </a:cubicBezTo>
                  <a:cubicBezTo>
                    <a:pt x="346329" y="277971"/>
                    <a:pt x="351028" y="281146"/>
                    <a:pt x="357505" y="285750"/>
                  </a:cubicBezTo>
                  <a:cubicBezTo>
                    <a:pt x="376895" y="300773"/>
                    <a:pt x="403997" y="300773"/>
                    <a:pt x="423386" y="285750"/>
                  </a:cubicBezTo>
                  <a:cubicBezTo>
                    <a:pt x="427568" y="282373"/>
                    <a:pt x="432448" y="279966"/>
                    <a:pt x="437674" y="278702"/>
                  </a:cubicBezTo>
                  <a:lnTo>
                    <a:pt x="437674" y="437452"/>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5" name="Google Shape;1574;p92">
              <a:extLst>
                <a:ext uri="{FF2B5EF4-FFF2-40B4-BE49-F238E27FC236}">
                  <a16:creationId xmlns:a16="http://schemas.microsoft.com/office/drawing/2014/main" id="{B99D2B3F-B5A9-66C2-038C-63FCE7694E8C}"/>
                </a:ext>
              </a:extLst>
            </p:cNvPr>
            <p:cNvSpPr/>
            <p:nvPr/>
          </p:nvSpPr>
          <p:spPr>
            <a:xfrm>
              <a:off x="8515797" y="4267263"/>
              <a:ext cx="50800" cy="19526"/>
            </a:xfrm>
            <a:custGeom>
              <a:avLst/>
              <a:gdLst/>
              <a:ahLst/>
              <a:cxnLst/>
              <a:rect l="l" t="t" r="r" b="b"/>
              <a:pathLst>
                <a:path w="50800" h="19526" extrusionOk="0">
                  <a:moveTo>
                    <a:pt x="0" y="0"/>
                  </a:moveTo>
                  <a:lnTo>
                    <a:pt x="50800" y="0"/>
                  </a:lnTo>
                  <a:lnTo>
                    <a:pt x="50800" y="19526"/>
                  </a:lnTo>
                  <a:lnTo>
                    <a:pt x="0" y="1952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6" name="Google Shape;1575;p92">
              <a:extLst>
                <a:ext uri="{FF2B5EF4-FFF2-40B4-BE49-F238E27FC236}">
                  <a16:creationId xmlns:a16="http://schemas.microsoft.com/office/drawing/2014/main" id="{E9A57BD3-332B-5C66-9305-4372D5A9EBAD}"/>
                </a:ext>
              </a:extLst>
            </p:cNvPr>
            <p:cNvSpPr/>
            <p:nvPr/>
          </p:nvSpPr>
          <p:spPr>
            <a:xfrm>
              <a:off x="8782497" y="4267263"/>
              <a:ext cx="50800" cy="19526"/>
            </a:xfrm>
            <a:custGeom>
              <a:avLst/>
              <a:gdLst/>
              <a:ahLst/>
              <a:cxnLst/>
              <a:rect l="l" t="t" r="r" b="b"/>
              <a:pathLst>
                <a:path w="50800" h="19526" extrusionOk="0">
                  <a:moveTo>
                    <a:pt x="0" y="0"/>
                  </a:moveTo>
                  <a:lnTo>
                    <a:pt x="50800" y="0"/>
                  </a:lnTo>
                  <a:lnTo>
                    <a:pt x="50800" y="19526"/>
                  </a:lnTo>
                  <a:lnTo>
                    <a:pt x="0" y="1952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7" name="Google Shape;1576;p92">
              <a:extLst>
                <a:ext uri="{FF2B5EF4-FFF2-40B4-BE49-F238E27FC236}">
                  <a16:creationId xmlns:a16="http://schemas.microsoft.com/office/drawing/2014/main" id="{0444D4ED-5289-CCCE-26BB-EBB9153FC084}"/>
                </a:ext>
              </a:extLst>
            </p:cNvPr>
            <p:cNvSpPr/>
            <p:nvPr/>
          </p:nvSpPr>
          <p:spPr>
            <a:xfrm>
              <a:off x="8693597" y="4267263"/>
              <a:ext cx="50800" cy="19526"/>
            </a:xfrm>
            <a:custGeom>
              <a:avLst/>
              <a:gdLst/>
              <a:ahLst/>
              <a:cxnLst/>
              <a:rect l="l" t="t" r="r" b="b"/>
              <a:pathLst>
                <a:path w="50800" h="19526" extrusionOk="0">
                  <a:moveTo>
                    <a:pt x="0" y="0"/>
                  </a:moveTo>
                  <a:lnTo>
                    <a:pt x="50800" y="0"/>
                  </a:lnTo>
                  <a:lnTo>
                    <a:pt x="50800" y="19526"/>
                  </a:lnTo>
                  <a:lnTo>
                    <a:pt x="0" y="1952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8" name="Google Shape;1577;p92">
              <a:extLst>
                <a:ext uri="{FF2B5EF4-FFF2-40B4-BE49-F238E27FC236}">
                  <a16:creationId xmlns:a16="http://schemas.microsoft.com/office/drawing/2014/main" id="{249AEE51-7C5E-6E4F-FABF-864BE9930990}"/>
                </a:ext>
              </a:extLst>
            </p:cNvPr>
            <p:cNvSpPr/>
            <p:nvPr/>
          </p:nvSpPr>
          <p:spPr>
            <a:xfrm>
              <a:off x="8604697" y="4267263"/>
              <a:ext cx="50800" cy="19526"/>
            </a:xfrm>
            <a:custGeom>
              <a:avLst/>
              <a:gdLst/>
              <a:ahLst/>
              <a:cxnLst/>
              <a:rect l="l" t="t" r="r" b="b"/>
              <a:pathLst>
                <a:path w="50800" h="19526" extrusionOk="0">
                  <a:moveTo>
                    <a:pt x="0" y="0"/>
                  </a:moveTo>
                  <a:lnTo>
                    <a:pt x="50800" y="0"/>
                  </a:lnTo>
                  <a:lnTo>
                    <a:pt x="50800" y="19526"/>
                  </a:lnTo>
                  <a:lnTo>
                    <a:pt x="0" y="1952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sp>
        <p:nvSpPr>
          <p:cNvPr id="69" name="Google Shape;809;p80">
            <a:extLst>
              <a:ext uri="{FF2B5EF4-FFF2-40B4-BE49-F238E27FC236}">
                <a16:creationId xmlns:a16="http://schemas.microsoft.com/office/drawing/2014/main" id="{70C81FC0-D8FE-8C2E-F3AD-2F6B9F01C7B1}"/>
              </a:ext>
            </a:extLst>
          </p:cNvPr>
          <p:cNvSpPr/>
          <p:nvPr/>
        </p:nvSpPr>
        <p:spPr>
          <a:xfrm>
            <a:off x="2023691" y="4383203"/>
            <a:ext cx="360363" cy="360363"/>
          </a:xfrm>
          <a:custGeom>
            <a:avLst/>
            <a:gdLst/>
            <a:ahLst/>
            <a:cxnLst/>
            <a:rect l="l" t="t" r="r" b="b"/>
            <a:pathLst>
              <a:path w="347" h="346" extrusionOk="0">
                <a:moveTo>
                  <a:pt x="0" y="0"/>
                </a:moveTo>
                <a:cubicBezTo>
                  <a:pt x="0" y="346"/>
                  <a:pt x="0" y="346"/>
                  <a:pt x="0" y="346"/>
                </a:cubicBezTo>
                <a:cubicBezTo>
                  <a:pt x="347" y="346"/>
                  <a:pt x="347" y="346"/>
                  <a:pt x="347" y="346"/>
                </a:cubicBezTo>
                <a:cubicBezTo>
                  <a:pt x="347" y="0"/>
                  <a:pt x="347" y="0"/>
                  <a:pt x="347" y="0"/>
                </a:cubicBezTo>
                <a:lnTo>
                  <a:pt x="0" y="0"/>
                </a:lnTo>
                <a:close/>
                <a:moveTo>
                  <a:pt x="332" y="14"/>
                </a:moveTo>
                <a:cubicBezTo>
                  <a:pt x="332" y="163"/>
                  <a:pt x="332" y="163"/>
                  <a:pt x="332" y="163"/>
                </a:cubicBezTo>
                <a:cubicBezTo>
                  <a:pt x="325" y="154"/>
                  <a:pt x="310" y="137"/>
                  <a:pt x="289" y="120"/>
                </a:cubicBezTo>
                <a:cubicBezTo>
                  <a:pt x="251" y="88"/>
                  <a:pt x="211" y="71"/>
                  <a:pt x="174" y="71"/>
                </a:cubicBezTo>
                <a:cubicBezTo>
                  <a:pt x="136" y="71"/>
                  <a:pt x="96" y="88"/>
                  <a:pt x="58" y="120"/>
                </a:cubicBezTo>
                <a:cubicBezTo>
                  <a:pt x="37" y="137"/>
                  <a:pt x="22" y="154"/>
                  <a:pt x="15" y="163"/>
                </a:cubicBezTo>
                <a:cubicBezTo>
                  <a:pt x="15" y="14"/>
                  <a:pt x="15" y="14"/>
                  <a:pt x="15" y="14"/>
                </a:cubicBezTo>
                <a:lnTo>
                  <a:pt x="332" y="14"/>
                </a:lnTo>
                <a:close/>
                <a:moveTo>
                  <a:pt x="321" y="173"/>
                </a:moveTo>
                <a:cubicBezTo>
                  <a:pt x="306" y="191"/>
                  <a:pt x="245" y="260"/>
                  <a:pt x="174" y="260"/>
                </a:cubicBezTo>
                <a:cubicBezTo>
                  <a:pt x="102" y="260"/>
                  <a:pt x="41" y="191"/>
                  <a:pt x="26" y="173"/>
                </a:cubicBezTo>
                <a:cubicBezTo>
                  <a:pt x="41" y="155"/>
                  <a:pt x="102" y="86"/>
                  <a:pt x="174" y="86"/>
                </a:cubicBezTo>
                <a:cubicBezTo>
                  <a:pt x="245" y="86"/>
                  <a:pt x="306" y="155"/>
                  <a:pt x="321" y="173"/>
                </a:cubicBezTo>
                <a:close/>
                <a:moveTo>
                  <a:pt x="15" y="331"/>
                </a:moveTo>
                <a:cubicBezTo>
                  <a:pt x="15" y="183"/>
                  <a:pt x="15" y="183"/>
                  <a:pt x="15" y="183"/>
                </a:cubicBezTo>
                <a:cubicBezTo>
                  <a:pt x="22" y="191"/>
                  <a:pt x="37" y="208"/>
                  <a:pt x="58" y="226"/>
                </a:cubicBezTo>
                <a:cubicBezTo>
                  <a:pt x="96" y="258"/>
                  <a:pt x="136" y="275"/>
                  <a:pt x="174" y="275"/>
                </a:cubicBezTo>
                <a:cubicBezTo>
                  <a:pt x="211" y="275"/>
                  <a:pt x="251" y="258"/>
                  <a:pt x="289" y="226"/>
                </a:cubicBezTo>
                <a:cubicBezTo>
                  <a:pt x="310" y="208"/>
                  <a:pt x="325" y="191"/>
                  <a:pt x="332" y="183"/>
                </a:cubicBezTo>
                <a:cubicBezTo>
                  <a:pt x="332" y="331"/>
                  <a:pt x="332" y="331"/>
                  <a:pt x="332" y="331"/>
                </a:cubicBezTo>
                <a:lnTo>
                  <a:pt x="15" y="331"/>
                </a:lnTo>
                <a:close/>
                <a:moveTo>
                  <a:pt x="174" y="96"/>
                </a:moveTo>
                <a:cubicBezTo>
                  <a:pt x="131" y="96"/>
                  <a:pt x="96" y="130"/>
                  <a:pt x="96" y="173"/>
                </a:cubicBezTo>
                <a:cubicBezTo>
                  <a:pt x="96" y="215"/>
                  <a:pt x="131" y="250"/>
                  <a:pt x="174" y="250"/>
                </a:cubicBezTo>
                <a:cubicBezTo>
                  <a:pt x="216" y="250"/>
                  <a:pt x="251" y="215"/>
                  <a:pt x="251" y="173"/>
                </a:cubicBezTo>
                <a:cubicBezTo>
                  <a:pt x="251" y="130"/>
                  <a:pt x="216" y="96"/>
                  <a:pt x="174" y="96"/>
                </a:cubicBezTo>
                <a:close/>
                <a:moveTo>
                  <a:pt x="235" y="165"/>
                </a:moveTo>
                <a:cubicBezTo>
                  <a:pt x="181" y="165"/>
                  <a:pt x="181" y="165"/>
                  <a:pt x="181" y="165"/>
                </a:cubicBezTo>
                <a:cubicBezTo>
                  <a:pt x="181" y="111"/>
                  <a:pt x="181" y="111"/>
                  <a:pt x="181" y="111"/>
                </a:cubicBezTo>
                <a:cubicBezTo>
                  <a:pt x="209" y="114"/>
                  <a:pt x="232" y="137"/>
                  <a:pt x="235" y="165"/>
                </a:cubicBezTo>
                <a:close/>
                <a:moveTo>
                  <a:pt x="166" y="111"/>
                </a:moveTo>
                <a:cubicBezTo>
                  <a:pt x="166" y="165"/>
                  <a:pt x="166" y="165"/>
                  <a:pt x="166" y="165"/>
                </a:cubicBezTo>
                <a:cubicBezTo>
                  <a:pt x="112" y="165"/>
                  <a:pt x="112" y="165"/>
                  <a:pt x="112" y="165"/>
                </a:cubicBezTo>
                <a:cubicBezTo>
                  <a:pt x="115" y="137"/>
                  <a:pt x="138" y="114"/>
                  <a:pt x="166" y="111"/>
                </a:cubicBezTo>
                <a:close/>
                <a:moveTo>
                  <a:pt x="112" y="180"/>
                </a:moveTo>
                <a:cubicBezTo>
                  <a:pt x="166" y="180"/>
                  <a:pt x="166" y="180"/>
                  <a:pt x="166" y="180"/>
                </a:cubicBezTo>
                <a:cubicBezTo>
                  <a:pt x="166" y="235"/>
                  <a:pt x="166" y="235"/>
                  <a:pt x="166" y="235"/>
                </a:cubicBezTo>
                <a:cubicBezTo>
                  <a:pt x="138" y="231"/>
                  <a:pt x="115" y="209"/>
                  <a:pt x="112" y="180"/>
                </a:cubicBezTo>
                <a:close/>
                <a:moveTo>
                  <a:pt x="181" y="235"/>
                </a:moveTo>
                <a:cubicBezTo>
                  <a:pt x="181" y="180"/>
                  <a:pt x="181" y="180"/>
                  <a:pt x="181" y="180"/>
                </a:cubicBezTo>
                <a:cubicBezTo>
                  <a:pt x="235" y="180"/>
                  <a:pt x="235" y="180"/>
                  <a:pt x="235" y="180"/>
                </a:cubicBezTo>
                <a:cubicBezTo>
                  <a:pt x="232" y="209"/>
                  <a:pt x="209" y="231"/>
                  <a:pt x="181" y="235"/>
                </a:cubicBez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77" name="Group 76">
            <a:extLst>
              <a:ext uri="{FF2B5EF4-FFF2-40B4-BE49-F238E27FC236}">
                <a16:creationId xmlns:a16="http://schemas.microsoft.com/office/drawing/2014/main" id="{3E969E2E-7BC0-DAAB-FE4C-9F3B7600F87B}"/>
              </a:ext>
            </a:extLst>
          </p:cNvPr>
          <p:cNvGrpSpPr/>
          <p:nvPr/>
        </p:nvGrpSpPr>
        <p:grpSpPr>
          <a:xfrm>
            <a:off x="2023691" y="5642770"/>
            <a:ext cx="360363" cy="360363"/>
            <a:chOff x="2023691" y="5642770"/>
            <a:chExt cx="360363" cy="360363"/>
          </a:xfrm>
        </p:grpSpPr>
        <p:grpSp>
          <p:nvGrpSpPr>
            <p:cNvPr id="73" name="Group 72">
              <a:extLst>
                <a:ext uri="{FF2B5EF4-FFF2-40B4-BE49-F238E27FC236}">
                  <a16:creationId xmlns:a16="http://schemas.microsoft.com/office/drawing/2014/main" id="{0C9B8937-54FA-353F-3013-10049A195BD2}"/>
                </a:ext>
              </a:extLst>
            </p:cNvPr>
            <p:cNvGrpSpPr/>
            <p:nvPr/>
          </p:nvGrpSpPr>
          <p:grpSpPr>
            <a:xfrm>
              <a:off x="2023691" y="5642770"/>
              <a:ext cx="360363" cy="360363"/>
              <a:chOff x="-455905" y="4611921"/>
              <a:chExt cx="455905" cy="457200"/>
            </a:xfrm>
          </p:grpSpPr>
          <p:sp>
            <p:nvSpPr>
              <p:cNvPr id="75" name="Google Shape;616;p77">
                <a:extLst>
                  <a:ext uri="{FF2B5EF4-FFF2-40B4-BE49-F238E27FC236}">
                    <a16:creationId xmlns:a16="http://schemas.microsoft.com/office/drawing/2014/main" id="{2293C164-5533-AB8F-AC1C-F5597C77B61A}"/>
                  </a:ext>
                </a:extLst>
              </p:cNvPr>
              <p:cNvSpPr/>
              <p:nvPr/>
            </p:nvSpPr>
            <p:spPr>
              <a:xfrm>
                <a:off x="-455905" y="4611921"/>
                <a:ext cx="455905" cy="4572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5"/>
                      <a:pt x="25" y="25"/>
                      <a:pt x="25" y="25"/>
                    </a:cubicBezTo>
                    <a:cubicBezTo>
                      <a:pt x="552" y="25"/>
                      <a:pt x="552" y="25"/>
                      <a:pt x="552" y="25"/>
                    </a:cubicBezTo>
                    <a:lnTo>
                      <a:pt x="552" y="551"/>
                    </a:lnTo>
                    <a:close/>
                    <a:moveTo>
                      <a:pt x="395" y="491"/>
                    </a:moveTo>
                    <a:cubicBezTo>
                      <a:pt x="378" y="491"/>
                      <a:pt x="362" y="487"/>
                      <a:pt x="345" y="482"/>
                    </a:cubicBezTo>
                    <a:cubicBezTo>
                      <a:pt x="326" y="477"/>
                      <a:pt x="307" y="472"/>
                      <a:pt x="285" y="472"/>
                    </a:cubicBezTo>
                    <a:cubicBezTo>
                      <a:pt x="264" y="472"/>
                      <a:pt x="245" y="477"/>
                      <a:pt x="226" y="482"/>
                    </a:cubicBezTo>
                    <a:cubicBezTo>
                      <a:pt x="206" y="487"/>
                      <a:pt x="188" y="492"/>
                      <a:pt x="168" y="491"/>
                    </a:cubicBezTo>
                    <a:cubicBezTo>
                      <a:pt x="152" y="489"/>
                      <a:pt x="138" y="473"/>
                      <a:pt x="130" y="446"/>
                    </a:cubicBezTo>
                    <a:cubicBezTo>
                      <a:pt x="122" y="418"/>
                      <a:pt x="122" y="384"/>
                      <a:pt x="141" y="370"/>
                    </a:cubicBezTo>
                    <a:cubicBezTo>
                      <a:pt x="150" y="364"/>
                      <a:pt x="157" y="360"/>
                      <a:pt x="164" y="356"/>
                    </a:cubicBezTo>
                    <a:cubicBezTo>
                      <a:pt x="174" y="351"/>
                      <a:pt x="181" y="348"/>
                      <a:pt x="189" y="336"/>
                    </a:cubicBezTo>
                    <a:cubicBezTo>
                      <a:pt x="192" y="332"/>
                      <a:pt x="195" y="325"/>
                      <a:pt x="198" y="319"/>
                    </a:cubicBezTo>
                    <a:cubicBezTo>
                      <a:pt x="210" y="292"/>
                      <a:pt x="229" y="251"/>
                      <a:pt x="285" y="251"/>
                    </a:cubicBezTo>
                    <a:cubicBezTo>
                      <a:pt x="342" y="251"/>
                      <a:pt x="361" y="292"/>
                      <a:pt x="373" y="319"/>
                    </a:cubicBezTo>
                    <a:cubicBezTo>
                      <a:pt x="376" y="325"/>
                      <a:pt x="379" y="332"/>
                      <a:pt x="382" y="336"/>
                    </a:cubicBezTo>
                    <a:cubicBezTo>
                      <a:pt x="390" y="348"/>
                      <a:pt x="396" y="351"/>
                      <a:pt x="407" y="356"/>
                    </a:cubicBezTo>
                    <a:cubicBezTo>
                      <a:pt x="414" y="360"/>
                      <a:pt x="421" y="364"/>
                      <a:pt x="430" y="370"/>
                    </a:cubicBezTo>
                    <a:cubicBezTo>
                      <a:pt x="449" y="384"/>
                      <a:pt x="449" y="418"/>
                      <a:pt x="441" y="446"/>
                    </a:cubicBezTo>
                    <a:cubicBezTo>
                      <a:pt x="433" y="473"/>
                      <a:pt x="419" y="489"/>
                      <a:pt x="402" y="491"/>
                    </a:cubicBezTo>
                    <a:cubicBezTo>
                      <a:pt x="400" y="491"/>
                      <a:pt x="398" y="491"/>
                      <a:pt x="395" y="491"/>
                    </a:cubicBezTo>
                    <a:close/>
                    <a:moveTo>
                      <a:pt x="285" y="447"/>
                    </a:moveTo>
                    <a:cubicBezTo>
                      <a:pt x="310" y="447"/>
                      <a:pt x="332" y="452"/>
                      <a:pt x="351" y="457"/>
                    </a:cubicBezTo>
                    <a:cubicBezTo>
                      <a:pt x="369" y="462"/>
                      <a:pt x="385" y="466"/>
                      <a:pt x="400" y="465"/>
                    </a:cubicBezTo>
                    <a:cubicBezTo>
                      <a:pt x="403" y="465"/>
                      <a:pt x="411" y="457"/>
                      <a:pt x="416" y="439"/>
                    </a:cubicBezTo>
                    <a:cubicBezTo>
                      <a:pt x="423" y="415"/>
                      <a:pt x="420" y="394"/>
                      <a:pt x="415" y="391"/>
                    </a:cubicBezTo>
                    <a:cubicBezTo>
                      <a:pt x="408" y="385"/>
                      <a:pt x="401" y="382"/>
                      <a:pt x="395" y="379"/>
                    </a:cubicBezTo>
                    <a:cubicBezTo>
                      <a:pt x="384" y="373"/>
                      <a:pt x="372" y="368"/>
                      <a:pt x="360" y="350"/>
                    </a:cubicBezTo>
                    <a:cubicBezTo>
                      <a:pt x="356" y="344"/>
                      <a:pt x="353" y="337"/>
                      <a:pt x="350" y="329"/>
                    </a:cubicBezTo>
                    <a:cubicBezTo>
                      <a:pt x="338" y="303"/>
                      <a:pt x="325" y="276"/>
                      <a:pt x="285" y="276"/>
                    </a:cubicBezTo>
                    <a:cubicBezTo>
                      <a:pt x="245" y="276"/>
                      <a:pt x="233" y="303"/>
                      <a:pt x="221" y="329"/>
                    </a:cubicBezTo>
                    <a:cubicBezTo>
                      <a:pt x="218" y="337"/>
                      <a:pt x="214" y="344"/>
                      <a:pt x="210" y="350"/>
                    </a:cubicBezTo>
                    <a:cubicBezTo>
                      <a:pt x="199" y="368"/>
                      <a:pt x="187" y="373"/>
                      <a:pt x="175" y="379"/>
                    </a:cubicBezTo>
                    <a:cubicBezTo>
                      <a:pt x="169" y="382"/>
                      <a:pt x="163" y="385"/>
                      <a:pt x="156" y="391"/>
                    </a:cubicBezTo>
                    <a:cubicBezTo>
                      <a:pt x="151" y="394"/>
                      <a:pt x="148" y="415"/>
                      <a:pt x="155" y="439"/>
                    </a:cubicBezTo>
                    <a:cubicBezTo>
                      <a:pt x="160" y="457"/>
                      <a:pt x="167" y="465"/>
                      <a:pt x="170" y="465"/>
                    </a:cubicBezTo>
                    <a:cubicBezTo>
                      <a:pt x="185" y="466"/>
                      <a:pt x="201" y="462"/>
                      <a:pt x="220" y="457"/>
                    </a:cubicBezTo>
                    <a:cubicBezTo>
                      <a:pt x="239" y="452"/>
                      <a:pt x="261" y="447"/>
                      <a:pt x="285" y="447"/>
                    </a:cubicBezTo>
                    <a:close/>
                    <a:moveTo>
                      <a:pt x="354" y="239"/>
                    </a:moveTo>
                    <a:cubicBezTo>
                      <a:pt x="351" y="239"/>
                      <a:pt x="348" y="238"/>
                      <a:pt x="346" y="238"/>
                    </a:cubicBezTo>
                    <a:cubicBezTo>
                      <a:pt x="329" y="235"/>
                      <a:pt x="314" y="223"/>
                      <a:pt x="306" y="205"/>
                    </a:cubicBezTo>
                    <a:cubicBezTo>
                      <a:pt x="298" y="188"/>
                      <a:pt x="295" y="168"/>
                      <a:pt x="299" y="147"/>
                    </a:cubicBezTo>
                    <a:cubicBezTo>
                      <a:pt x="303" y="127"/>
                      <a:pt x="312" y="108"/>
                      <a:pt x="325" y="95"/>
                    </a:cubicBezTo>
                    <a:cubicBezTo>
                      <a:pt x="340" y="81"/>
                      <a:pt x="357" y="75"/>
                      <a:pt x="374" y="78"/>
                    </a:cubicBezTo>
                    <a:cubicBezTo>
                      <a:pt x="391" y="81"/>
                      <a:pt x="405" y="93"/>
                      <a:pt x="414" y="111"/>
                    </a:cubicBezTo>
                    <a:cubicBezTo>
                      <a:pt x="422" y="128"/>
                      <a:pt x="424" y="148"/>
                      <a:pt x="420" y="169"/>
                    </a:cubicBezTo>
                    <a:cubicBezTo>
                      <a:pt x="420" y="169"/>
                      <a:pt x="420" y="169"/>
                      <a:pt x="420" y="169"/>
                    </a:cubicBezTo>
                    <a:cubicBezTo>
                      <a:pt x="413" y="210"/>
                      <a:pt x="385" y="239"/>
                      <a:pt x="354" y="239"/>
                    </a:cubicBezTo>
                    <a:close/>
                    <a:moveTo>
                      <a:pt x="365" y="103"/>
                    </a:moveTo>
                    <a:cubicBezTo>
                      <a:pt x="358" y="103"/>
                      <a:pt x="350" y="107"/>
                      <a:pt x="343" y="113"/>
                    </a:cubicBezTo>
                    <a:cubicBezTo>
                      <a:pt x="334" y="123"/>
                      <a:pt x="327" y="136"/>
                      <a:pt x="324" y="152"/>
                    </a:cubicBezTo>
                    <a:cubicBezTo>
                      <a:pt x="322" y="167"/>
                      <a:pt x="323" y="182"/>
                      <a:pt x="329" y="194"/>
                    </a:cubicBezTo>
                    <a:cubicBezTo>
                      <a:pt x="334" y="205"/>
                      <a:pt x="341" y="211"/>
                      <a:pt x="350" y="213"/>
                    </a:cubicBezTo>
                    <a:cubicBezTo>
                      <a:pt x="369" y="216"/>
                      <a:pt x="390" y="194"/>
                      <a:pt x="395" y="164"/>
                    </a:cubicBezTo>
                    <a:cubicBezTo>
                      <a:pt x="398" y="149"/>
                      <a:pt x="396" y="134"/>
                      <a:pt x="391" y="122"/>
                    </a:cubicBezTo>
                    <a:cubicBezTo>
                      <a:pt x="386" y="111"/>
                      <a:pt x="378" y="105"/>
                      <a:pt x="369" y="103"/>
                    </a:cubicBezTo>
                    <a:cubicBezTo>
                      <a:pt x="368" y="103"/>
                      <a:pt x="367" y="103"/>
                      <a:pt x="365" y="103"/>
                    </a:cubicBezTo>
                    <a:close/>
                    <a:moveTo>
                      <a:pt x="217" y="239"/>
                    </a:moveTo>
                    <a:cubicBezTo>
                      <a:pt x="186" y="239"/>
                      <a:pt x="158" y="210"/>
                      <a:pt x="150" y="169"/>
                    </a:cubicBezTo>
                    <a:cubicBezTo>
                      <a:pt x="147" y="148"/>
                      <a:pt x="149" y="128"/>
                      <a:pt x="157" y="111"/>
                    </a:cubicBezTo>
                    <a:cubicBezTo>
                      <a:pt x="166" y="93"/>
                      <a:pt x="180" y="81"/>
                      <a:pt x="197" y="78"/>
                    </a:cubicBezTo>
                    <a:cubicBezTo>
                      <a:pt x="214" y="75"/>
                      <a:pt x="231" y="81"/>
                      <a:pt x="246" y="95"/>
                    </a:cubicBezTo>
                    <a:cubicBezTo>
                      <a:pt x="259" y="108"/>
                      <a:pt x="268" y="127"/>
                      <a:pt x="272" y="147"/>
                    </a:cubicBezTo>
                    <a:cubicBezTo>
                      <a:pt x="275" y="168"/>
                      <a:pt x="273" y="188"/>
                      <a:pt x="265" y="205"/>
                    </a:cubicBezTo>
                    <a:cubicBezTo>
                      <a:pt x="256" y="223"/>
                      <a:pt x="242" y="235"/>
                      <a:pt x="225" y="238"/>
                    </a:cubicBezTo>
                    <a:cubicBezTo>
                      <a:pt x="222" y="238"/>
                      <a:pt x="219" y="239"/>
                      <a:pt x="217" y="239"/>
                    </a:cubicBezTo>
                    <a:close/>
                    <a:moveTo>
                      <a:pt x="205" y="103"/>
                    </a:moveTo>
                    <a:cubicBezTo>
                      <a:pt x="204" y="103"/>
                      <a:pt x="203" y="103"/>
                      <a:pt x="201" y="103"/>
                    </a:cubicBezTo>
                    <a:cubicBezTo>
                      <a:pt x="193" y="105"/>
                      <a:pt x="185" y="111"/>
                      <a:pt x="180" y="122"/>
                    </a:cubicBezTo>
                    <a:cubicBezTo>
                      <a:pt x="175" y="134"/>
                      <a:pt x="173" y="149"/>
                      <a:pt x="176" y="164"/>
                    </a:cubicBezTo>
                    <a:cubicBezTo>
                      <a:pt x="181" y="194"/>
                      <a:pt x="202" y="216"/>
                      <a:pt x="221" y="213"/>
                    </a:cubicBezTo>
                    <a:cubicBezTo>
                      <a:pt x="229" y="211"/>
                      <a:pt x="237" y="205"/>
                      <a:pt x="242" y="194"/>
                    </a:cubicBezTo>
                    <a:cubicBezTo>
                      <a:pt x="248" y="182"/>
                      <a:pt x="249" y="167"/>
                      <a:pt x="246" y="152"/>
                    </a:cubicBezTo>
                    <a:cubicBezTo>
                      <a:pt x="244" y="136"/>
                      <a:pt x="237" y="123"/>
                      <a:pt x="228" y="113"/>
                    </a:cubicBezTo>
                    <a:cubicBezTo>
                      <a:pt x="221" y="107"/>
                      <a:pt x="213" y="103"/>
                      <a:pt x="205" y="103"/>
                    </a:cubicBezTo>
                    <a:close/>
                    <a:moveTo>
                      <a:pt x="445" y="341"/>
                    </a:moveTo>
                    <a:cubicBezTo>
                      <a:pt x="440" y="341"/>
                      <a:pt x="434" y="340"/>
                      <a:pt x="429" y="338"/>
                    </a:cubicBezTo>
                    <a:cubicBezTo>
                      <a:pt x="400" y="327"/>
                      <a:pt x="386" y="290"/>
                      <a:pt x="399" y="254"/>
                    </a:cubicBezTo>
                    <a:cubicBezTo>
                      <a:pt x="412" y="219"/>
                      <a:pt x="447" y="198"/>
                      <a:pt x="476" y="209"/>
                    </a:cubicBezTo>
                    <a:cubicBezTo>
                      <a:pt x="491" y="214"/>
                      <a:pt x="502" y="226"/>
                      <a:pt x="507" y="243"/>
                    </a:cubicBezTo>
                    <a:cubicBezTo>
                      <a:pt x="513" y="258"/>
                      <a:pt x="512" y="276"/>
                      <a:pt x="506" y="293"/>
                    </a:cubicBezTo>
                    <a:cubicBezTo>
                      <a:pt x="495" y="322"/>
                      <a:pt x="470" y="341"/>
                      <a:pt x="445" y="341"/>
                    </a:cubicBezTo>
                    <a:close/>
                    <a:moveTo>
                      <a:pt x="460" y="232"/>
                    </a:moveTo>
                    <a:cubicBezTo>
                      <a:pt x="446" y="232"/>
                      <a:pt x="430" y="244"/>
                      <a:pt x="423" y="263"/>
                    </a:cubicBezTo>
                    <a:cubicBezTo>
                      <a:pt x="415" y="285"/>
                      <a:pt x="422" y="308"/>
                      <a:pt x="438" y="314"/>
                    </a:cubicBezTo>
                    <a:cubicBezTo>
                      <a:pt x="454" y="320"/>
                      <a:pt x="474" y="306"/>
                      <a:pt x="482" y="284"/>
                    </a:cubicBezTo>
                    <a:cubicBezTo>
                      <a:pt x="486" y="273"/>
                      <a:pt x="486" y="261"/>
                      <a:pt x="483" y="251"/>
                    </a:cubicBezTo>
                    <a:cubicBezTo>
                      <a:pt x="480" y="242"/>
                      <a:pt x="475" y="236"/>
                      <a:pt x="467" y="233"/>
                    </a:cubicBezTo>
                    <a:cubicBezTo>
                      <a:pt x="465" y="232"/>
                      <a:pt x="462" y="232"/>
                      <a:pt x="460" y="232"/>
                    </a:cubicBezTo>
                    <a:close/>
                    <a:moveTo>
                      <a:pt x="125" y="341"/>
                    </a:moveTo>
                    <a:cubicBezTo>
                      <a:pt x="100" y="341"/>
                      <a:pt x="75" y="322"/>
                      <a:pt x="65" y="293"/>
                    </a:cubicBezTo>
                    <a:cubicBezTo>
                      <a:pt x="59" y="276"/>
                      <a:pt x="58" y="258"/>
                      <a:pt x="63" y="243"/>
                    </a:cubicBezTo>
                    <a:cubicBezTo>
                      <a:pt x="69" y="226"/>
                      <a:pt x="80" y="214"/>
                      <a:pt x="95" y="209"/>
                    </a:cubicBezTo>
                    <a:cubicBezTo>
                      <a:pt x="124" y="198"/>
                      <a:pt x="158" y="219"/>
                      <a:pt x="171" y="254"/>
                    </a:cubicBezTo>
                    <a:cubicBezTo>
                      <a:pt x="184" y="290"/>
                      <a:pt x="171" y="327"/>
                      <a:pt x="142" y="338"/>
                    </a:cubicBezTo>
                    <a:cubicBezTo>
                      <a:pt x="136" y="340"/>
                      <a:pt x="131" y="341"/>
                      <a:pt x="125" y="341"/>
                    </a:cubicBezTo>
                    <a:close/>
                    <a:moveTo>
                      <a:pt x="111" y="232"/>
                    </a:moveTo>
                    <a:cubicBezTo>
                      <a:pt x="108" y="232"/>
                      <a:pt x="106" y="232"/>
                      <a:pt x="103" y="233"/>
                    </a:cubicBezTo>
                    <a:cubicBezTo>
                      <a:pt x="96" y="236"/>
                      <a:pt x="91" y="242"/>
                      <a:pt x="88" y="251"/>
                    </a:cubicBezTo>
                    <a:cubicBezTo>
                      <a:pt x="84" y="261"/>
                      <a:pt x="85" y="273"/>
                      <a:pt x="89" y="284"/>
                    </a:cubicBezTo>
                    <a:cubicBezTo>
                      <a:pt x="97" y="306"/>
                      <a:pt x="117" y="320"/>
                      <a:pt x="133" y="314"/>
                    </a:cubicBezTo>
                    <a:cubicBezTo>
                      <a:pt x="149" y="308"/>
                      <a:pt x="155" y="285"/>
                      <a:pt x="147" y="263"/>
                    </a:cubicBezTo>
                    <a:cubicBezTo>
                      <a:pt x="141" y="244"/>
                      <a:pt x="125" y="232"/>
                      <a:pt x="111" y="232"/>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76" name="Rectangle 75">
                <a:extLst>
                  <a:ext uri="{FF2B5EF4-FFF2-40B4-BE49-F238E27FC236}">
                    <a16:creationId xmlns:a16="http://schemas.microsoft.com/office/drawing/2014/main" id="{2E21B927-F905-2298-4C4A-57D9CB30159F}"/>
                  </a:ext>
                </a:extLst>
              </p:cNvPr>
              <p:cNvSpPr/>
              <p:nvPr/>
            </p:nvSpPr>
            <p:spPr>
              <a:xfrm>
                <a:off x="-426720" y="4640580"/>
                <a:ext cx="398145" cy="39814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pic>
          <p:nvPicPr>
            <p:cNvPr id="71" name="Graphic 70" descr="Ear outline">
              <a:extLst>
                <a:ext uri="{FF2B5EF4-FFF2-40B4-BE49-F238E27FC236}">
                  <a16:creationId xmlns:a16="http://schemas.microsoft.com/office/drawing/2014/main" id="{8FF3C6E9-95F2-E3E6-B5F1-78EAF3D4689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23691" y="5642770"/>
              <a:ext cx="360363" cy="360363"/>
            </a:xfrm>
            <a:prstGeom prst="rect">
              <a:avLst/>
            </a:prstGeom>
          </p:spPr>
        </p:pic>
      </p:grpSp>
      <p:sp>
        <p:nvSpPr>
          <p:cNvPr id="2" name="Rectangle 1">
            <a:extLst>
              <a:ext uri="{FF2B5EF4-FFF2-40B4-BE49-F238E27FC236}">
                <a16:creationId xmlns:a16="http://schemas.microsoft.com/office/drawing/2014/main" id="{8EE1DE98-DB4B-314F-4BB5-97B8B97A8B14}"/>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sp>
        <p:nvSpPr>
          <p:cNvPr id="23" name="Content Placeholder 1">
            <a:extLst>
              <a:ext uri="{FF2B5EF4-FFF2-40B4-BE49-F238E27FC236}">
                <a16:creationId xmlns:a16="http://schemas.microsoft.com/office/drawing/2014/main" id="{A8F5CB7E-E6F8-F5E2-F17D-986545B54DCA}"/>
              </a:ext>
            </a:extLst>
          </p:cNvPr>
          <p:cNvSpPr txBox="1">
            <a:spLocks/>
          </p:cNvSpPr>
          <p:nvPr/>
        </p:nvSpPr>
        <p:spPr>
          <a:xfrm>
            <a:off x="2950502" y="2994715"/>
            <a:ext cx="630238" cy="28839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2</a:t>
            </a:r>
          </a:p>
        </p:txBody>
      </p:sp>
      <p:sp>
        <p:nvSpPr>
          <p:cNvPr id="24" name="Content Placeholder 1">
            <a:extLst>
              <a:ext uri="{FF2B5EF4-FFF2-40B4-BE49-F238E27FC236}">
                <a16:creationId xmlns:a16="http://schemas.microsoft.com/office/drawing/2014/main" id="{7060378A-C63A-BF3A-59CE-61675AFCA014}"/>
              </a:ext>
            </a:extLst>
          </p:cNvPr>
          <p:cNvSpPr txBox="1">
            <a:spLocks/>
          </p:cNvSpPr>
          <p:nvPr/>
        </p:nvSpPr>
        <p:spPr>
          <a:xfrm>
            <a:off x="2950502" y="3316187"/>
            <a:ext cx="630238" cy="28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3</a:t>
            </a:r>
          </a:p>
        </p:txBody>
      </p:sp>
      <p:sp>
        <p:nvSpPr>
          <p:cNvPr id="26" name="Content Placeholder 1">
            <a:extLst>
              <a:ext uri="{FF2B5EF4-FFF2-40B4-BE49-F238E27FC236}">
                <a16:creationId xmlns:a16="http://schemas.microsoft.com/office/drawing/2014/main" id="{A8172831-5A38-1225-34B8-55190510D1B3}"/>
              </a:ext>
            </a:extLst>
          </p:cNvPr>
          <p:cNvSpPr txBox="1">
            <a:spLocks/>
          </p:cNvSpPr>
          <p:nvPr/>
        </p:nvSpPr>
        <p:spPr>
          <a:xfrm>
            <a:off x="2950502" y="2679981"/>
            <a:ext cx="630238" cy="28839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1</a:t>
            </a:r>
          </a:p>
        </p:txBody>
      </p:sp>
      <p:cxnSp>
        <p:nvCxnSpPr>
          <p:cNvPr id="27" name="Straight Connector 26">
            <a:extLst>
              <a:ext uri="{FF2B5EF4-FFF2-40B4-BE49-F238E27FC236}">
                <a16:creationId xmlns:a16="http://schemas.microsoft.com/office/drawing/2014/main" id="{8D488999-8DF6-7902-AED2-8B7C09115229}"/>
              </a:ext>
            </a:extLst>
          </p:cNvPr>
          <p:cNvCxnSpPr>
            <a:cxnSpLocks/>
            <a:stCxn id="28" idx="4"/>
            <a:endCxn id="29" idx="3"/>
          </p:cNvCxnSpPr>
          <p:nvPr/>
        </p:nvCxnSpPr>
        <p:spPr>
          <a:xfrm>
            <a:off x="3373179" y="2893774"/>
            <a:ext cx="0" cy="575871"/>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28" name="Oval 27">
            <a:extLst>
              <a:ext uri="{FF2B5EF4-FFF2-40B4-BE49-F238E27FC236}">
                <a16:creationId xmlns:a16="http://schemas.microsoft.com/office/drawing/2014/main" id="{D4993DD7-F54E-B0B9-1686-671B06ECB22C}"/>
              </a:ext>
            </a:extLst>
          </p:cNvPr>
          <p:cNvSpPr/>
          <p:nvPr/>
        </p:nvSpPr>
        <p:spPr>
          <a:xfrm>
            <a:off x="3300789" y="2748994"/>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9" name="Isosceles Triangle 28">
            <a:extLst>
              <a:ext uri="{FF2B5EF4-FFF2-40B4-BE49-F238E27FC236}">
                <a16:creationId xmlns:a16="http://schemas.microsoft.com/office/drawing/2014/main" id="{09B35BF0-9FD2-2CA9-A480-724018FEE070}"/>
              </a:ext>
            </a:extLst>
          </p:cNvPr>
          <p:cNvSpPr/>
          <p:nvPr/>
        </p:nvSpPr>
        <p:spPr>
          <a:xfrm flipV="1">
            <a:off x="3318410" y="3469645"/>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30" name="Isosceles Triangle 29">
            <a:extLst>
              <a:ext uri="{FF2B5EF4-FFF2-40B4-BE49-F238E27FC236}">
                <a16:creationId xmlns:a16="http://schemas.microsoft.com/office/drawing/2014/main" id="{972EC8A0-3980-BF7A-2C4D-3162D371741F}"/>
              </a:ext>
            </a:extLst>
          </p:cNvPr>
          <p:cNvSpPr/>
          <p:nvPr/>
        </p:nvSpPr>
        <p:spPr>
          <a:xfrm flipV="1">
            <a:off x="3199348" y="296786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31" name="Isosceles Triangle 30">
            <a:extLst>
              <a:ext uri="{FF2B5EF4-FFF2-40B4-BE49-F238E27FC236}">
                <a16:creationId xmlns:a16="http://schemas.microsoft.com/office/drawing/2014/main" id="{BD90D103-9EFA-9895-D8DB-2C2E0229A563}"/>
              </a:ext>
            </a:extLst>
          </p:cNvPr>
          <p:cNvSpPr/>
          <p:nvPr/>
        </p:nvSpPr>
        <p:spPr>
          <a:xfrm flipV="1">
            <a:off x="3199348" y="3278392"/>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60" name="TextBox 59">
            <a:extLst>
              <a:ext uri="{FF2B5EF4-FFF2-40B4-BE49-F238E27FC236}">
                <a16:creationId xmlns:a16="http://schemas.microsoft.com/office/drawing/2014/main" id="{475B7D60-E90E-C6DE-CBA8-4EE5DB2931AF}"/>
              </a:ext>
            </a:extLst>
          </p:cNvPr>
          <p:cNvSpPr txBox="1"/>
          <p:nvPr/>
        </p:nvSpPr>
        <p:spPr>
          <a:xfrm>
            <a:off x="3614405" y="2672284"/>
            <a:ext cx="6096000" cy="307777"/>
          </a:xfrm>
          <a:prstGeom prst="rect">
            <a:avLst/>
          </a:prstGeom>
          <a:noFill/>
        </p:spPr>
        <p:txBody>
          <a:bodyPr wrap="square">
            <a:spAutoFit/>
          </a:bodyPr>
          <a:lstStyle/>
          <a:p>
            <a:pPr marL="0" lvl="1" hangingPunct="0">
              <a:tabLst>
                <a:tab pos="457200" algn="l"/>
                <a:tab pos="1586230" algn="l"/>
              </a:tabLst>
            </a:pPr>
            <a:r>
              <a:rPr lang="lv-LV" sz="1400">
                <a:effectLst/>
                <a:ea typeface="Times New Roman" panose="02020603050405020304" pitchFamily="18" charset="0"/>
              </a:rPr>
              <a:t>Apturiet stipru asiņošanu.</a:t>
            </a:r>
          </a:p>
        </p:txBody>
      </p:sp>
      <p:sp>
        <p:nvSpPr>
          <p:cNvPr id="70" name="TextBox 69">
            <a:extLst>
              <a:ext uri="{FF2B5EF4-FFF2-40B4-BE49-F238E27FC236}">
                <a16:creationId xmlns:a16="http://schemas.microsoft.com/office/drawing/2014/main" id="{D403E95A-3EC0-1FAD-8167-D0561D80BE8A}"/>
              </a:ext>
            </a:extLst>
          </p:cNvPr>
          <p:cNvSpPr txBox="1"/>
          <p:nvPr/>
        </p:nvSpPr>
        <p:spPr>
          <a:xfrm>
            <a:off x="3614405" y="2990424"/>
            <a:ext cx="6096000" cy="307777"/>
          </a:xfrm>
          <a:prstGeom prst="rect">
            <a:avLst/>
          </a:prstGeom>
          <a:noFill/>
        </p:spPr>
        <p:txBody>
          <a:bodyPr wrap="square">
            <a:spAutoFit/>
          </a:bodyPr>
          <a:lstStyle/>
          <a:p>
            <a:pPr marL="0" lvl="1" hangingPunct="0">
              <a:tabLst>
                <a:tab pos="457200" algn="l"/>
                <a:tab pos="1586230" algn="l"/>
              </a:tabLst>
            </a:pPr>
            <a:r>
              <a:rPr lang="lv-LV" sz="1400">
                <a:effectLst/>
                <a:ea typeface="Times New Roman" panose="02020603050405020304" pitchFamily="18" charset="0"/>
              </a:rPr>
              <a:t>Izsauciet Neatliekamo palīdzību.</a:t>
            </a:r>
          </a:p>
        </p:txBody>
      </p:sp>
      <p:sp>
        <p:nvSpPr>
          <p:cNvPr id="74" name="TextBox 73">
            <a:extLst>
              <a:ext uri="{FF2B5EF4-FFF2-40B4-BE49-F238E27FC236}">
                <a16:creationId xmlns:a16="http://schemas.microsoft.com/office/drawing/2014/main" id="{F6939192-7E9B-F042-6F94-C92A889D5E4F}"/>
              </a:ext>
            </a:extLst>
          </p:cNvPr>
          <p:cNvSpPr txBox="1"/>
          <p:nvPr/>
        </p:nvSpPr>
        <p:spPr>
          <a:xfrm>
            <a:off x="3614405" y="3308565"/>
            <a:ext cx="6096000" cy="307777"/>
          </a:xfrm>
          <a:prstGeom prst="rect">
            <a:avLst/>
          </a:prstGeom>
          <a:noFill/>
        </p:spPr>
        <p:txBody>
          <a:bodyPr wrap="square">
            <a:spAutoFit/>
          </a:bodyPr>
          <a:lstStyle/>
          <a:p>
            <a:pPr marL="0" lvl="1" hangingPunct="0">
              <a:tabLst>
                <a:tab pos="457200" algn="l"/>
                <a:tab pos="1586230" algn="l"/>
              </a:tabLst>
            </a:pPr>
            <a:r>
              <a:rPr lang="lv-LV" sz="1400">
                <a:effectLst/>
                <a:ea typeface="Times New Roman" panose="02020603050405020304" pitchFamily="18" charset="0"/>
              </a:rPr>
              <a:t>Aprūpējiet, nomieriniet cietušo.</a:t>
            </a:r>
          </a:p>
        </p:txBody>
      </p:sp>
      <p:grpSp>
        <p:nvGrpSpPr>
          <p:cNvPr id="32" name="Group 31">
            <a:extLst>
              <a:ext uri="{FF2B5EF4-FFF2-40B4-BE49-F238E27FC236}">
                <a16:creationId xmlns:a16="http://schemas.microsoft.com/office/drawing/2014/main" id="{D2005991-8570-9E35-F692-CF8213DEC4AF}"/>
              </a:ext>
            </a:extLst>
          </p:cNvPr>
          <p:cNvGrpSpPr/>
          <p:nvPr/>
        </p:nvGrpSpPr>
        <p:grpSpPr>
          <a:xfrm>
            <a:off x="9842140" y="372216"/>
            <a:ext cx="1667215" cy="217488"/>
            <a:chOff x="9842140" y="372216"/>
            <a:chExt cx="1667215" cy="217488"/>
          </a:xfrm>
        </p:grpSpPr>
        <p:sp>
          <p:nvSpPr>
            <p:cNvPr id="33" name="TextBox 32">
              <a:extLst>
                <a:ext uri="{FF2B5EF4-FFF2-40B4-BE49-F238E27FC236}">
                  <a16:creationId xmlns:a16="http://schemas.microsoft.com/office/drawing/2014/main" id="{A4334331-5F84-6273-1AF0-089D538C43F6}"/>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a:lnSpc>
                  <a:spcPct val="100000"/>
                </a:lnSpc>
                <a:spcAft>
                  <a:spcPts val="600"/>
                </a:spcAft>
                <a:buSzPct val="100000"/>
              </a:pPr>
              <a:r>
                <a:rPr lang="lv-LV" sz="800">
                  <a:solidFill>
                    <a:schemeClr val="bg1"/>
                  </a:solidFill>
                </a:rPr>
                <a:t>Svešķermeņi</a:t>
              </a:r>
            </a:p>
          </p:txBody>
        </p:sp>
        <p:sp>
          <p:nvSpPr>
            <p:cNvPr id="34" name="Freeform 49">
              <a:extLst>
                <a:ext uri="{FF2B5EF4-FFF2-40B4-BE49-F238E27FC236}">
                  <a16:creationId xmlns:a16="http://schemas.microsoft.com/office/drawing/2014/main" id="{A5134FB1-B788-69C1-DC74-5A91615C6113}"/>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25" name="Group 24">
            <a:extLst>
              <a:ext uri="{FF2B5EF4-FFF2-40B4-BE49-F238E27FC236}">
                <a16:creationId xmlns:a16="http://schemas.microsoft.com/office/drawing/2014/main" id="{0FA2201A-B784-505E-1592-10257CFF97A7}"/>
              </a:ext>
            </a:extLst>
          </p:cNvPr>
          <p:cNvGrpSpPr/>
          <p:nvPr/>
        </p:nvGrpSpPr>
        <p:grpSpPr>
          <a:xfrm>
            <a:off x="9122935" y="126781"/>
            <a:ext cx="2626153" cy="217488"/>
            <a:chOff x="9122935" y="126781"/>
            <a:chExt cx="2626153" cy="217488"/>
          </a:xfrm>
        </p:grpSpPr>
        <p:sp>
          <p:nvSpPr>
            <p:cNvPr id="35" name="Rectangle 34">
              <a:extLst>
                <a:ext uri="{FF2B5EF4-FFF2-40B4-BE49-F238E27FC236}">
                  <a16:creationId xmlns:a16="http://schemas.microsoft.com/office/drawing/2014/main" id="{B0128A2A-174D-9C28-C12C-A03690B7EA70}"/>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37" name="Rectangle 36">
              <a:extLst>
                <a:ext uri="{FF2B5EF4-FFF2-40B4-BE49-F238E27FC236}">
                  <a16:creationId xmlns:a16="http://schemas.microsoft.com/office/drawing/2014/main" id="{21315DA5-F168-0876-6AA7-51F441A8A084}"/>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9" name="Rectangle 38">
              <a:extLst>
                <a:ext uri="{FF2B5EF4-FFF2-40B4-BE49-F238E27FC236}">
                  <a16:creationId xmlns:a16="http://schemas.microsoft.com/office/drawing/2014/main" id="{38A16CC7-923A-03F6-6146-6BAAA3497B10}"/>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40" name="Rectangle 39">
              <a:extLst>
                <a:ext uri="{FF2B5EF4-FFF2-40B4-BE49-F238E27FC236}">
                  <a16:creationId xmlns:a16="http://schemas.microsoft.com/office/drawing/2014/main" id="{1072B6B1-853F-7106-48A7-77C35D077B1F}"/>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41" name="Rectangle 40">
              <a:extLst>
                <a:ext uri="{FF2B5EF4-FFF2-40B4-BE49-F238E27FC236}">
                  <a16:creationId xmlns:a16="http://schemas.microsoft.com/office/drawing/2014/main" id="{586D5336-A2A8-A8DC-76FE-F912B04A69CD}"/>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42" name="Rectangle 41">
              <a:extLst>
                <a:ext uri="{FF2B5EF4-FFF2-40B4-BE49-F238E27FC236}">
                  <a16:creationId xmlns:a16="http://schemas.microsoft.com/office/drawing/2014/main" id="{AC0ABADD-DE86-759E-B676-D308EE3BEFAF}"/>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36155848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B5F8EBF-52CC-2EDB-41E8-3667D4E9C17E}"/>
              </a:ext>
            </a:extLst>
          </p:cNvPr>
          <p:cNvGraphicFramePr>
            <a:graphicFrameLocks noChangeAspect="1"/>
          </p:cNvGraphicFramePr>
          <p:nvPr>
            <p:custDataLst>
              <p:tags r:id="rId1"/>
            </p:custDataLst>
            <p:extLst>
              <p:ext uri="{D42A27DB-BD31-4B8C-83A1-F6EECF244321}">
                <p14:modId xmlns:p14="http://schemas.microsoft.com/office/powerpoint/2010/main" val="3740606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6" name="think-cell data - do not delete" hidden="1">
                        <a:extLst>
                          <a:ext uri="{FF2B5EF4-FFF2-40B4-BE49-F238E27FC236}">
                            <a16:creationId xmlns:a16="http://schemas.microsoft.com/office/drawing/2014/main" id="{8B5F8EBF-52CC-2EDB-41E8-3667D4E9C1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DDDC1DA9-F0F8-4EDF-4943-D6FC81AF432D}"/>
              </a:ext>
            </a:extLst>
          </p:cNvPr>
          <p:cNvPicPr>
            <a:picLocks noGrp="1" noChangeAspect="1"/>
          </p:cNvPicPr>
          <p:nvPr>
            <p:ph type="pic" sz="quarter" idx="10"/>
          </p:nvPr>
        </p:nvPicPr>
        <p:blipFill>
          <a:blip r:embed="rId6"/>
          <a:srcRect t="20933" b="20933"/>
          <a:stretch>
            <a:fillRect/>
          </a:stretch>
        </p:blipFill>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064850"/>
            <a:ext cx="7418387" cy="2428875"/>
          </a:xfrm>
        </p:spPr>
        <p:txBody>
          <a:bodyPr vert="horz">
            <a:normAutofit/>
          </a:bodyPr>
          <a:lstStyle/>
          <a:p>
            <a:r>
              <a:rPr lang="lv-LV"/>
              <a:t>7.1. Ievads</a:t>
            </a:r>
            <a:endParaRPr lang="en-GB"/>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410712493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9799492-EA00-9029-E8DF-F6C2EB4468B4}"/>
              </a:ext>
            </a:extLst>
          </p:cNvPr>
          <p:cNvPicPr>
            <a:picLocks noChangeAspect="1"/>
          </p:cNvPicPr>
          <p:nvPr/>
        </p:nvPicPr>
        <p:blipFill>
          <a:blip r:embed="rId4"/>
          <a:stretch>
            <a:fillRect/>
          </a:stretch>
        </p:blipFill>
        <p:spPr>
          <a:xfrm>
            <a:off x="7620000" y="0"/>
            <a:ext cx="4572000" cy="6858000"/>
          </a:xfrm>
          <a:prstGeom prst="rect">
            <a:avLst/>
          </a:prstGeom>
        </p:spPr>
      </p:pic>
      <p:sp>
        <p:nvSpPr>
          <p:cNvPr id="7" name="Rectangle 6">
            <a:extLst>
              <a:ext uri="{FF2B5EF4-FFF2-40B4-BE49-F238E27FC236}">
                <a16:creationId xmlns:a16="http://schemas.microsoft.com/office/drawing/2014/main" id="{D301F691-DECC-2DA7-B7DD-3F2AD5A85A17}"/>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aphicFrame>
        <p:nvGraphicFramePr>
          <p:cNvPr id="12" name="think-cell data - do not delete" hidden="1">
            <a:extLst>
              <a:ext uri="{FF2B5EF4-FFF2-40B4-BE49-F238E27FC236}">
                <a16:creationId xmlns:a16="http://schemas.microsoft.com/office/drawing/2014/main" id="{F6E6AF23-7B86-113A-F559-513B41FEC1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12" name="think-cell data - do not delete" hidden="1">
                        <a:extLst>
                          <a:ext uri="{FF2B5EF4-FFF2-40B4-BE49-F238E27FC236}">
                            <a16:creationId xmlns:a16="http://schemas.microsoft.com/office/drawing/2014/main" id="{F6E6AF23-7B86-113A-F559-513B41FEC1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a:lstStyle/>
          <a:p>
            <a:r>
              <a:rPr lang="lv-LV"/>
              <a:t>Kā rīkoties, ja cietušajam ir krampji?</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solidFill>
                  <a:schemeClr val="bg1"/>
                </a:solidFill>
              </a:rPr>
              <a:pPr/>
              <a:t>40</a:t>
            </a:fld>
            <a:endParaRPr lang="en-GB">
              <a:solidFill>
                <a:schemeClr val="bg1"/>
              </a:solidFill>
            </a:endParaRPr>
          </a:p>
        </p:txBody>
      </p:sp>
      <p:sp>
        <p:nvSpPr>
          <p:cNvPr id="26" name="Rectangle 25">
            <a:extLst>
              <a:ext uri="{FF2B5EF4-FFF2-40B4-BE49-F238E27FC236}">
                <a16:creationId xmlns:a16="http://schemas.microsoft.com/office/drawing/2014/main" id="{5EC1F9AE-82A4-85FE-592B-EF659F76F7EC}"/>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29" name="Content Placeholder 1">
            <a:extLst>
              <a:ext uri="{FF2B5EF4-FFF2-40B4-BE49-F238E27FC236}">
                <a16:creationId xmlns:a16="http://schemas.microsoft.com/office/drawing/2014/main" id="{3915AD89-6428-4A75-0915-328643F1703C}"/>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0" name="Content Placeholder 1">
            <a:extLst>
              <a:ext uri="{FF2B5EF4-FFF2-40B4-BE49-F238E27FC236}">
                <a16:creationId xmlns:a16="http://schemas.microsoft.com/office/drawing/2014/main" id="{373AB206-F1F0-CC72-8C15-85605D9AF2AC}"/>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6" name="Google Shape;760;p79">
            <a:extLst>
              <a:ext uri="{FF2B5EF4-FFF2-40B4-BE49-F238E27FC236}">
                <a16:creationId xmlns:a16="http://schemas.microsoft.com/office/drawing/2014/main" id="{09BF84D6-F468-7005-FAB5-AA0B6AE5CFB4}"/>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0" name="Rectangle 49">
            <a:extLst>
              <a:ext uri="{FF2B5EF4-FFF2-40B4-BE49-F238E27FC236}">
                <a16:creationId xmlns:a16="http://schemas.microsoft.com/office/drawing/2014/main" id="{0130363F-7CE7-F3D0-4AB5-F295FAC2DCBC}"/>
              </a:ext>
            </a:extLst>
          </p:cNvPr>
          <p:cNvSpPr/>
          <p:nvPr/>
        </p:nvSpPr>
        <p:spPr>
          <a:xfrm>
            <a:off x="442913" y="963958"/>
            <a:ext cx="4470731" cy="628650"/>
          </a:xfrm>
          <a:prstGeom prst="rect">
            <a:avLst/>
          </a:prstGeom>
          <a:solidFill>
            <a:schemeClr val="bg1"/>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1" name="Rectangle 50">
            <a:extLst>
              <a:ext uri="{FF2B5EF4-FFF2-40B4-BE49-F238E27FC236}">
                <a16:creationId xmlns:a16="http://schemas.microsoft.com/office/drawing/2014/main" id="{AFEB1935-0849-FFDB-14A2-768E555E2F79}"/>
              </a:ext>
            </a:extLst>
          </p:cNvPr>
          <p:cNvSpPr/>
          <p:nvPr/>
        </p:nvSpPr>
        <p:spPr>
          <a:xfrm>
            <a:off x="1454989" y="1062283"/>
            <a:ext cx="3405187"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r>
              <a:rPr lang="lv-LV" sz="1600" b="1">
                <a:solidFill>
                  <a:schemeClr val="tx1"/>
                </a:solidFill>
              </a:rPr>
              <a:t>Kā tas var izskatīties?</a:t>
            </a:r>
            <a:endParaRPr lang="en-GB" sz="1600" b="1">
              <a:solidFill>
                <a:schemeClr val="tx1"/>
              </a:solidFill>
            </a:endParaRPr>
          </a:p>
        </p:txBody>
      </p:sp>
      <p:cxnSp>
        <p:nvCxnSpPr>
          <p:cNvPr id="53" name="Straight Connector 52">
            <a:extLst>
              <a:ext uri="{FF2B5EF4-FFF2-40B4-BE49-F238E27FC236}">
                <a16:creationId xmlns:a16="http://schemas.microsoft.com/office/drawing/2014/main" id="{F358E754-064A-5B8C-B2FC-4E612BA07893}"/>
              </a:ext>
            </a:extLst>
          </p:cNvPr>
          <p:cNvCxnSpPr>
            <a:cxnSpLocks/>
          </p:cNvCxnSpPr>
          <p:nvPr/>
        </p:nvCxnSpPr>
        <p:spPr>
          <a:xfrm>
            <a:off x="1233531" y="1053947"/>
            <a:ext cx="0" cy="448673"/>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8" name="TextBox 7">
            <a:extLst>
              <a:ext uri="{FF2B5EF4-FFF2-40B4-BE49-F238E27FC236}">
                <a16:creationId xmlns:a16="http://schemas.microsoft.com/office/drawing/2014/main" id="{8F84A1C1-A3B2-78F7-2F05-EA937E442831}"/>
              </a:ext>
            </a:extLst>
          </p:cNvPr>
          <p:cNvSpPr txBox="1"/>
          <p:nvPr/>
        </p:nvSpPr>
        <p:spPr>
          <a:xfrm>
            <a:off x="442909" y="2398712"/>
            <a:ext cx="6734175" cy="1373216"/>
          </a:xfrm>
          <a:prstGeom prst="rect">
            <a:avLst/>
          </a:prstGeom>
          <a:solidFill>
            <a:schemeClr val="bg1">
              <a:lumMod val="95000"/>
            </a:schemeClr>
          </a:solidFill>
        </p:spPr>
        <p:txBody>
          <a:bodyPr wrap="square" lIns="72000" tIns="72000" rIns="72000" bIns="72000">
            <a:noAutofit/>
          </a:bodyPr>
          <a:lstStyle/>
          <a:p>
            <a:pPr marL="284400" lvl="0" indent="-284400">
              <a:spcAft>
                <a:spcPts val="600"/>
              </a:spcAft>
              <a:buBlip>
                <a:blip r:embed="rId7"/>
              </a:buBlip>
            </a:pPr>
            <a:r>
              <a:rPr lang="lv-LV" sz="1400"/>
              <a:t>Krampju lēkmes laikā sargājiet cietušo no iespējamām traumām, īpaši pasargājiet cietušā galvu.</a:t>
            </a:r>
            <a:endParaRPr lang="en-GB" sz="1400"/>
          </a:p>
          <a:p>
            <a:pPr marL="284400" lvl="0" indent="-284400">
              <a:spcAft>
                <a:spcPts val="600"/>
              </a:spcAft>
              <a:buBlip>
                <a:blip r:embed="rId7"/>
              </a:buBlip>
            </a:pPr>
            <a:r>
              <a:rPr lang="lv-LV" sz="1400"/>
              <a:t>Izsauciet Neatliekamo palīdzību.</a:t>
            </a:r>
            <a:endParaRPr lang="en-GB" sz="1400"/>
          </a:p>
          <a:p>
            <a:pPr marL="284400" indent="-284400">
              <a:spcAft>
                <a:spcPts val="600"/>
              </a:spcAft>
              <a:buBlip>
                <a:blip r:embed="rId7"/>
              </a:buBlip>
            </a:pPr>
            <a:r>
              <a:rPr lang="lv-LV" sz="1400"/>
              <a:t>Veiciet atdzīvināšanas pasākumus, ja nepieciešams, tikai pēc lēkmes nevis tās laikā.</a:t>
            </a:r>
            <a:endParaRPr lang="en-GB" sz="1400"/>
          </a:p>
        </p:txBody>
      </p:sp>
      <p:sp>
        <p:nvSpPr>
          <p:cNvPr id="2" name="Google Shape;764;p79">
            <a:extLst>
              <a:ext uri="{FF2B5EF4-FFF2-40B4-BE49-F238E27FC236}">
                <a16:creationId xmlns:a16="http://schemas.microsoft.com/office/drawing/2014/main" id="{5F735A8C-4418-CDE7-FDAD-A62BB616594E}"/>
              </a:ext>
            </a:extLst>
          </p:cNvPr>
          <p:cNvSpPr/>
          <p:nvPr/>
        </p:nvSpPr>
        <p:spPr>
          <a:xfrm>
            <a:off x="578685" y="1062283"/>
            <a:ext cx="433388" cy="4318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78" y="228"/>
                </a:moveTo>
                <a:cubicBezTo>
                  <a:pt x="178" y="210"/>
                  <a:pt x="180" y="194"/>
                  <a:pt x="186" y="180"/>
                </a:cubicBezTo>
                <a:cubicBezTo>
                  <a:pt x="191" y="165"/>
                  <a:pt x="199" y="153"/>
                  <a:pt x="209" y="143"/>
                </a:cubicBezTo>
                <a:cubicBezTo>
                  <a:pt x="219" y="132"/>
                  <a:pt x="231" y="124"/>
                  <a:pt x="246" y="119"/>
                </a:cubicBezTo>
                <a:cubicBezTo>
                  <a:pt x="260" y="113"/>
                  <a:pt x="276" y="110"/>
                  <a:pt x="294" y="110"/>
                </a:cubicBezTo>
                <a:cubicBezTo>
                  <a:pt x="309" y="110"/>
                  <a:pt x="322" y="112"/>
                  <a:pt x="335" y="117"/>
                </a:cubicBezTo>
                <a:cubicBezTo>
                  <a:pt x="348" y="121"/>
                  <a:pt x="359" y="127"/>
                  <a:pt x="369" y="136"/>
                </a:cubicBezTo>
                <a:cubicBezTo>
                  <a:pt x="378" y="144"/>
                  <a:pt x="386" y="154"/>
                  <a:pt x="391" y="166"/>
                </a:cubicBezTo>
                <a:cubicBezTo>
                  <a:pt x="397" y="179"/>
                  <a:pt x="399" y="192"/>
                  <a:pt x="399" y="208"/>
                </a:cubicBezTo>
                <a:cubicBezTo>
                  <a:pt x="399" y="219"/>
                  <a:pt x="398" y="229"/>
                  <a:pt x="396" y="237"/>
                </a:cubicBezTo>
                <a:cubicBezTo>
                  <a:pt x="393" y="245"/>
                  <a:pt x="390" y="253"/>
                  <a:pt x="386" y="258"/>
                </a:cubicBezTo>
                <a:cubicBezTo>
                  <a:pt x="382" y="264"/>
                  <a:pt x="377" y="270"/>
                  <a:pt x="372" y="274"/>
                </a:cubicBezTo>
                <a:cubicBezTo>
                  <a:pt x="367" y="279"/>
                  <a:pt x="362" y="284"/>
                  <a:pt x="357" y="288"/>
                </a:cubicBezTo>
                <a:cubicBezTo>
                  <a:pt x="351" y="293"/>
                  <a:pt x="345" y="298"/>
                  <a:pt x="340" y="303"/>
                </a:cubicBezTo>
                <a:cubicBezTo>
                  <a:pt x="335" y="308"/>
                  <a:pt x="330" y="313"/>
                  <a:pt x="326" y="319"/>
                </a:cubicBezTo>
                <a:cubicBezTo>
                  <a:pt x="322" y="325"/>
                  <a:pt x="319" y="332"/>
                  <a:pt x="317" y="341"/>
                </a:cubicBezTo>
                <a:cubicBezTo>
                  <a:pt x="315" y="349"/>
                  <a:pt x="314" y="358"/>
                  <a:pt x="314" y="370"/>
                </a:cubicBezTo>
                <a:cubicBezTo>
                  <a:pt x="262" y="370"/>
                  <a:pt x="262" y="370"/>
                  <a:pt x="262" y="370"/>
                </a:cubicBezTo>
                <a:cubicBezTo>
                  <a:pt x="262" y="356"/>
                  <a:pt x="263" y="344"/>
                  <a:pt x="264" y="334"/>
                </a:cubicBezTo>
                <a:cubicBezTo>
                  <a:pt x="266" y="324"/>
                  <a:pt x="268" y="316"/>
                  <a:pt x="271" y="308"/>
                </a:cubicBezTo>
                <a:cubicBezTo>
                  <a:pt x="274" y="301"/>
                  <a:pt x="278" y="294"/>
                  <a:pt x="283" y="288"/>
                </a:cubicBezTo>
                <a:cubicBezTo>
                  <a:pt x="288" y="283"/>
                  <a:pt x="293" y="277"/>
                  <a:pt x="300" y="272"/>
                </a:cubicBezTo>
                <a:cubicBezTo>
                  <a:pt x="305" y="267"/>
                  <a:pt x="310" y="263"/>
                  <a:pt x="314" y="259"/>
                </a:cubicBezTo>
                <a:cubicBezTo>
                  <a:pt x="319" y="255"/>
                  <a:pt x="323" y="251"/>
                  <a:pt x="327" y="246"/>
                </a:cubicBezTo>
                <a:cubicBezTo>
                  <a:pt x="331" y="242"/>
                  <a:pt x="334" y="236"/>
                  <a:pt x="336" y="231"/>
                </a:cubicBezTo>
                <a:cubicBezTo>
                  <a:pt x="338" y="225"/>
                  <a:pt x="339" y="218"/>
                  <a:pt x="339" y="210"/>
                </a:cubicBezTo>
                <a:cubicBezTo>
                  <a:pt x="339" y="200"/>
                  <a:pt x="337" y="192"/>
                  <a:pt x="334" y="185"/>
                </a:cubicBezTo>
                <a:cubicBezTo>
                  <a:pt x="330" y="178"/>
                  <a:pt x="326" y="172"/>
                  <a:pt x="321" y="168"/>
                </a:cubicBezTo>
                <a:cubicBezTo>
                  <a:pt x="317" y="164"/>
                  <a:pt x="311" y="161"/>
                  <a:pt x="306" y="159"/>
                </a:cubicBezTo>
                <a:cubicBezTo>
                  <a:pt x="300" y="157"/>
                  <a:pt x="296" y="156"/>
                  <a:pt x="291" y="156"/>
                </a:cubicBezTo>
                <a:cubicBezTo>
                  <a:pt x="271" y="156"/>
                  <a:pt x="257" y="163"/>
                  <a:pt x="247" y="176"/>
                </a:cubicBezTo>
                <a:cubicBezTo>
                  <a:pt x="238" y="189"/>
                  <a:pt x="233" y="206"/>
                  <a:pt x="233" y="228"/>
                </a:cubicBezTo>
                <a:lnTo>
                  <a:pt x="178" y="228"/>
                </a:lnTo>
                <a:close/>
                <a:moveTo>
                  <a:pt x="255" y="403"/>
                </a:moveTo>
                <a:cubicBezTo>
                  <a:pt x="319" y="403"/>
                  <a:pt x="319" y="403"/>
                  <a:pt x="319" y="403"/>
                </a:cubicBezTo>
                <a:cubicBezTo>
                  <a:pt x="319" y="464"/>
                  <a:pt x="319" y="464"/>
                  <a:pt x="319" y="464"/>
                </a:cubicBezTo>
                <a:cubicBezTo>
                  <a:pt x="255" y="464"/>
                  <a:pt x="255" y="464"/>
                  <a:pt x="255" y="464"/>
                </a:cubicBezTo>
                <a:lnTo>
                  <a:pt x="255" y="403"/>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5" name="Rectangle 24">
            <a:extLst>
              <a:ext uri="{FF2B5EF4-FFF2-40B4-BE49-F238E27FC236}">
                <a16:creationId xmlns:a16="http://schemas.microsoft.com/office/drawing/2014/main" id="{2B261BF4-92C6-462D-AA95-793AE54DD688}"/>
              </a:ext>
            </a:extLst>
          </p:cNvPr>
          <p:cNvSpPr/>
          <p:nvPr/>
        </p:nvSpPr>
        <p:spPr>
          <a:xfrm>
            <a:off x="442913" y="4747447"/>
            <a:ext cx="6734175" cy="142475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4400" indent="-284400">
              <a:spcAft>
                <a:spcPts val="600"/>
              </a:spcAft>
              <a:buBlip>
                <a:blip r:embed="rId7"/>
              </a:buBlip>
            </a:pPr>
            <a:r>
              <a:rPr lang="lv-LV" sz="1400">
                <a:solidFill>
                  <a:schemeClr val="tx1"/>
                </a:solidFill>
              </a:rPr>
              <a:t>Īpaši bīstami, ja lēkme ilgāka par 5 minūtēm vai lēkmes atkārtojas īsā laika periodā.</a:t>
            </a:r>
          </a:p>
          <a:p>
            <a:pPr marL="284400" indent="-284400">
              <a:spcAft>
                <a:spcPts val="600"/>
              </a:spcAft>
              <a:buBlip>
                <a:blip r:embed="rId7"/>
              </a:buBlip>
            </a:pPr>
            <a:r>
              <a:rPr lang="lv-LV" sz="1400">
                <a:solidFill>
                  <a:schemeClr val="tx1"/>
                </a:solidFill>
              </a:rPr>
              <a:t>Lēkmes laikā nefiksējiet cietušo, nemēģiniet atvērt sakostos zobus un neko nelieciet mutē.</a:t>
            </a:r>
          </a:p>
          <a:p>
            <a:pPr marL="284400" indent="-284400">
              <a:spcAft>
                <a:spcPts val="600"/>
              </a:spcAft>
              <a:buBlip>
                <a:blip r:embed="rId7"/>
              </a:buBlip>
            </a:pPr>
            <a:r>
              <a:rPr lang="lv-LV" sz="1400">
                <a:solidFill>
                  <a:schemeClr val="tx1"/>
                </a:solidFill>
              </a:rPr>
              <a:t>Pēc krampju lēkmes cietušais var būt apjucis, neatstājiet vienu.</a:t>
            </a:r>
          </a:p>
        </p:txBody>
      </p:sp>
      <p:sp>
        <p:nvSpPr>
          <p:cNvPr id="27" name="Rectangle 26">
            <a:extLst>
              <a:ext uri="{FF2B5EF4-FFF2-40B4-BE49-F238E27FC236}">
                <a16:creationId xmlns:a16="http://schemas.microsoft.com/office/drawing/2014/main" id="{72D802D4-B169-1594-D931-40179675E33A}"/>
              </a:ext>
            </a:extLst>
          </p:cNvPr>
          <p:cNvSpPr/>
          <p:nvPr/>
        </p:nvSpPr>
        <p:spPr>
          <a:xfrm>
            <a:off x="442913" y="4171447"/>
            <a:ext cx="673417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grpSp>
        <p:nvGrpSpPr>
          <p:cNvPr id="9" name="Group 8">
            <a:extLst>
              <a:ext uri="{FF2B5EF4-FFF2-40B4-BE49-F238E27FC236}">
                <a16:creationId xmlns:a16="http://schemas.microsoft.com/office/drawing/2014/main" id="{CD2C3658-A1D3-3144-1ED5-F2F246D99B5F}"/>
              </a:ext>
            </a:extLst>
          </p:cNvPr>
          <p:cNvGrpSpPr/>
          <p:nvPr/>
        </p:nvGrpSpPr>
        <p:grpSpPr>
          <a:xfrm>
            <a:off x="6529696" y="4171447"/>
            <a:ext cx="647388" cy="576000"/>
            <a:chOff x="3924613" y="3998595"/>
            <a:chExt cx="647388" cy="576000"/>
          </a:xfrm>
        </p:grpSpPr>
        <p:sp>
          <p:nvSpPr>
            <p:cNvPr id="44" name="Content Placeholder 1">
              <a:extLst>
                <a:ext uri="{FF2B5EF4-FFF2-40B4-BE49-F238E27FC236}">
                  <a16:creationId xmlns:a16="http://schemas.microsoft.com/office/drawing/2014/main" id="{37325A5C-F07F-2313-782A-18E3E98D15F0}"/>
                </a:ext>
              </a:extLst>
            </p:cNvPr>
            <p:cNvSpPr txBox="1">
              <a:spLocks/>
            </p:cNvSpPr>
            <p:nvPr/>
          </p:nvSpPr>
          <p:spPr>
            <a:xfrm>
              <a:off x="3996001" y="39985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5" name="Content Placeholder 1">
              <a:extLst>
                <a:ext uri="{FF2B5EF4-FFF2-40B4-BE49-F238E27FC236}">
                  <a16:creationId xmlns:a16="http://schemas.microsoft.com/office/drawing/2014/main" id="{5A4A472A-422C-56F4-A0F5-AE422E82D144}"/>
                </a:ext>
              </a:extLst>
            </p:cNvPr>
            <p:cNvSpPr txBox="1">
              <a:spLocks/>
            </p:cNvSpPr>
            <p:nvPr/>
          </p:nvSpPr>
          <p:spPr>
            <a:xfrm>
              <a:off x="3924613" y="39985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9" name="Google Shape;794;p79">
              <a:extLst>
                <a:ext uri="{FF2B5EF4-FFF2-40B4-BE49-F238E27FC236}">
                  <a16:creationId xmlns:a16="http://schemas.microsoft.com/office/drawing/2014/main" id="{DED3BED4-139F-CB4F-0A7B-7B90211550F4}"/>
                </a:ext>
              </a:extLst>
            </p:cNvPr>
            <p:cNvSpPr/>
            <p:nvPr/>
          </p:nvSpPr>
          <p:spPr>
            <a:xfrm>
              <a:off x="4104001" y="41065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10" name="Rectangle 9">
            <a:extLst>
              <a:ext uri="{FF2B5EF4-FFF2-40B4-BE49-F238E27FC236}">
                <a16:creationId xmlns:a16="http://schemas.microsoft.com/office/drawing/2014/main" id="{8CC33394-EBA6-F8B3-884F-79BAB196D95C}"/>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6" name="Group 5">
            <a:extLst>
              <a:ext uri="{FF2B5EF4-FFF2-40B4-BE49-F238E27FC236}">
                <a16:creationId xmlns:a16="http://schemas.microsoft.com/office/drawing/2014/main" id="{3B6105E1-77DC-1D76-8C8C-2948FA3BC95C}"/>
              </a:ext>
            </a:extLst>
          </p:cNvPr>
          <p:cNvGrpSpPr/>
          <p:nvPr/>
        </p:nvGrpSpPr>
        <p:grpSpPr>
          <a:xfrm>
            <a:off x="9842140" y="372216"/>
            <a:ext cx="1667215" cy="217488"/>
            <a:chOff x="9842140" y="372216"/>
            <a:chExt cx="1667215" cy="217488"/>
          </a:xfrm>
        </p:grpSpPr>
        <p:sp>
          <p:nvSpPr>
            <p:cNvPr id="20" name="TextBox 19">
              <a:extLst>
                <a:ext uri="{FF2B5EF4-FFF2-40B4-BE49-F238E27FC236}">
                  <a16:creationId xmlns:a16="http://schemas.microsoft.com/office/drawing/2014/main" id="{D3132C5D-B790-6958-7A5B-35741E3EEAFE}"/>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a:lnSpc>
                  <a:spcPct val="100000"/>
                </a:lnSpc>
                <a:spcAft>
                  <a:spcPts val="600"/>
                </a:spcAft>
                <a:buSzPct val="100000"/>
              </a:pPr>
              <a:r>
                <a:rPr lang="lv-LV" sz="800">
                  <a:solidFill>
                    <a:schemeClr val="bg1"/>
                  </a:solidFill>
                </a:rPr>
                <a:t>Slimības</a:t>
              </a:r>
            </a:p>
          </p:txBody>
        </p:sp>
        <p:sp>
          <p:nvSpPr>
            <p:cNvPr id="21" name="Freeform 49">
              <a:extLst>
                <a:ext uri="{FF2B5EF4-FFF2-40B4-BE49-F238E27FC236}">
                  <a16:creationId xmlns:a16="http://schemas.microsoft.com/office/drawing/2014/main" id="{86BC0698-7F41-B85F-1A94-879CD83DE818}"/>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19" name="Group 18">
            <a:extLst>
              <a:ext uri="{FF2B5EF4-FFF2-40B4-BE49-F238E27FC236}">
                <a16:creationId xmlns:a16="http://schemas.microsoft.com/office/drawing/2014/main" id="{77F40A71-4756-E1A8-F5BB-9D3C68C9E1AA}"/>
              </a:ext>
            </a:extLst>
          </p:cNvPr>
          <p:cNvGrpSpPr/>
          <p:nvPr/>
        </p:nvGrpSpPr>
        <p:grpSpPr>
          <a:xfrm>
            <a:off x="9122935" y="126781"/>
            <a:ext cx="2626153" cy="217488"/>
            <a:chOff x="9122935" y="126781"/>
            <a:chExt cx="2626153" cy="217488"/>
          </a:xfrm>
        </p:grpSpPr>
        <p:sp>
          <p:nvSpPr>
            <p:cNvPr id="22" name="Rectangle 21">
              <a:extLst>
                <a:ext uri="{FF2B5EF4-FFF2-40B4-BE49-F238E27FC236}">
                  <a16:creationId xmlns:a16="http://schemas.microsoft.com/office/drawing/2014/main" id="{5FEF93E6-3661-FB18-994D-FD9C77CACF09}"/>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23" name="Rectangle 22">
              <a:extLst>
                <a:ext uri="{FF2B5EF4-FFF2-40B4-BE49-F238E27FC236}">
                  <a16:creationId xmlns:a16="http://schemas.microsoft.com/office/drawing/2014/main" id="{1A471FBB-CBDE-07E6-EF89-4B23704000F7}"/>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AE62BBCE-F25A-B4CE-948C-CD97FD5E04C2}"/>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8A1AE69F-C4ED-2DE5-42D7-A1023CD2FC87}"/>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1B7AE801-7219-7B95-8577-2037F01F5027}"/>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32" name="Rectangle 31">
              <a:extLst>
                <a:ext uri="{FF2B5EF4-FFF2-40B4-BE49-F238E27FC236}">
                  <a16:creationId xmlns:a16="http://schemas.microsoft.com/office/drawing/2014/main" id="{E01AECEE-D27D-BEDE-4874-F64E6121656B}"/>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41411916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42484D8-B92F-3120-2EA3-19BDEF030AC7}"/>
              </a:ext>
            </a:extLst>
          </p:cNvPr>
          <p:cNvPicPr>
            <a:picLocks noChangeAspect="1"/>
          </p:cNvPicPr>
          <p:nvPr/>
        </p:nvPicPr>
        <p:blipFill>
          <a:blip r:embed="rId4"/>
          <a:stretch>
            <a:fillRect/>
          </a:stretch>
        </p:blipFill>
        <p:spPr>
          <a:xfrm>
            <a:off x="7620000" y="0"/>
            <a:ext cx="4572000" cy="6858000"/>
          </a:xfrm>
          <a:prstGeom prst="rect">
            <a:avLst/>
          </a:prstGeom>
        </p:spPr>
      </p:pic>
      <p:sp>
        <p:nvSpPr>
          <p:cNvPr id="10" name="Rectangle 9">
            <a:extLst>
              <a:ext uri="{FF2B5EF4-FFF2-40B4-BE49-F238E27FC236}">
                <a16:creationId xmlns:a16="http://schemas.microsoft.com/office/drawing/2014/main" id="{608520D7-EDD4-93AD-A51B-E10E55BFCDBF}"/>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aphicFrame>
        <p:nvGraphicFramePr>
          <p:cNvPr id="12" name="think-cell data - do not delete" hidden="1">
            <a:extLst>
              <a:ext uri="{FF2B5EF4-FFF2-40B4-BE49-F238E27FC236}">
                <a16:creationId xmlns:a16="http://schemas.microsoft.com/office/drawing/2014/main" id="{F6E6AF23-7B86-113A-F559-513B41FEC1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12" name="think-cell data - do not delete" hidden="1">
                        <a:extLst>
                          <a:ext uri="{FF2B5EF4-FFF2-40B4-BE49-F238E27FC236}">
                            <a16:creationId xmlns:a16="http://schemas.microsoft.com/office/drawing/2014/main" id="{F6E6AF23-7B86-113A-F559-513B41FEC1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3C02F18C-4E74-90B5-EC0B-78FCC94453E3}"/>
              </a:ext>
            </a:extLst>
          </p:cNvPr>
          <p:cNvSpPr txBox="1"/>
          <p:nvPr/>
        </p:nvSpPr>
        <p:spPr>
          <a:xfrm>
            <a:off x="442909" y="2398712"/>
            <a:ext cx="6734175" cy="1373216"/>
          </a:xfrm>
          <a:prstGeom prst="rect">
            <a:avLst/>
          </a:prstGeom>
          <a:solidFill>
            <a:schemeClr val="bg1">
              <a:lumMod val="95000"/>
            </a:schemeClr>
          </a:solidFill>
        </p:spPr>
        <p:txBody>
          <a:bodyPr wrap="square" lIns="72000" tIns="72000" rIns="72000" bIns="72000">
            <a:noAutofit/>
          </a:bodyPr>
          <a:lstStyle/>
          <a:p>
            <a:pPr marL="284400" lvl="0" indent="-284400">
              <a:spcAft>
                <a:spcPts val="600"/>
              </a:spcAft>
              <a:buBlip>
                <a:blip r:embed="rId7"/>
              </a:buBlip>
            </a:pPr>
            <a:r>
              <a:rPr lang="lv-LV" sz="1400"/>
              <a:t>Krampju lēkmes laikā sargājiet cietušo no iespējamām traumām, īpaši pasargājiet cietušā galvu.</a:t>
            </a:r>
            <a:endParaRPr lang="en-GB" sz="1400"/>
          </a:p>
          <a:p>
            <a:pPr marL="284400" lvl="0" indent="-284400">
              <a:spcAft>
                <a:spcPts val="600"/>
              </a:spcAft>
              <a:buBlip>
                <a:blip r:embed="rId7"/>
              </a:buBlip>
            </a:pPr>
            <a:r>
              <a:rPr lang="lv-LV" sz="1400"/>
              <a:t>Izsauciet Neatliekamo palīdzību.</a:t>
            </a:r>
            <a:endParaRPr lang="en-GB" sz="1400"/>
          </a:p>
          <a:p>
            <a:pPr marL="284400" indent="-284400">
              <a:spcAft>
                <a:spcPts val="600"/>
              </a:spcAft>
              <a:buBlip>
                <a:blip r:embed="rId7"/>
              </a:buBlip>
            </a:pPr>
            <a:r>
              <a:rPr lang="lv-LV" sz="1400"/>
              <a:t>Veiciet atdzīvināšanas pasākumus, ja nepieciešams, tikai pēc lēkmes nevis tās laikā.</a:t>
            </a:r>
            <a:endParaRPr lang="en-GB" sz="1400"/>
          </a:p>
        </p:txBody>
      </p:sp>
      <p:sp>
        <p:nvSpPr>
          <p:cNvPr id="11" name="Rectangle 10">
            <a:extLst>
              <a:ext uri="{FF2B5EF4-FFF2-40B4-BE49-F238E27FC236}">
                <a16:creationId xmlns:a16="http://schemas.microsoft.com/office/drawing/2014/main" id="{07889E6A-8E21-2803-30A1-A645AF04340F}"/>
              </a:ext>
            </a:extLst>
          </p:cNvPr>
          <p:cNvSpPr/>
          <p:nvPr/>
        </p:nvSpPr>
        <p:spPr>
          <a:xfrm>
            <a:off x="442913" y="4747447"/>
            <a:ext cx="6734175" cy="142475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4400" indent="-284400">
              <a:spcAft>
                <a:spcPts val="600"/>
              </a:spcAft>
              <a:buBlip>
                <a:blip r:embed="rId7"/>
              </a:buBlip>
            </a:pPr>
            <a:r>
              <a:rPr lang="lv-LV" sz="1400">
                <a:solidFill>
                  <a:schemeClr val="tx1"/>
                </a:solidFill>
              </a:rPr>
              <a:t>Īpaši bīstami, ja lēkme ilgāka par 5 minūtēm vai lēkmes atkārtojas īsā laika periodā.</a:t>
            </a:r>
          </a:p>
          <a:p>
            <a:pPr marL="284400" indent="-284400">
              <a:spcAft>
                <a:spcPts val="600"/>
              </a:spcAft>
              <a:buBlip>
                <a:blip r:embed="rId7"/>
              </a:buBlip>
            </a:pPr>
            <a:r>
              <a:rPr lang="lv-LV" sz="1400">
                <a:solidFill>
                  <a:schemeClr val="tx1"/>
                </a:solidFill>
              </a:rPr>
              <a:t>Lēkmes laikā nefiksējiet cietušo, nemēģiniet atvērt sakostos zobus un neko nelieciet mutē.</a:t>
            </a:r>
          </a:p>
          <a:p>
            <a:pPr marL="284400" indent="-284400">
              <a:spcAft>
                <a:spcPts val="600"/>
              </a:spcAft>
              <a:buBlip>
                <a:blip r:embed="rId7"/>
              </a:buBlip>
            </a:pPr>
            <a:r>
              <a:rPr lang="lv-LV" sz="1400">
                <a:solidFill>
                  <a:schemeClr val="tx1"/>
                </a:solidFill>
              </a:rPr>
              <a:t>Pēc krampju lēkmes cietušais var būt apjucis, neatstājiet vienu.</a:t>
            </a:r>
          </a:p>
        </p:txBody>
      </p:sp>
      <p:sp>
        <p:nvSpPr>
          <p:cNvPr id="13" name="Rectangle 12">
            <a:extLst>
              <a:ext uri="{FF2B5EF4-FFF2-40B4-BE49-F238E27FC236}">
                <a16:creationId xmlns:a16="http://schemas.microsoft.com/office/drawing/2014/main" id="{10ECE187-B3A4-BDE3-A3F3-430688A0658E}"/>
              </a:ext>
            </a:extLst>
          </p:cNvPr>
          <p:cNvSpPr/>
          <p:nvPr/>
        </p:nvSpPr>
        <p:spPr>
          <a:xfrm>
            <a:off x="442913" y="4171447"/>
            <a:ext cx="673417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grpSp>
        <p:nvGrpSpPr>
          <p:cNvPr id="14" name="Group 13">
            <a:extLst>
              <a:ext uri="{FF2B5EF4-FFF2-40B4-BE49-F238E27FC236}">
                <a16:creationId xmlns:a16="http://schemas.microsoft.com/office/drawing/2014/main" id="{267418C2-6F99-A659-AB11-419EED1354F6}"/>
              </a:ext>
            </a:extLst>
          </p:cNvPr>
          <p:cNvGrpSpPr/>
          <p:nvPr/>
        </p:nvGrpSpPr>
        <p:grpSpPr>
          <a:xfrm>
            <a:off x="6529696" y="4171447"/>
            <a:ext cx="647388" cy="576000"/>
            <a:chOff x="3924613" y="3998595"/>
            <a:chExt cx="647388" cy="576000"/>
          </a:xfrm>
        </p:grpSpPr>
        <p:sp>
          <p:nvSpPr>
            <p:cNvPr id="15" name="Content Placeholder 1">
              <a:extLst>
                <a:ext uri="{FF2B5EF4-FFF2-40B4-BE49-F238E27FC236}">
                  <a16:creationId xmlns:a16="http://schemas.microsoft.com/office/drawing/2014/main" id="{4CB45765-8E44-820A-9E40-C91FDDCB9B97}"/>
                </a:ext>
              </a:extLst>
            </p:cNvPr>
            <p:cNvSpPr txBox="1">
              <a:spLocks/>
            </p:cNvSpPr>
            <p:nvPr/>
          </p:nvSpPr>
          <p:spPr>
            <a:xfrm>
              <a:off x="3996001" y="39985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6" name="Content Placeholder 1">
              <a:extLst>
                <a:ext uri="{FF2B5EF4-FFF2-40B4-BE49-F238E27FC236}">
                  <a16:creationId xmlns:a16="http://schemas.microsoft.com/office/drawing/2014/main" id="{52A415CE-22D9-E6CE-20F0-E3F689A0DFF5}"/>
                </a:ext>
              </a:extLst>
            </p:cNvPr>
            <p:cNvSpPr txBox="1">
              <a:spLocks/>
            </p:cNvSpPr>
            <p:nvPr/>
          </p:nvSpPr>
          <p:spPr>
            <a:xfrm>
              <a:off x="3924613" y="39985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7" name="Google Shape;794;p79">
              <a:extLst>
                <a:ext uri="{FF2B5EF4-FFF2-40B4-BE49-F238E27FC236}">
                  <a16:creationId xmlns:a16="http://schemas.microsoft.com/office/drawing/2014/main" id="{37C289FF-B8DD-FBCD-F62C-1CC8FAE65FA8}"/>
                </a:ext>
              </a:extLst>
            </p:cNvPr>
            <p:cNvSpPr/>
            <p:nvPr/>
          </p:nvSpPr>
          <p:spPr>
            <a:xfrm>
              <a:off x="4104001" y="41065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a:lstStyle/>
          <a:p>
            <a:r>
              <a:rPr lang="lv-LV"/>
              <a:t>Kā rīkoties, ja cietušajam ir krampji?</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solidFill>
                  <a:schemeClr val="bg1"/>
                </a:solidFill>
              </a:rPr>
              <a:pPr/>
              <a:t>41</a:t>
            </a:fld>
            <a:endParaRPr lang="en-GB">
              <a:solidFill>
                <a:schemeClr val="bg1"/>
              </a:solidFill>
            </a:endParaRPr>
          </a:p>
        </p:txBody>
      </p:sp>
      <p:sp>
        <p:nvSpPr>
          <p:cNvPr id="26" name="Rectangle 25">
            <a:extLst>
              <a:ext uri="{FF2B5EF4-FFF2-40B4-BE49-F238E27FC236}">
                <a16:creationId xmlns:a16="http://schemas.microsoft.com/office/drawing/2014/main" id="{5EC1F9AE-82A4-85FE-592B-EF659F76F7EC}"/>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29" name="Content Placeholder 1">
            <a:extLst>
              <a:ext uri="{FF2B5EF4-FFF2-40B4-BE49-F238E27FC236}">
                <a16:creationId xmlns:a16="http://schemas.microsoft.com/office/drawing/2014/main" id="{3915AD89-6428-4A75-0915-328643F1703C}"/>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0" name="Content Placeholder 1">
            <a:extLst>
              <a:ext uri="{FF2B5EF4-FFF2-40B4-BE49-F238E27FC236}">
                <a16:creationId xmlns:a16="http://schemas.microsoft.com/office/drawing/2014/main" id="{373AB206-F1F0-CC72-8C15-85605D9AF2AC}"/>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6" name="Google Shape;760;p79">
            <a:extLst>
              <a:ext uri="{FF2B5EF4-FFF2-40B4-BE49-F238E27FC236}">
                <a16:creationId xmlns:a16="http://schemas.microsoft.com/office/drawing/2014/main" id="{09BF84D6-F468-7005-FAB5-AA0B6AE5CFB4}"/>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0" name="Rectangle 49">
            <a:extLst>
              <a:ext uri="{FF2B5EF4-FFF2-40B4-BE49-F238E27FC236}">
                <a16:creationId xmlns:a16="http://schemas.microsoft.com/office/drawing/2014/main" id="{0130363F-7CE7-F3D0-4AB5-F295FAC2DCBC}"/>
              </a:ext>
            </a:extLst>
          </p:cNvPr>
          <p:cNvSpPr/>
          <p:nvPr/>
        </p:nvSpPr>
        <p:spPr>
          <a:xfrm>
            <a:off x="442913" y="963958"/>
            <a:ext cx="6734171" cy="628650"/>
          </a:xfrm>
          <a:prstGeom prst="rect">
            <a:avLst/>
          </a:prstGeom>
          <a:solidFill>
            <a:schemeClr val="bg1"/>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1" name="Rectangle 50">
            <a:extLst>
              <a:ext uri="{FF2B5EF4-FFF2-40B4-BE49-F238E27FC236}">
                <a16:creationId xmlns:a16="http://schemas.microsoft.com/office/drawing/2014/main" id="{AFEB1935-0849-FFDB-14A2-768E555E2F79}"/>
              </a:ext>
            </a:extLst>
          </p:cNvPr>
          <p:cNvSpPr/>
          <p:nvPr/>
        </p:nvSpPr>
        <p:spPr>
          <a:xfrm>
            <a:off x="1454989" y="1062283"/>
            <a:ext cx="5614092"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r>
              <a:rPr lang="lv-LV" sz="1600" b="1">
                <a:solidFill>
                  <a:schemeClr val="tx1"/>
                </a:solidFill>
              </a:rPr>
              <a:t>Pēkšņi nokrīt zemē. Ķermenis kļūst stīvs, sasprindzis. </a:t>
            </a:r>
          </a:p>
          <a:p>
            <a:r>
              <a:rPr lang="lv-LV" sz="1600" b="1">
                <a:solidFill>
                  <a:schemeClr val="tx1"/>
                </a:solidFill>
              </a:rPr>
              <a:t>Raustīšanās, krampjainas kustības visā ķermenī.</a:t>
            </a:r>
          </a:p>
        </p:txBody>
      </p:sp>
      <p:sp>
        <p:nvSpPr>
          <p:cNvPr id="52" name="Google Shape;736;p79">
            <a:extLst>
              <a:ext uri="{FF2B5EF4-FFF2-40B4-BE49-F238E27FC236}">
                <a16:creationId xmlns:a16="http://schemas.microsoft.com/office/drawing/2014/main" id="{C28EBB85-E5E0-FA58-8077-AD15508F23C6}"/>
              </a:ext>
            </a:extLst>
          </p:cNvPr>
          <p:cNvSpPr/>
          <p:nvPr/>
        </p:nvSpPr>
        <p:spPr>
          <a:xfrm>
            <a:off x="580073" y="1062283"/>
            <a:ext cx="432000" cy="432000"/>
          </a:xfrm>
          <a:custGeom>
            <a:avLst/>
            <a:gdLst/>
            <a:ahLst/>
            <a:cxnLst/>
            <a:rect l="l" t="t" r="r" b="b"/>
            <a:pathLst>
              <a:path w="155" h="154" extrusionOk="0">
                <a:moveTo>
                  <a:pt x="155" y="0"/>
                </a:moveTo>
                <a:lnTo>
                  <a:pt x="155" y="50"/>
                </a:lnTo>
                <a:lnTo>
                  <a:pt x="148" y="50"/>
                </a:lnTo>
                <a:lnTo>
                  <a:pt x="148" y="7"/>
                </a:lnTo>
                <a:lnTo>
                  <a:pt x="7" y="7"/>
                </a:lnTo>
                <a:lnTo>
                  <a:pt x="7" y="121"/>
                </a:lnTo>
                <a:lnTo>
                  <a:pt x="28" y="121"/>
                </a:lnTo>
                <a:lnTo>
                  <a:pt x="28" y="139"/>
                </a:lnTo>
                <a:lnTo>
                  <a:pt x="46" y="121"/>
                </a:lnTo>
                <a:lnTo>
                  <a:pt x="56" y="121"/>
                </a:lnTo>
                <a:lnTo>
                  <a:pt x="56" y="127"/>
                </a:lnTo>
                <a:lnTo>
                  <a:pt x="49" y="127"/>
                </a:lnTo>
                <a:lnTo>
                  <a:pt x="21" y="154"/>
                </a:lnTo>
                <a:lnTo>
                  <a:pt x="21" y="127"/>
                </a:lnTo>
                <a:lnTo>
                  <a:pt x="0" y="127"/>
                </a:lnTo>
                <a:lnTo>
                  <a:pt x="0" y="0"/>
                </a:lnTo>
                <a:lnTo>
                  <a:pt x="155" y="0"/>
                </a:lnTo>
                <a:close/>
                <a:moveTo>
                  <a:pt x="126" y="33"/>
                </a:moveTo>
                <a:lnTo>
                  <a:pt x="29" y="33"/>
                </a:lnTo>
                <a:lnTo>
                  <a:pt x="29" y="39"/>
                </a:lnTo>
                <a:lnTo>
                  <a:pt x="126" y="39"/>
                </a:lnTo>
                <a:lnTo>
                  <a:pt x="126" y="33"/>
                </a:lnTo>
                <a:close/>
                <a:moveTo>
                  <a:pt x="29" y="67"/>
                </a:moveTo>
                <a:lnTo>
                  <a:pt x="56" y="67"/>
                </a:lnTo>
                <a:lnTo>
                  <a:pt x="56" y="60"/>
                </a:lnTo>
                <a:lnTo>
                  <a:pt x="29" y="60"/>
                </a:lnTo>
                <a:lnTo>
                  <a:pt x="29" y="67"/>
                </a:lnTo>
                <a:close/>
                <a:moveTo>
                  <a:pt x="29" y="95"/>
                </a:moveTo>
                <a:lnTo>
                  <a:pt x="56" y="95"/>
                </a:lnTo>
                <a:lnTo>
                  <a:pt x="56" y="89"/>
                </a:lnTo>
                <a:lnTo>
                  <a:pt x="29" y="89"/>
                </a:lnTo>
                <a:lnTo>
                  <a:pt x="29" y="95"/>
                </a:lnTo>
                <a:close/>
                <a:moveTo>
                  <a:pt x="130" y="89"/>
                </a:moveTo>
                <a:lnTo>
                  <a:pt x="94" y="89"/>
                </a:lnTo>
                <a:lnTo>
                  <a:pt x="94" y="95"/>
                </a:lnTo>
                <a:lnTo>
                  <a:pt x="130" y="95"/>
                </a:lnTo>
                <a:lnTo>
                  <a:pt x="130" y="89"/>
                </a:lnTo>
                <a:close/>
                <a:moveTo>
                  <a:pt x="71" y="60"/>
                </a:moveTo>
                <a:lnTo>
                  <a:pt x="155" y="60"/>
                </a:lnTo>
                <a:lnTo>
                  <a:pt x="155" y="127"/>
                </a:lnTo>
                <a:lnTo>
                  <a:pt x="135" y="127"/>
                </a:lnTo>
                <a:lnTo>
                  <a:pt x="135" y="154"/>
                </a:lnTo>
                <a:lnTo>
                  <a:pt x="107" y="127"/>
                </a:lnTo>
                <a:lnTo>
                  <a:pt x="71" y="127"/>
                </a:lnTo>
                <a:lnTo>
                  <a:pt x="71" y="60"/>
                </a:lnTo>
                <a:close/>
                <a:moveTo>
                  <a:pt x="77" y="121"/>
                </a:moveTo>
                <a:lnTo>
                  <a:pt x="110" y="121"/>
                </a:lnTo>
                <a:lnTo>
                  <a:pt x="128" y="139"/>
                </a:lnTo>
                <a:lnTo>
                  <a:pt x="128" y="121"/>
                </a:lnTo>
                <a:lnTo>
                  <a:pt x="148" y="121"/>
                </a:lnTo>
                <a:lnTo>
                  <a:pt x="148" y="67"/>
                </a:lnTo>
                <a:lnTo>
                  <a:pt x="77" y="67"/>
                </a:lnTo>
                <a:lnTo>
                  <a:pt x="77" y="121"/>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chemeClr val="accent1"/>
              </a:solidFill>
              <a:latin typeface="Arial"/>
              <a:ea typeface="Arial"/>
              <a:cs typeface="Arial"/>
              <a:sym typeface="Arial"/>
            </a:endParaRPr>
          </a:p>
        </p:txBody>
      </p:sp>
      <p:cxnSp>
        <p:nvCxnSpPr>
          <p:cNvPr id="53" name="Straight Connector 52">
            <a:extLst>
              <a:ext uri="{FF2B5EF4-FFF2-40B4-BE49-F238E27FC236}">
                <a16:creationId xmlns:a16="http://schemas.microsoft.com/office/drawing/2014/main" id="{F358E754-064A-5B8C-B2FC-4E612BA07893}"/>
              </a:ext>
            </a:extLst>
          </p:cNvPr>
          <p:cNvCxnSpPr>
            <a:cxnSpLocks/>
          </p:cNvCxnSpPr>
          <p:nvPr/>
        </p:nvCxnSpPr>
        <p:spPr>
          <a:xfrm>
            <a:off x="1233531" y="1053947"/>
            <a:ext cx="0" cy="448673"/>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2" name="Rectangle 1">
            <a:extLst>
              <a:ext uri="{FF2B5EF4-FFF2-40B4-BE49-F238E27FC236}">
                <a16:creationId xmlns:a16="http://schemas.microsoft.com/office/drawing/2014/main" id="{704047AB-6DDC-C2CE-C1C1-09F2077282B4}"/>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5" name="Group 4">
            <a:extLst>
              <a:ext uri="{FF2B5EF4-FFF2-40B4-BE49-F238E27FC236}">
                <a16:creationId xmlns:a16="http://schemas.microsoft.com/office/drawing/2014/main" id="{24ED0251-E6F5-B0EE-B964-3572CCBD8AA4}"/>
              </a:ext>
            </a:extLst>
          </p:cNvPr>
          <p:cNvGrpSpPr/>
          <p:nvPr/>
        </p:nvGrpSpPr>
        <p:grpSpPr>
          <a:xfrm>
            <a:off x="9842140" y="372216"/>
            <a:ext cx="1667215" cy="217488"/>
            <a:chOff x="9842140" y="372216"/>
            <a:chExt cx="1667215" cy="217488"/>
          </a:xfrm>
        </p:grpSpPr>
        <p:sp>
          <p:nvSpPr>
            <p:cNvPr id="24" name="TextBox 23">
              <a:extLst>
                <a:ext uri="{FF2B5EF4-FFF2-40B4-BE49-F238E27FC236}">
                  <a16:creationId xmlns:a16="http://schemas.microsoft.com/office/drawing/2014/main" id="{696B1991-436D-D11D-7462-6F57272F54B1}"/>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a:lnSpc>
                  <a:spcPct val="100000"/>
                </a:lnSpc>
                <a:spcAft>
                  <a:spcPts val="600"/>
                </a:spcAft>
                <a:buSzPct val="100000"/>
              </a:pPr>
              <a:r>
                <a:rPr lang="lv-LV" sz="800">
                  <a:solidFill>
                    <a:schemeClr val="bg1"/>
                  </a:solidFill>
                </a:rPr>
                <a:t>Slimības</a:t>
              </a:r>
            </a:p>
          </p:txBody>
        </p:sp>
        <p:sp>
          <p:nvSpPr>
            <p:cNvPr id="25" name="Freeform 49">
              <a:extLst>
                <a:ext uri="{FF2B5EF4-FFF2-40B4-BE49-F238E27FC236}">
                  <a16:creationId xmlns:a16="http://schemas.microsoft.com/office/drawing/2014/main" id="{99787729-FB28-0725-8182-7196CAE326ED}"/>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23" name="Group 22">
            <a:extLst>
              <a:ext uri="{FF2B5EF4-FFF2-40B4-BE49-F238E27FC236}">
                <a16:creationId xmlns:a16="http://schemas.microsoft.com/office/drawing/2014/main" id="{3F5EF839-D7BE-7BCE-210A-3BADB5405ED6}"/>
              </a:ext>
            </a:extLst>
          </p:cNvPr>
          <p:cNvGrpSpPr/>
          <p:nvPr/>
        </p:nvGrpSpPr>
        <p:grpSpPr>
          <a:xfrm>
            <a:off x="9122935" y="126781"/>
            <a:ext cx="2626153" cy="217488"/>
            <a:chOff x="9122935" y="126781"/>
            <a:chExt cx="2626153" cy="217488"/>
          </a:xfrm>
        </p:grpSpPr>
        <p:sp>
          <p:nvSpPr>
            <p:cNvPr id="27" name="Rectangle 26">
              <a:extLst>
                <a:ext uri="{FF2B5EF4-FFF2-40B4-BE49-F238E27FC236}">
                  <a16:creationId xmlns:a16="http://schemas.microsoft.com/office/drawing/2014/main" id="{1FA38FE2-B819-0F10-F4DA-3EB2085691EE}"/>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28" name="Rectangle 27">
              <a:extLst>
                <a:ext uri="{FF2B5EF4-FFF2-40B4-BE49-F238E27FC236}">
                  <a16:creationId xmlns:a16="http://schemas.microsoft.com/office/drawing/2014/main" id="{6D654D86-3797-D9EB-F1A6-B29D4C7C21E4}"/>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7BD73179-FF7D-4D50-3CED-8C4DC387872A}"/>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2" name="Rectangle 31">
              <a:extLst>
                <a:ext uri="{FF2B5EF4-FFF2-40B4-BE49-F238E27FC236}">
                  <a16:creationId xmlns:a16="http://schemas.microsoft.com/office/drawing/2014/main" id="{640111BB-544F-C37F-30C2-95F3A913D117}"/>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10B0B677-8CBE-4308-43DC-3861B79872A8}"/>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34" name="Rectangle 33">
              <a:extLst>
                <a:ext uri="{FF2B5EF4-FFF2-40B4-BE49-F238E27FC236}">
                  <a16:creationId xmlns:a16="http://schemas.microsoft.com/office/drawing/2014/main" id="{92493A1B-2C63-A047-7A22-4E58FB37CD9A}"/>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17859615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6E6AF23-7B86-113A-F559-513B41FEC1FE}"/>
              </a:ext>
            </a:extLst>
          </p:cNvPr>
          <p:cNvGraphicFramePr>
            <a:graphicFrameLocks noChangeAspect="1"/>
          </p:cNvGraphicFramePr>
          <p:nvPr>
            <p:custDataLst>
              <p:tags r:id="rId1"/>
            </p:custDataLst>
            <p:extLst>
              <p:ext uri="{D42A27DB-BD31-4B8C-83A1-F6EECF244321}">
                <p14:modId xmlns:p14="http://schemas.microsoft.com/office/powerpoint/2010/main" val="2583409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F6E6AF23-7B86-113A-F559-513B41FEC1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74" name="Picture 2" descr="man in black adidas zip up jacket">
            <a:extLst>
              <a:ext uri="{FF2B5EF4-FFF2-40B4-BE49-F238E27FC236}">
                <a16:creationId xmlns:a16="http://schemas.microsoft.com/office/drawing/2014/main" id="{A956661B-FAE8-8EB1-7E90-80C772C59A2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5316" t="32240" r="32255" b="-1"/>
          <a:stretch/>
        </p:blipFill>
        <p:spPr bwMode="auto">
          <a:xfrm>
            <a:off x="7619100" y="-1"/>
            <a:ext cx="457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a:lstStyle/>
          <a:p>
            <a:r>
              <a:rPr lang="lv-LV"/>
              <a:t>Kā rīkoties, ja cietušajam ir sāpes </a:t>
            </a:r>
            <a:br>
              <a:rPr lang="en-US"/>
            </a:br>
            <a:r>
              <a:rPr lang="lv-LV"/>
              <a:t>krūtīs vai elpas trūkums?</a:t>
            </a:r>
            <a:endParaRPr lang="en-GB"/>
          </a:p>
        </p:txBody>
      </p:sp>
      <p:sp>
        <p:nvSpPr>
          <p:cNvPr id="26" name="Rectangle 25">
            <a:extLst>
              <a:ext uri="{FF2B5EF4-FFF2-40B4-BE49-F238E27FC236}">
                <a16:creationId xmlns:a16="http://schemas.microsoft.com/office/drawing/2014/main" id="{5EC1F9AE-82A4-85FE-592B-EF659F76F7EC}"/>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29" name="Content Placeholder 1">
            <a:extLst>
              <a:ext uri="{FF2B5EF4-FFF2-40B4-BE49-F238E27FC236}">
                <a16:creationId xmlns:a16="http://schemas.microsoft.com/office/drawing/2014/main" id="{3915AD89-6428-4A75-0915-328643F1703C}"/>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0" name="Content Placeholder 1">
            <a:extLst>
              <a:ext uri="{FF2B5EF4-FFF2-40B4-BE49-F238E27FC236}">
                <a16:creationId xmlns:a16="http://schemas.microsoft.com/office/drawing/2014/main" id="{373AB206-F1F0-CC72-8C15-85605D9AF2AC}"/>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6" name="Google Shape;760;p79">
            <a:extLst>
              <a:ext uri="{FF2B5EF4-FFF2-40B4-BE49-F238E27FC236}">
                <a16:creationId xmlns:a16="http://schemas.microsoft.com/office/drawing/2014/main" id="{09BF84D6-F468-7005-FAB5-AA0B6AE5CFB4}"/>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8" name="TextBox 7">
            <a:extLst>
              <a:ext uri="{FF2B5EF4-FFF2-40B4-BE49-F238E27FC236}">
                <a16:creationId xmlns:a16="http://schemas.microsoft.com/office/drawing/2014/main" id="{8F84A1C1-A3B2-78F7-2F05-EA937E442831}"/>
              </a:ext>
            </a:extLst>
          </p:cNvPr>
          <p:cNvSpPr txBox="1"/>
          <p:nvPr/>
        </p:nvSpPr>
        <p:spPr>
          <a:xfrm>
            <a:off x="442913" y="2398554"/>
            <a:ext cx="6734175" cy="1811705"/>
          </a:xfrm>
          <a:prstGeom prst="rect">
            <a:avLst/>
          </a:prstGeom>
          <a:solidFill>
            <a:schemeClr val="bg1">
              <a:lumMod val="95000"/>
            </a:schemeClr>
          </a:solidFill>
        </p:spPr>
        <p:txBody>
          <a:bodyPr wrap="square" lIns="72000" tIns="72000" rIns="72000" bIns="72000">
            <a:noAutofit/>
          </a:bodyPr>
          <a:lstStyle/>
          <a:p>
            <a:pPr marL="284400" lvl="0" indent="-284400">
              <a:spcAft>
                <a:spcPts val="600"/>
              </a:spcAft>
              <a:buBlip>
                <a:blip r:embed="rId7"/>
              </a:buBlip>
            </a:pPr>
            <a:r>
              <a:rPr lang="lv-LV" sz="1400"/>
              <a:t>Nodrošiniet cietušajam mieru un svaigu gaisu.</a:t>
            </a:r>
          </a:p>
          <a:p>
            <a:pPr marL="284400" lvl="0" indent="-284400">
              <a:spcAft>
                <a:spcPts val="600"/>
              </a:spcAft>
              <a:buBlip>
                <a:blip r:embed="rId7"/>
              </a:buBlip>
            </a:pPr>
            <a:r>
              <a:rPr lang="lv-LV" sz="1400"/>
              <a:t>Palīdziet/ļaujiet cietušajam ieņemt ērtāko ķermeņa pozu.</a:t>
            </a:r>
          </a:p>
          <a:p>
            <a:pPr marL="284400" lvl="0" indent="-284400">
              <a:spcAft>
                <a:spcPts val="600"/>
              </a:spcAft>
              <a:buBlip>
                <a:blip r:embed="rId7"/>
              </a:buBlip>
            </a:pPr>
            <a:r>
              <a:rPr lang="lv-LV" sz="1400"/>
              <a:t>Palīdziet cietušajam ieņemt viņa paša jau zināmās zāles.</a:t>
            </a:r>
          </a:p>
          <a:p>
            <a:pPr marL="284400" lvl="0" indent="-284400">
              <a:spcAft>
                <a:spcPts val="600"/>
              </a:spcAft>
              <a:buBlip>
                <a:blip r:embed="rId7"/>
              </a:buBlip>
            </a:pPr>
            <a:r>
              <a:rPr lang="lv-LV" sz="1400"/>
              <a:t>Izsauciet Neatliekamo palīdzību.</a:t>
            </a:r>
          </a:p>
          <a:p>
            <a:pPr marL="284400" lvl="0" indent="-284400">
              <a:spcAft>
                <a:spcPts val="600"/>
              </a:spcAft>
              <a:buBlip>
                <a:blip r:embed="rId7"/>
              </a:buBlip>
            </a:pPr>
            <a:r>
              <a:rPr lang="lv-LV" sz="1400"/>
              <a:t>Aprūpējiet, nomieriniet cietušo.</a:t>
            </a:r>
          </a:p>
          <a:p>
            <a:pPr marL="284400" lvl="0" indent="-284400">
              <a:spcAft>
                <a:spcPts val="600"/>
              </a:spcAft>
              <a:buBlip>
                <a:blip r:embed="rId7"/>
              </a:buBlip>
            </a:pPr>
            <a:r>
              <a:rPr lang="lv-LV" sz="1400"/>
              <a:t>Veiciet atdzīvināšanas pasākumus, ja nepieciešams.</a:t>
            </a:r>
          </a:p>
        </p:txBody>
      </p:sp>
      <p:sp>
        <p:nvSpPr>
          <p:cNvPr id="13" name="Rectangle 12">
            <a:extLst>
              <a:ext uri="{FF2B5EF4-FFF2-40B4-BE49-F238E27FC236}">
                <a16:creationId xmlns:a16="http://schemas.microsoft.com/office/drawing/2014/main" id="{799E30A1-ADE3-D083-090F-C1647AB7B5C5}"/>
              </a:ext>
            </a:extLst>
          </p:cNvPr>
          <p:cNvSpPr/>
          <p:nvPr/>
        </p:nvSpPr>
        <p:spPr>
          <a:xfrm>
            <a:off x="442913" y="5058137"/>
            <a:ext cx="6734175" cy="11140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4400" indent="-284400">
              <a:spcAft>
                <a:spcPts val="600"/>
              </a:spcAft>
              <a:buBlip>
                <a:blip r:embed="rId7"/>
              </a:buBlip>
            </a:pPr>
            <a:r>
              <a:rPr lang="lv-LV" sz="1400">
                <a:solidFill>
                  <a:schemeClr val="tx1"/>
                </a:solidFill>
              </a:rPr>
              <a:t>Sāpes krūtīs vai elpas trūkums var liecināt par dzīvībai bīstamiem veselības traucējumiem!</a:t>
            </a:r>
          </a:p>
          <a:p>
            <a:pPr marL="284400" indent="-284400">
              <a:spcAft>
                <a:spcPts val="600"/>
              </a:spcAft>
              <a:buBlip>
                <a:blip r:embed="rId7"/>
              </a:buBlip>
            </a:pPr>
            <a:r>
              <a:rPr lang="lv-LV" sz="1400">
                <a:solidFill>
                  <a:schemeClr val="tx1"/>
                </a:solidFill>
              </a:rPr>
              <a:t>Lieciet kādam savlaicīgi atnest defibrilatoru, lai nepieciešamības gadījumā varētu to lietot nekavējoties.</a:t>
            </a:r>
          </a:p>
        </p:txBody>
      </p:sp>
      <p:sp>
        <p:nvSpPr>
          <p:cNvPr id="14" name="Rectangle 13">
            <a:extLst>
              <a:ext uri="{FF2B5EF4-FFF2-40B4-BE49-F238E27FC236}">
                <a16:creationId xmlns:a16="http://schemas.microsoft.com/office/drawing/2014/main" id="{292427B9-6E56-4F0D-79C7-17E043506558}"/>
              </a:ext>
            </a:extLst>
          </p:cNvPr>
          <p:cNvSpPr/>
          <p:nvPr/>
        </p:nvSpPr>
        <p:spPr>
          <a:xfrm>
            <a:off x="442913" y="4481979"/>
            <a:ext cx="673417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grpSp>
        <p:nvGrpSpPr>
          <p:cNvPr id="15" name="Group 14">
            <a:extLst>
              <a:ext uri="{FF2B5EF4-FFF2-40B4-BE49-F238E27FC236}">
                <a16:creationId xmlns:a16="http://schemas.microsoft.com/office/drawing/2014/main" id="{32101DD0-0169-5B84-DBC1-4B151DF9F173}"/>
              </a:ext>
            </a:extLst>
          </p:cNvPr>
          <p:cNvGrpSpPr/>
          <p:nvPr/>
        </p:nvGrpSpPr>
        <p:grpSpPr>
          <a:xfrm>
            <a:off x="6529696" y="4481979"/>
            <a:ext cx="647388" cy="576000"/>
            <a:chOff x="3924613" y="3998595"/>
            <a:chExt cx="647388" cy="576000"/>
          </a:xfrm>
        </p:grpSpPr>
        <p:sp>
          <p:nvSpPr>
            <p:cNvPr id="16" name="Content Placeholder 1">
              <a:extLst>
                <a:ext uri="{FF2B5EF4-FFF2-40B4-BE49-F238E27FC236}">
                  <a16:creationId xmlns:a16="http://schemas.microsoft.com/office/drawing/2014/main" id="{C4E3C697-34B5-AF79-CE8B-161F546C2C96}"/>
                </a:ext>
              </a:extLst>
            </p:cNvPr>
            <p:cNvSpPr txBox="1">
              <a:spLocks/>
            </p:cNvSpPr>
            <p:nvPr/>
          </p:nvSpPr>
          <p:spPr>
            <a:xfrm>
              <a:off x="3996001" y="39985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7" name="Content Placeholder 1">
              <a:extLst>
                <a:ext uri="{FF2B5EF4-FFF2-40B4-BE49-F238E27FC236}">
                  <a16:creationId xmlns:a16="http://schemas.microsoft.com/office/drawing/2014/main" id="{034E459C-1C6F-D20C-CC3C-A54DA127F08F}"/>
                </a:ext>
              </a:extLst>
            </p:cNvPr>
            <p:cNvSpPr txBox="1">
              <a:spLocks/>
            </p:cNvSpPr>
            <p:nvPr/>
          </p:nvSpPr>
          <p:spPr>
            <a:xfrm>
              <a:off x="3924613" y="39985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8" name="Google Shape;794;p79">
              <a:extLst>
                <a:ext uri="{FF2B5EF4-FFF2-40B4-BE49-F238E27FC236}">
                  <a16:creationId xmlns:a16="http://schemas.microsoft.com/office/drawing/2014/main" id="{82F94A97-9D89-A1CA-2D3C-C0AB208BD788}"/>
                </a:ext>
              </a:extLst>
            </p:cNvPr>
            <p:cNvSpPr/>
            <p:nvPr/>
          </p:nvSpPr>
          <p:spPr>
            <a:xfrm>
              <a:off x="4104001" y="41065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2" name="Rectangle 1">
            <a:extLst>
              <a:ext uri="{FF2B5EF4-FFF2-40B4-BE49-F238E27FC236}">
                <a16:creationId xmlns:a16="http://schemas.microsoft.com/office/drawing/2014/main" id="{34F1EF69-F6E7-494E-E505-1BE8F9572B6E}"/>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sp>
        <p:nvSpPr>
          <p:cNvPr id="24" name="Rectangle 23">
            <a:extLst>
              <a:ext uri="{FF2B5EF4-FFF2-40B4-BE49-F238E27FC236}">
                <a16:creationId xmlns:a16="http://schemas.microsoft.com/office/drawing/2014/main" id="{EEBDB999-8D80-71A0-1735-572EAA4ECF55}"/>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nvGrpSpPr>
          <p:cNvPr id="5" name="Group 4">
            <a:extLst>
              <a:ext uri="{FF2B5EF4-FFF2-40B4-BE49-F238E27FC236}">
                <a16:creationId xmlns:a16="http://schemas.microsoft.com/office/drawing/2014/main" id="{73F90D89-8440-1431-AC27-9F5B146FABF9}"/>
              </a:ext>
            </a:extLst>
          </p:cNvPr>
          <p:cNvGrpSpPr/>
          <p:nvPr/>
        </p:nvGrpSpPr>
        <p:grpSpPr>
          <a:xfrm>
            <a:off x="9842140" y="372216"/>
            <a:ext cx="1667215" cy="217488"/>
            <a:chOff x="9842140" y="372216"/>
            <a:chExt cx="1667215" cy="217488"/>
          </a:xfrm>
        </p:grpSpPr>
        <p:sp>
          <p:nvSpPr>
            <p:cNvPr id="6" name="TextBox 5">
              <a:extLst>
                <a:ext uri="{FF2B5EF4-FFF2-40B4-BE49-F238E27FC236}">
                  <a16:creationId xmlns:a16="http://schemas.microsoft.com/office/drawing/2014/main" id="{9BC8FF52-DDEE-8B16-9044-3BA3DF596E96}"/>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a:lnSpc>
                  <a:spcPct val="100000"/>
                </a:lnSpc>
                <a:spcAft>
                  <a:spcPts val="600"/>
                </a:spcAft>
                <a:buSzPct val="100000"/>
              </a:pPr>
              <a:r>
                <a:rPr lang="lv-LV" sz="800">
                  <a:solidFill>
                    <a:schemeClr val="bg1"/>
                  </a:solidFill>
                </a:rPr>
                <a:t>Slimības</a:t>
              </a:r>
            </a:p>
          </p:txBody>
        </p:sp>
        <p:sp>
          <p:nvSpPr>
            <p:cNvPr id="7" name="Freeform 49">
              <a:extLst>
                <a:ext uri="{FF2B5EF4-FFF2-40B4-BE49-F238E27FC236}">
                  <a16:creationId xmlns:a16="http://schemas.microsoft.com/office/drawing/2014/main" id="{C96AAF72-B438-117B-01C7-91AC4C893B12}"/>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solidFill>
                  <a:schemeClr val="bg1"/>
                </a:solidFill>
              </a:rPr>
              <a:pPr/>
              <a:t>42</a:t>
            </a:fld>
            <a:endParaRPr lang="en-GB">
              <a:solidFill>
                <a:schemeClr val="bg1"/>
              </a:solidFill>
            </a:endParaRPr>
          </a:p>
        </p:txBody>
      </p:sp>
      <p:grpSp>
        <p:nvGrpSpPr>
          <p:cNvPr id="23" name="Group 22">
            <a:extLst>
              <a:ext uri="{FF2B5EF4-FFF2-40B4-BE49-F238E27FC236}">
                <a16:creationId xmlns:a16="http://schemas.microsoft.com/office/drawing/2014/main" id="{01D0352C-5EFF-8890-A8CD-7A69E06720E7}"/>
              </a:ext>
            </a:extLst>
          </p:cNvPr>
          <p:cNvGrpSpPr/>
          <p:nvPr/>
        </p:nvGrpSpPr>
        <p:grpSpPr>
          <a:xfrm>
            <a:off x="9122935" y="126781"/>
            <a:ext cx="2626153" cy="217488"/>
            <a:chOff x="9122935" y="126781"/>
            <a:chExt cx="2626153" cy="217488"/>
          </a:xfrm>
        </p:grpSpPr>
        <p:sp>
          <p:nvSpPr>
            <p:cNvPr id="25" name="Rectangle 24">
              <a:extLst>
                <a:ext uri="{FF2B5EF4-FFF2-40B4-BE49-F238E27FC236}">
                  <a16:creationId xmlns:a16="http://schemas.microsoft.com/office/drawing/2014/main" id="{8DFD0639-E0A6-1482-F96A-D84909B32286}"/>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27" name="Rectangle 26">
              <a:extLst>
                <a:ext uri="{FF2B5EF4-FFF2-40B4-BE49-F238E27FC236}">
                  <a16:creationId xmlns:a16="http://schemas.microsoft.com/office/drawing/2014/main" id="{33550B1D-0A47-232A-607D-ACE632E0B026}"/>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6AFEBD7E-52F7-7B47-F68A-184F4A9CCEFE}"/>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1F75C7C9-9620-7FD2-67BF-FAF7EFB18924}"/>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2" name="Rectangle 31">
              <a:extLst>
                <a:ext uri="{FF2B5EF4-FFF2-40B4-BE49-F238E27FC236}">
                  <a16:creationId xmlns:a16="http://schemas.microsoft.com/office/drawing/2014/main" id="{BE8CBFB7-FBA1-EFA4-D940-4F75E912D6C9}"/>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33" name="Rectangle 32">
              <a:extLst>
                <a:ext uri="{FF2B5EF4-FFF2-40B4-BE49-F238E27FC236}">
                  <a16:creationId xmlns:a16="http://schemas.microsoft.com/office/drawing/2014/main" id="{8226868D-98A4-29A2-4326-22B5E3B7DA75}"/>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4251282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man in red shirt driving car">
            <a:extLst>
              <a:ext uri="{FF2B5EF4-FFF2-40B4-BE49-F238E27FC236}">
                <a16:creationId xmlns:a16="http://schemas.microsoft.com/office/drawing/2014/main" id="{7EA85A7F-61BE-A112-2A26-6DD2522CD8D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7305" r="18229"/>
          <a:stretch/>
        </p:blipFill>
        <p:spPr bwMode="auto">
          <a:xfrm>
            <a:off x="7619999" y="0"/>
            <a:ext cx="4572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a:extLst>
              <a:ext uri="{FF2B5EF4-FFF2-40B4-BE49-F238E27FC236}">
                <a16:creationId xmlns:a16="http://schemas.microsoft.com/office/drawing/2014/main" id="{50830596-224D-A11D-D251-21B0CA3EB02E}"/>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aphicFrame>
        <p:nvGraphicFramePr>
          <p:cNvPr id="12" name="think-cell data - do not delete" hidden="1">
            <a:extLst>
              <a:ext uri="{FF2B5EF4-FFF2-40B4-BE49-F238E27FC236}">
                <a16:creationId xmlns:a16="http://schemas.microsoft.com/office/drawing/2014/main" id="{F6E6AF23-7B86-113A-F559-513B41FEC1FE}"/>
              </a:ext>
            </a:extLst>
          </p:cNvPr>
          <p:cNvGraphicFramePr>
            <a:graphicFrameLocks noChangeAspect="1"/>
          </p:cNvGraphicFramePr>
          <p:nvPr>
            <p:custDataLst>
              <p:tags r:id="rId1"/>
            </p:custDataLst>
            <p:extLst>
              <p:ext uri="{D42A27DB-BD31-4B8C-83A1-F6EECF244321}">
                <p14:modId xmlns:p14="http://schemas.microsoft.com/office/powerpoint/2010/main" val="955900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12" name="think-cell data - do not delete" hidden="1">
                        <a:extLst>
                          <a:ext uri="{FF2B5EF4-FFF2-40B4-BE49-F238E27FC236}">
                            <a16:creationId xmlns:a16="http://schemas.microsoft.com/office/drawing/2014/main" id="{F6E6AF23-7B86-113A-F559-513B41FEC1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a:lstStyle/>
          <a:p>
            <a:r>
              <a:rPr lang="lv-LV"/>
              <a:t>Kā rīkoties, ja cietušajam ir </a:t>
            </a:r>
            <a:br>
              <a:rPr lang="en-US"/>
            </a:br>
            <a:r>
              <a:rPr lang="lv-LV"/>
              <a:t>stipras</a:t>
            </a:r>
            <a:r>
              <a:rPr lang="en-US"/>
              <a:t> </a:t>
            </a:r>
            <a:r>
              <a:rPr lang="lv-LV"/>
              <a:t>sāpes vēderā?</a:t>
            </a:r>
            <a:endParaRPr lang="en-GB"/>
          </a:p>
        </p:txBody>
      </p:sp>
      <p:sp>
        <p:nvSpPr>
          <p:cNvPr id="26" name="Rectangle 25">
            <a:extLst>
              <a:ext uri="{FF2B5EF4-FFF2-40B4-BE49-F238E27FC236}">
                <a16:creationId xmlns:a16="http://schemas.microsoft.com/office/drawing/2014/main" id="{5EC1F9AE-82A4-85FE-592B-EF659F76F7EC}"/>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29" name="Content Placeholder 1">
            <a:extLst>
              <a:ext uri="{FF2B5EF4-FFF2-40B4-BE49-F238E27FC236}">
                <a16:creationId xmlns:a16="http://schemas.microsoft.com/office/drawing/2014/main" id="{3915AD89-6428-4A75-0915-328643F1703C}"/>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0" name="Content Placeholder 1">
            <a:extLst>
              <a:ext uri="{FF2B5EF4-FFF2-40B4-BE49-F238E27FC236}">
                <a16:creationId xmlns:a16="http://schemas.microsoft.com/office/drawing/2014/main" id="{373AB206-F1F0-CC72-8C15-85605D9AF2AC}"/>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6" name="Google Shape;760;p79">
            <a:extLst>
              <a:ext uri="{FF2B5EF4-FFF2-40B4-BE49-F238E27FC236}">
                <a16:creationId xmlns:a16="http://schemas.microsoft.com/office/drawing/2014/main" id="{09BF84D6-F468-7005-FAB5-AA0B6AE5CFB4}"/>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8" name="TextBox 7">
            <a:extLst>
              <a:ext uri="{FF2B5EF4-FFF2-40B4-BE49-F238E27FC236}">
                <a16:creationId xmlns:a16="http://schemas.microsoft.com/office/drawing/2014/main" id="{8F84A1C1-A3B2-78F7-2F05-EA937E442831}"/>
              </a:ext>
            </a:extLst>
          </p:cNvPr>
          <p:cNvSpPr txBox="1"/>
          <p:nvPr/>
        </p:nvSpPr>
        <p:spPr>
          <a:xfrm>
            <a:off x="442913" y="2398555"/>
            <a:ext cx="6734175" cy="1264126"/>
          </a:xfrm>
          <a:prstGeom prst="rect">
            <a:avLst/>
          </a:prstGeom>
          <a:solidFill>
            <a:schemeClr val="bg1">
              <a:lumMod val="95000"/>
            </a:schemeClr>
          </a:solidFill>
        </p:spPr>
        <p:txBody>
          <a:bodyPr wrap="square" lIns="72000" tIns="72000" rIns="72000" bIns="72000">
            <a:noAutofit/>
          </a:bodyPr>
          <a:lstStyle/>
          <a:p>
            <a:pPr marL="284400" lvl="0" indent="-284400">
              <a:spcAft>
                <a:spcPts val="600"/>
              </a:spcAft>
              <a:buBlip>
                <a:blip r:embed="rId7"/>
              </a:buBlip>
            </a:pPr>
            <a:r>
              <a:rPr lang="lv-LV" sz="1400"/>
              <a:t>Palīdziet/ļaujiet cietušajam ieņemt ērtāko ķermeņa pozu.</a:t>
            </a:r>
          </a:p>
          <a:p>
            <a:pPr marL="284400" lvl="0" indent="-284400">
              <a:spcAft>
                <a:spcPts val="600"/>
              </a:spcAft>
              <a:buBlip>
                <a:blip r:embed="rId7"/>
              </a:buBlip>
            </a:pPr>
            <a:r>
              <a:rPr lang="lv-LV" sz="1400"/>
              <a:t>Izsauciet Neatliekamo palīdzību.</a:t>
            </a:r>
          </a:p>
          <a:p>
            <a:pPr marL="284400" lvl="0" indent="-284400">
              <a:spcAft>
                <a:spcPts val="600"/>
              </a:spcAft>
              <a:buBlip>
                <a:blip r:embed="rId7"/>
              </a:buBlip>
            </a:pPr>
            <a:r>
              <a:rPr lang="lv-LV" sz="1400"/>
              <a:t>Aprūpējiet, nomieriniet cietušo.</a:t>
            </a:r>
          </a:p>
          <a:p>
            <a:pPr marL="284400" lvl="0" indent="-284400">
              <a:spcAft>
                <a:spcPts val="600"/>
              </a:spcAft>
              <a:buBlip>
                <a:blip r:embed="rId7"/>
              </a:buBlip>
            </a:pPr>
            <a:r>
              <a:rPr lang="lv-LV" sz="1400"/>
              <a:t>Veiciet atdzīvināšanas pasākumus, ja nepieciešams.</a:t>
            </a:r>
          </a:p>
        </p:txBody>
      </p:sp>
      <p:sp>
        <p:nvSpPr>
          <p:cNvPr id="6" name="Rectangle 5">
            <a:extLst>
              <a:ext uri="{FF2B5EF4-FFF2-40B4-BE49-F238E27FC236}">
                <a16:creationId xmlns:a16="http://schemas.microsoft.com/office/drawing/2014/main" id="{33073C2D-7A64-3891-000E-CBC2D879D3D6}"/>
              </a:ext>
            </a:extLst>
          </p:cNvPr>
          <p:cNvSpPr/>
          <p:nvPr/>
        </p:nvSpPr>
        <p:spPr>
          <a:xfrm>
            <a:off x="442913" y="4626637"/>
            <a:ext cx="6734175" cy="154556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4400" indent="-284400">
              <a:spcAft>
                <a:spcPts val="600"/>
              </a:spcAft>
              <a:buBlip>
                <a:blip r:embed="rId7"/>
              </a:buBlip>
            </a:pPr>
            <a:r>
              <a:rPr lang="lv-LV" sz="1400">
                <a:solidFill>
                  <a:schemeClr val="tx1"/>
                </a:solidFill>
              </a:rPr>
              <a:t>Cietušajam ērtākās pozas varētu būt guļus uz muguras ar valnīti zem ceļiem vai guļus uz sāniem ar saliektiem ceļiem.</a:t>
            </a:r>
          </a:p>
          <a:p>
            <a:pPr marL="284400" indent="-284400">
              <a:spcAft>
                <a:spcPts val="600"/>
              </a:spcAft>
              <a:buBlip>
                <a:blip r:embed="rId7"/>
              </a:buBlip>
            </a:pPr>
            <a:r>
              <a:rPr lang="lv-LV" sz="1400">
                <a:solidFill>
                  <a:schemeClr val="tx1"/>
                </a:solidFill>
              </a:rPr>
              <a:t>Nedodiet medikamentus, nesildiet vēderu, nedodiet ēst vai dzert.</a:t>
            </a:r>
          </a:p>
          <a:p>
            <a:pPr marL="284400" indent="-284400">
              <a:spcAft>
                <a:spcPts val="600"/>
              </a:spcAft>
              <a:buBlip>
                <a:blip r:embed="rId7"/>
              </a:buBlip>
            </a:pPr>
            <a:r>
              <a:rPr lang="lv-LV" sz="1400">
                <a:solidFill>
                  <a:schemeClr val="tx1"/>
                </a:solidFill>
              </a:rPr>
              <a:t>Neatkarīgi no sāpju esamības - vemšana ar melnu vai asiņainu saturu, vai vēdera izeja melnā krāsā var būt vēdera orgānu asiņošanas pazīme, kas apdraud cietušā dzīvību.</a:t>
            </a:r>
          </a:p>
        </p:txBody>
      </p:sp>
      <p:sp>
        <p:nvSpPr>
          <p:cNvPr id="7" name="Rectangle 6">
            <a:extLst>
              <a:ext uri="{FF2B5EF4-FFF2-40B4-BE49-F238E27FC236}">
                <a16:creationId xmlns:a16="http://schemas.microsoft.com/office/drawing/2014/main" id="{476838B8-1342-3A4D-BDA8-A2B47757767A}"/>
              </a:ext>
            </a:extLst>
          </p:cNvPr>
          <p:cNvSpPr/>
          <p:nvPr/>
        </p:nvSpPr>
        <p:spPr>
          <a:xfrm>
            <a:off x="442913" y="4050637"/>
            <a:ext cx="673417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grpSp>
        <p:nvGrpSpPr>
          <p:cNvPr id="9" name="Group 8">
            <a:extLst>
              <a:ext uri="{FF2B5EF4-FFF2-40B4-BE49-F238E27FC236}">
                <a16:creationId xmlns:a16="http://schemas.microsoft.com/office/drawing/2014/main" id="{05942C02-ABC3-6D55-D5DF-35A9DC4B4128}"/>
              </a:ext>
            </a:extLst>
          </p:cNvPr>
          <p:cNvGrpSpPr/>
          <p:nvPr/>
        </p:nvGrpSpPr>
        <p:grpSpPr>
          <a:xfrm>
            <a:off x="6529696" y="4050637"/>
            <a:ext cx="647388" cy="576000"/>
            <a:chOff x="3924613" y="3998595"/>
            <a:chExt cx="647388" cy="576000"/>
          </a:xfrm>
        </p:grpSpPr>
        <p:sp>
          <p:nvSpPr>
            <p:cNvPr id="11" name="Content Placeholder 1">
              <a:extLst>
                <a:ext uri="{FF2B5EF4-FFF2-40B4-BE49-F238E27FC236}">
                  <a16:creationId xmlns:a16="http://schemas.microsoft.com/office/drawing/2014/main" id="{B97EA9FE-6F32-F712-7E51-B2E8E01944AA}"/>
                </a:ext>
              </a:extLst>
            </p:cNvPr>
            <p:cNvSpPr txBox="1">
              <a:spLocks/>
            </p:cNvSpPr>
            <p:nvPr/>
          </p:nvSpPr>
          <p:spPr>
            <a:xfrm>
              <a:off x="3996001" y="39985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3" name="Content Placeholder 1">
              <a:extLst>
                <a:ext uri="{FF2B5EF4-FFF2-40B4-BE49-F238E27FC236}">
                  <a16:creationId xmlns:a16="http://schemas.microsoft.com/office/drawing/2014/main" id="{CA412EFC-5F90-18DC-6BD2-BA6ECB68F4B4}"/>
                </a:ext>
              </a:extLst>
            </p:cNvPr>
            <p:cNvSpPr txBox="1">
              <a:spLocks/>
            </p:cNvSpPr>
            <p:nvPr/>
          </p:nvSpPr>
          <p:spPr>
            <a:xfrm>
              <a:off x="3924613" y="39985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4" name="Google Shape;794;p79">
              <a:extLst>
                <a:ext uri="{FF2B5EF4-FFF2-40B4-BE49-F238E27FC236}">
                  <a16:creationId xmlns:a16="http://schemas.microsoft.com/office/drawing/2014/main" id="{52E26734-CD51-88AC-27C1-16D226149857}"/>
                </a:ext>
              </a:extLst>
            </p:cNvPr>
            <p:cNvSpPr/>
            <p:nvPr/>
          </p:nvSpPr>
          <p:spPr>
            <a:xfrm>
              <a:off x="4104001" y="41065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solidFill>
                  <a:schemeClr val="bg1"/>
                </a:solidFill>
              </a:rPr>
              <a:pPr/>
              <a:t>43</a:t>
            </a:fld>
            <a:endParaRPr lang="en-GB">
              <a:solidFill>
                <a:schemeClr val="bg1"/>
              </a:solidFill>
            </a:endParaRPr>
          </a:p>
        </p:txBody>
      </p:sp>
      <p:sp>
        <p:nvSpPr>
          <p:cNvPr id="2" name="Rectangle 1">
            <a:extLst>
              <a:ext uri="{FF2B5EF4-FFF2-40B4-BE49-F238E27FC236}">
                <a16:creationId xmlns:a16="http://schemas.microsoft.com/office/drawing/2014/main" id="{4C2946A7-6CE6-A78A-F248-0C0A646E970B}"/>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5" name="Group 4">
            <a:extLst>
              <a:ext uri="{FF2B5EF4-FFF2-40B4-BE49-F238E27FC236}">
                <a16:creationId xmlns:a16="http://schemas.microsoft.com/office/drawing/2014/main" id="{B51EE77F-1A13-13EC-99B5-675A5A78C732}"/>
              </a:ext>
            </a:extLst>
          </p:cNvPr>
          <p:cNvGrpSpPr/>
          <p:nvPr/>
        </p:nvGrpSpPr>
        <p:grpSpPr>
          <a:xfrm>
            <a:off x="9842140" y="372216"/>
            <a:ext cx="1667215" cy="217488"/>
            <a:chOff x="9842140" y="372216"/>
            <a:chExt cx="1667215" cy="217488"/>
          </a:xfrm>
        </p:grpSpPr>
        <p:sp>
          <p:nvSpPr>
            <p:cNvPr id="17" name="TextBox 16">
              <a:extLst>
                <a:ext uri="{FF2B5EF4-FFF2-40B4-BE49-F238E27FC236}">
                  <a16:creationId xmlns:a16="http://schemas.microsoft.com/office/drawing/2014/main" id="{D71C372B-9CBA-6149-8C68-05B504C8427B}"/>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a:lnSpc>
                  <a:spcPct val="100000"/>
                </a:lnSpc>
                <a:spcAft>
                  <a:spcPts val="600"/>
                </a:spcAft>
                <a:buSzPct val="100000"/>
              </a:pPr>
              <a:r>
                <a:rPr lang="lv-LV" sz="800">
                  <a:solidFill>
                    <a:schemeClr val="bg1"/>
                  </a:solidFill>
                </a:rPr>
                <a:t>Slimības</a:t>
              </a:r>
            </a:p>
          </p:txBody>
        </p:sp>
        <p:sp>
          <p:nvSpPr>
            <p:cNvPr id="23" name="Freeform 49">
              <a:extLst>
                <a:ext uri="{FF2B5EF4-FFF2-40B4-BE49-F238E27FC236}">
                  <a16:creationId xmlns:a16="http://schemas.microsoft.com/office/drawing/2014/main" id="{D599EDDA-17A7-7C56-D6A0-942E29CED5AE}"/>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22" name="Group 21">
            <a:extLst>
              <a:ext uri="{FF2B5EF4-FFF2-40B4-BE49-F238E27FC236}">
                <a16:creationId xmlns:a16="http://schemas.microsoft.com/office/drawing/2014/main" id="{B554D50F-33AA-D6DA-25FA-3A9EEB9D3339}"/>
              </a:ext>
            </a:extLst>
          </p:cNvPr>
          <p:cNvGrpSpPr/>
          <p:nvPr/>
        </p:nvGrpSpPr>
        <p:grpSpPr>
          <a:xfrm>
            <a:off x="9122935" y="126781"/>
            <a:ext cx="2626153" cy="217488"/>
            <a:chOff x="9122935" y="126781"/>
            <a:chExt cx="2626153" cy="217488"/>
          </a:xfrm>
        </p:grpSpPr>
        <p:sp>
          <p:nvSpPr>
            <p:cNvPr id="24" name="Rectangle 23">
              <a:extLst>
                <a:ext uri="{FF2B5EF4-FFF2-40B4-BE49-F238E27FC236}">
                  <a16:creationId xmlns:a16="http://schemas.microsoft.com/office/drawing/2014/main" id="{8B0BAACD-49F1-F651-28CE-02B57C5A6436}"/>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25" name="Rectangle 24">
              <a:extLst>
                <a:ext uri="{FF2B5EF4-FFF2-40B4-BE49-F238E27FC236}">
                  <a16:creationId xmlns:a16="http://schemas.microsoft.com/office/drawing/2014/main" id="{8CD5F17D-766C-D19E-7B8C-3DAADB7DDC36}"/>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DCB5CD63-0850-83F0-DA11-942078B43FA9}"/>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E30B6976-7B3D-9E48-2A5A-614ED746F191}"/>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B514DBC8-2F9E-7BF7-384B-C32C27F9378C}"/>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32" name="Rectangle 31">
              <a:extLst>
                <a:ext uri="{FF2B5EF4-FFF2-40B4-BE49-F238E27FC236}">
                  <a16:creationId xmlns:a16="http://schemas.microsoft.com/office/drawing/2014/main" id="{1EDDF72C-3014-9776-9828-BC94198CCA8F}"/>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26035953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6E6AF23-7B86-113A-F559-513B41FEC1FE}"/>
              </a:ext>
            </a:extLst>
          </p:cNvPr>
          <p:cNvGraphicFramePr>
            <a:graphicFrameLocks noChangeAspect="1"/>
          </p:cNvGraphicFramePr>
          <p:nvPr>
            <p:custDataLst>
              <p:tags r:id="rId1"/>
            </p:custDataLst>
            <p:extLst>
              <p:ext uri="{D42A27DB-BD31-4B8C-83A1-F6EECF244321}">
                <p14:modId xmlns:p14="http://schemas.microsoft.com/office/powerpoint/2010/main" val="2319015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F6E6AF23-7B86-113A-F559-513B41FEC1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6C899CEF-87FE-63E9-4F7C-FA60BC973504}"/>
              </a:ext>
            </a:extLst>
          </p:cNvPr>
          <p:cNvPicPr>
            <a:picLocks noChangeAspect="1"/>
          </p:cNvPicPr>
          <p:nvPr/>
        </p:nvPicPr>
        <p:blipFill rotWithShape="1">
          <a:blip r:embed="rId6"/>
          <a:srcRect l="11937" r="43669"/>
          <a:stretch/>
        </p:blipFill>
        <p:spPr>
          <a:xfrm flipH="1">
            <a:off x="7629217" y="0"/>
            <a:ext cx="4562782" cy="6858000"/>
          </a:xfrm>
          <a:prstGeom prst="rect">
            <a:avLst/>
          </a:prstGeom>
        </p:spPr>
      </p:pic>
      <p:sp>
        <p:nvSpPr>
          <p:cNvPr id="42" name="Rectangle 41">
            <a:extLst>
              <a:ext uri="{FF2B5EF4-FFF2-40B4-BE49-F238E27FC236}">
                <a16:creationId xmlns:a16="http://schemas.microsoft.com/office/drawing/2014/main" id="{50830596-224D-A11D-D251-21B0CA3EB02E}"/>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2B261BF4-92C6-462D-AA95-793AE54DD688}"/>
              </a:ext>
            </a:extLst>
          </p:cNvPr>
          <p:cNvSpPr/>
          <p:nvPr/>
        </p:nvSpPr>
        <p:spPr>
          <a:xfrm>
            <a:off x="7619998" y="2398554"/>
            <a:ext cx="4129089"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4400" indent="-284400">
              <a:spcAft>
                <a:spcPts val="600"/>
              </a:spcAft>
              <a:buBlip>
                <a:blip r:embed="rId7"/>
              </a:buBlip>
            </a:pPr>
            <a:r>
              <a:rPr lang="lv-LV" sz="1400">
                <a:solidFill>
                  <a:schemeClr val="tx1"/>
                </a:solidFill>
              </a:rPr>
              <a:t>Apziniet cukura diabēta slimniekus savu paziņu vidū.</a:t>
            </a:r>
          </a:p>
          <a:p>
            <a:pPr marL="284400" indent="-284400">
              <a:spcAft>
                <a:spcPts val="600"/>
              </a:spcAft>
              <a:buBlip>
                <a:blip r:embed="rId7"/>
              </a:buBlip>
            </a:pPr>
            <a:r>
              <a:rPr lang="lv-LV" sz="1400">
                <a:solidFill>
                  <a:schemeClr val="tx1"/>
                </a:solidFill>
              </a:rPr>
              <a:t>Vienā reizē dodiet 3-4 tējkarotes cukura ar ūdeni vai glāzi saldināta dzēriena (augļu sula, limonāde). Neizmantojiet cukura aizvietotājus, tie nepalīdzēs.</a:t>
            </a: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a:lstStyle/>
          <a:p>
            <a:r>
              <a:rPr lang="lv-LV"/>
              <a:t>Kā palīdzēt diabēta slimniekam?</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44</a:t>
            </a:fld>
            <a:endParaRPr lang="en-GB"/>
          </a:p>
        </p:txBody>
      </p:sp>
      <p:sp>
        <p:nvSpPr>
          <p:cNvPr id="26" name="Rectangle 25">
            <a:extLst>
              <a:ext uri="{FF2B5EF4-FFF2-40B4-BE49-F238E27FC236}">
                <a16:creationId xmlns:a16="http://schemas.microsoft.com/office/drawing/2014/main" id="{5EC1F9AE-82A4-85FE-592B-EF659F76F7EC}"/>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27" name="Rectangle 26">
            <a:extLst>
              <a:ext uri="{FF2B5EF4-FFF2-40B4-BE49-F238E27FC236}">
                <a16:creationId xmlns:a16="http://schemas.microsoft.com/office/drawing/2014/main" id="{72D802D4-B169-1594-D931-40179675E33A}"/>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29" name="Content Placeholder 1">
            <a:extLst>
              <a:ext uri="{FF2B5EF4-FFF2-40B4-BE49-F238E27FC236}">
                <a16:creationId xmlns:a16="http://schemas.microsoft.com/office/drawing/2014/main" id="{3915AD89-6428-4A75-0915-328643F1703C}"/>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0" name="Content Placeholder 1">
            <a:extLst>
              <a:ext uri="{FF2B5EF4-FFF2-40B4-BE49-F238E27FC236}">
                <a16:creationId xmlns:a16="http://schemas.microsoft.com/office/drawing/2014/main" id="{373AB206-F1F0-CC72-8C15-85605D9AF2AC}"/>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4" name="Content Placeholder 1">
            <a:extLst>
              <a:ext uri="{FF2B5EF4-FFF2-40B4-BE49-F238E27FC236}">
                <a16:creationId xmlns:a16="http://schemas.microsoft.com/office/drawing/2014/main" id="{37325A5C-F07F-2313-782A-18E3E98D15F0}"/>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5" name="Content Placeholder 1">
            <a:extLst>
              <a:ext uri="{FF2B5EF4-FFF2-40B4-BE49-F238E27FC236}">
                <a16:creationId xmlns:a16="http://schemas.microsoft.com/office/drawing/2014/main" id="{5A4A472A-422C-56F4-A0F5-AE422E82D144}"/>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6" name="Google Shape;760;p79">
            <a:extLst>
              <a:ext uri="{FF2B5EF4-FFF2-40B4-BE49-F238E27FC236}">
                <a16:creationId xmlns:a16="http://schemas.microsoft.com/office/drawing/2014/main" id="{09BF84D6-F468-7005-FAB5-AA0B6AE5CFB4}"/>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9" name="Google Shape;794;p79">
            <a:extLst>
              <a:ext uri="{FF2B5EF4-FFF2-40B4-BE49-F238E27FC236}">
                <a16:creationId xmlns:a16="http://schemas.microsoft.com/office/drawing/2014/main" id="{DED3BED4-139F-CB4F-0A7B-7B90211550F4}"/>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0" name="Rectangle 49">
            <a:extLst>
              <a:ext uri="{FF2B5EF4-FFF2-40B4-BE49-F238E27FC236}">
                <a16:creationId xmlns:a16="http://schemas.microsoft.com/office/drawing/2014/main" id="{0130363F-7CE7-F3D0-4AB5-F295FAC2DCBC}"/>
              </a:ext>
            </a:extLst>
          </p:cNvPr>
          <p:cNvSpPr/>
          <p:nvPr/>
        </p:nvSpPr>
        <p:spPr>
          <a:xfrm>
            <a:off x="442913" y="963958"/>
            <a:ext cx="6724951" cy="628650"/>
          </a:xfrm>
          <a:prstGeom prst="rect">
            <a:avLst/>
          </a:prstGeom>
          <a:solidFill>
            <a:schemeClr val="bg1"/>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1" name="Rectangle 50">
            <a:extLst>
              <a:ext uri="{FF2B5EF4-FFF2-40B4-BE49-F238E27FC236}">
                <a16:creationId xmlns:a16="http://schemas.microsoft.com/office/drawing/2014/main" id="{AFEB1935-0849-FFDB-14A2-768E555E2F79}"/>
              </a:ext>
            </a:extLst>
          </p:cNvPr>
          <p:cNvSpPr/>
          <p:nvPr/>
        </p:nvSpPr>
        <p:spPr>
          <a:xfrm>
            <a:off x="1454989" y="1062283"/>
            <a:ext cx="3405187"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r>
              <a:rPr lang="lv-LV" sz="1600" b="1">
                <a:solidFill>
                  <a:schemeClr val="tx1"/>
                </a:solidFill>
              </a:rPr>
              <a:t>Kā tas var izskatīties?</a:t>
            </a:r>
            <a:endParaRPr lang="en-GB" sz="1600" b="1">
              <a:solidFill>
                <a:schemeClr val="tx1"/>
              </a:solidFill>
            </a:endParaRPr>
          </a:p>
        </p:txBody>
      </p:sp>
      <p:cxnSp>
        <p:nvCxnSpPr>
          <p:cNvPr id="53" name="Straight Connector 52">
            <a:extLst>
              <a:ext uri="{FF2B5EF4-FFF2-40B4-BE49-F238E27FC236}">
                <a16:creationId xmlns:a16="http://schemas.microsoft.com/office/drawing/2014/main" id="{F358E754-064A-5B8C-B2FC-4E612BA07893}"/>
              </a:ext>
            </a:extLst>
          </p:cNvPr>
          <p:cNvCxnSpPr>
            <a:cxnSpLocks/>
          </p:cNvCxnSpPr>
          <p:nvPr/>
        </p:nvCxnSpPr>
        <p:spPr>
          <a:xfrm>
            <a:off x="1233531" y="1053947"/>
            <a:ext cx="0" cy="448673"/>
          </a:xfrm>
          <a:prstGeom prst="line">
            <a:avLst/>
          </a:prstGeom>
          <a:ln w="12700" cap="sq"/>
        </p:spPr>
        <p:style>
          <a:lnRef idx="1">
            <a:schemeClr val="accent1"/>
          </a:lnRef>
          <a:fillRef idx="0">
            <a:schemeClr val="accent1"/>
          </a:fillRef>
          <a:effectRef idx="0">
            <a:schemeClr val="dk1"/>
          </a:effectRef>
          <a:fontRef idx="minor">
            <a:schemeClr val="lt1"/>
          </a:fontRef>
        </p:style>
      </p:cxnSp>
      <p:grpSp>
        <p:nvGrpSpPr>
          <p:cNvPr id="7" name="Group 6">
            <a:extLst>
              <a:ext uri="{FF2B5EF4-FFF2-40B4-BE49-F238E27FC236}">
                <a16:creationId xmlns:a16="http://schemas.microsoft.com/office/drawing/2014/main" id="{0C7C54A4-AC5D-5A5E-2CED-7EC3CEA9DE86}"/>
              </a:ext>
            </a:extLst>
          </p:cNvPr>
          <p:cNvGrpSpPr/>
          <p:nvPr/>
        </p:nvGrpSpPr>
        <p:grpSpPr>
          <a:xfrm>
            <a:off x="442915" y="2649101"/>
            <a:ext cx="6734169" cy="1095822"/>
            <a:chOff x="442915" y="2536378"/>
            <a:chExt cx="6734169" cy="1095822"/>
          </a:xfrm>
        </p:grpSpPr>
        <p:sp>
          <p:nvSpPr>
            <p:cNvPr id="93" name="Rectangle 92">
              <a:extLst>
                <a:ext uri="{FF2B5EF4-FFF2-40B4-BE49-F238E27FC236}">
                  <a16:creationId xmlns:a16="http://schemas.microsoft.com/office/drawing/2014/main" id="{5A55EC81-0AD5-CE05-4AAF-6599399D9BD3}"/>
                </a:ext>
              </a:extLst>
            </p:cNvPr>
            <p:cNvSpPr/>
            <p:nvPr/>
          </p:nvSpPr>
          <p:spPr>
            <a:xfrm>
              <a:off x="442915" y="2536378"/>
              <a:ext cx="6734169" cy="1095822"/>
            </a:xfrm>
            <a:prstGeom prst="rect">
              <a:avLst/>
            </a:prstGeom>
            <a:solidFill>
              <a:schemeClr val="bg1"/>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94" name="Rectangle 93">
              <a:extLst>
                <a:ext uri="{FF2B5EF4-FFF2-40B4-BE49-F238E27FC236}">
                  <a16:creationId xmlns:a16="http://schemas.microsoft.com/office/drawing/2014/main" id="{2945AFC3-C832-6045-1DDE-A189FFBEDD95}"/>
                </a:ext>
              </a:extLst>
            </p:cNvPr>
            <p:cNvSpPr/>
            <p:nvPr/>
          </p:nvSpPr>
          <p:spPr>
            <a:xfrm>
              <a:off x="1454989" y="2536378"/>
              <a:ext cx="5712876" cy="109582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r>
                <a:rPr lang="lv-LV" sz="1600" b="1">
                  <a:solidFill>
                    <a:schemeClr val="tx1"/>
                  </a:solidFill>
                </a:rPr>
                <a:t>Cukura diabēta slimniekiem cukura līmenis var būt paaugstināts vai dažreiz strauji pazemināties.</a:t>
              </a:r>
            </a:p>
            <a:p>
              <a:r>
                <a:rPr lang="lv-LV" sz="1600" b="1">
                  <a:solidFill>
                    <a:schemeClr val="tx1"/>
                  </a:solidFill>
                </a:rPr>
                <a:t>Cukura līmeņa pazemināšanās asinīs var izraisīt dzīvībai bīstamu stāvokli.</a:t>
              </a:r>
            </a:p>
          </p:txBody>
        </p:sp>
        <p:cxnSp>
          <p:nvCxnSpPr>
            <p:cNvPr id="95" name="Straight Connector 94">
              <a:extLst>
                <a:ext uri="{FF2B5EF4-FFF2-40B4-BE49-F238E27FC236}">
                  <a16:creationId xmlns:a16="http://schemas.microsoft.com/office/drawing/2014/main" id="{D4EEEA95-3B5D-59D7-CC7D-E49C940EDFA8}"/>
                </a:ext>
              </a:extLst>
            </p:cNvPr>
            <p:cNvCxnSpPr>
              <a:cxnSpLocks/>
            </p:cNvCxnSpPr>
            <p:nvPr/>
          </p:nvCxnSpPr>
          <p:spPr>
            <a:xfrm>
              <a:off x="1233533" y="2669496"/>
              <a:ext cx="0" cy="829586"/>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96" name="Google Shape;778;p79">
              <a:extLst>
                <a:ext uri="{FF2B5EF4-FFF2-40B4-BE49-F238E27FC236}">
                  <a16:creationId xmlns:a16="http://schemas.microsoft.com/office/drawing/2014/main" id="{2A913932-8BE1-F1EB-2C97-BB1A5EF0C629}"/>
                </a:ext>
              </a:extLst>
            </p:cNvPr>
            <p:cNvSpPr/>
            <p:nvPr/>
          </p:nvSpPr>
          <p:spPr>
            <a:xfrm>
              <a:off x="598373" y="2868289"/>
              <a:ext cx="468000" cy="432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sp>
        <p:nvSpPr>
          <p:cNvPr id="105" name="TextBox 104">
            <a:extLst>
              <a:ext uri="{FF2B5EF4-FFF2-40B4-BE49-F238E27FC236}">
                <a16:creationId xmlns:a16="http://schemas.microsoft.com/office/drawing/2014/main" id="{C73B42A3-EA68-B90F-A6C9-5F7FF93DD187}"/>
              </a:ext>
            </a:extLst>
          </p:cNvPr>
          <p:cNvSpPr txBox="1"/>
          <p:nvPr/>
        </p:nvSpPr>
        <p:spPr>
          <a:xfrm>
            <a:off x="442913" y="3995469"/>
            <a:ext cx="6724951" cy="2176732"/>
          </a:xfrm>
          <a:prstGeom prst="rect">
            <a:avLst/>
          </a:prstGeom>
          <a:solidFill>
            <a:schemeClr val="bg1">
              <a:lumMod val="95000"/>
            </a:schemeClr>
          </a:solidFill>
        </p:spPr>
        <p:txBody>
          <a:bodyPr wrap="square" lIns="72000" tIns="72000" rIns="72000" bIns="72000">
            <a:spAutoFit/>
          </a:bodyPr>
          <a:lstStyle/>
          <a:p>
            <a:pPr marL="284400" lvl="0" indent="-284400">
              <a:spcAft>
                <a:spcPts val="600"/>
              </a:spcAft>
              <a:buBlip>
                <a:blip r:embed="rId7"/>
              </a:buBlip>
            </a:pPr>
            <a:r>
              <a:rPr lang="lv-LV" sz="1400"/>
              <a:t>Ja diabēta slimnieks sāk justies slikti, bet spēj klausīt komandām un norīt – dodiet cukuru vai cukuru saturošus dzērienus.</a:t>
            </a:r>
          </a:p>
          <a:p>
            <a:pPr marL="284400" lvl="0" indent="-284400">
              <a:spcAft>
                <a:spcPts val="600"/>
              </a:spcAft>
              <a:buBlip>
                <a:blip r:embed="rId7"/>
              </a:buBlip>
            </a:pPr>
            <a:r>
              <a:rPr lang="lv-LV" sz="1400"/>
              <a:t>Ja pēc 15 minūtēm situācija neuzlabojas, izsauciet Neatliekamo palīdzību un atkārtoti dodiet cukuru vai cukuru saturošus dzērienus.</a:t>
            </a:r>
          </a:p>
          <a:p>
            <a:pPr marL="284400" lvl="0" indent="-284400">
              <a:spcAft>
                <a:spcPts val="600"/>
              </a:spcAft>
              <a:buBlip>
                <a:blip r:embed="rId7"/>
              </a:buBlip>
            </a:pPr>
            <a:r>
              <a:rPr lang="lv-LV" sz="1400"/>
              <a:t>Ja 15 minūšu laikā slimnieka stāvoklis uzlabojas, dodiet vieglu uzkodu (piemēram maizes šķēli, cepumus).</a:t>
            </a:r>
          </a:p>
          <a:p>
            <a:pPr marL="284400" lvl="0" indent="-284400">
              <a:spcAft>
                <a:spcPts val="600"/>
              </a:spcAft>
              <a:buBlip>
                <a:blip r:embed="rId7"/>
              </a:buBlip>
            </a:pPr>
            <a:r>
              <a:rPr lang="lv-LV" sz="1400"/>
              <a:t>Aprūpējiet, nomieriniet saslimušo.</a:t>
            </a:r>
          </a:p>
          <a:p>
            <a:pPr marL="284400" lvl="0" indent="-284400">
              <a:spcAft>
                <a:spcPts val="600"/>
              </a:spcAft>
              <a:buBlip>
                <a:blip r:embed="rId7"/>
              </a:buBlip>
            </a:pPr>
            <a:r>
              <a:rPr lang="lv-LV" sz="1400"/>
              <a:t>Veiciet atdzīvināšanas pasākumus, ja nepieciešams.</a:t>
            </a:r>
          </a:p>
        </p:txBody>
      </p:sp>
      <p:sp>
        <p:nvSpPr>
          <p:cNvPr id="8" name="Google Shape;764;p79">
            <a:extLst>
              <a:ext uri="{FF2B5EF4-FFF2-40B4-BE49-F238E27FC236}">
                <a16:creationId xmlns:a16="http://schemas.microsoft.com/office/drawing/2014/main" id="{6FBF7AD7-A09B-9F41-3430-A5D30668AE55}"/>
              </a:ext>
            </a:extLst>
          </p:cNvPr>
          <p:cNvSpPr/>
          <p:nvPr/>
        </p:nvSpPr>
        <p:spPr>
          <a:xfrm>
            <a:off x="578685" y="1062283"/>
            <a:ext cx="433388" cy="4318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78" y="228"/>
                </a:moveTo>
                <a:cubicBezTo>
                  <a:pt x="178" y="210"/>
                  <a:pt x="180" y="194"/>
                  <a:pt x="186" y="180"/>
                </a:cubicBezTo>
                <a:cubicBezTo>
                  <a:pt x="191" y="165"/>
                  <a:pt x="199" y="153"/>
                  <a:pt x="209" y="143"/>
                </a:cubicBezTo>
                <a:cubicBezTo>
                  <a:pt x="219" y="132"/>
                  <a:pt x="231" y="124"/>
                  <a:pt x="246" y="119"/>
                </a:cubicBezTo>
                <a:cubicBezTo>
                  <a:pt x="260" y="113"/>
                  <a:pt x="276" y="110"/>
                  <a:pt x="294" y="110"/>
                </a:cubicBezTo>
                <a:cubicBezTo>
                  <a:pt x="309" y="110"/>
                  <a:pt x="322" y="112"/>
                  <a:pt x="335" y="117"/>
                </a:cubicBezTo>
                <a:cubicBezTo>
                  <a:pt x="348" y="121"/>
                  <a:pt x="359" y="127"/>
                  <a:pt x="369" y="136"/>
                </a:cubicBezTo>
                <a:cubicBezTo>
                  <a:pt x="378" y="144"/>
                  <a:pt x="386" y="154"/>
                  <a:pt x="391" y="166"/>
                </a:cubicBezTo>
                <a:cubicBezTo>
                  <a:pt x="397" y="179"/>
                  <a:pt x="399" y="192"/>
                  <a:pt x="399" y="208"/>
                </a:cubicBezTo>
                <a:cubicBezTo>
                  <a:pt x="399" y="219"/>
                  <a:pt x="398" y="229"/>
                  <a:pt x="396" y="237"/>
                </a:cubicBezTo>
                <a:cubicBezTo>
                  <a:pt x="393" y="245"/>
                  <a:pt x="390" y="253"/>
                  <a:pt x="386" y="258"/>
                </a:cubicBezTo>
                <a:cubicBezTo>
                  <a:pt x="382" y="264"/>
                  <a:pt x="377" y="270"/>
                  <a:pt x="372" y="274"/>
                </a:cubicBezTo>
                <a:cubicBezTo>
                  <a:pt x="367" y="279"/>
                  <a:pt x="362" y="284"/>
                  <a:pt x="357" y="288"/>
                </a:cubicBezTo>
                <a:cubicBezTo>
                  <a:pt x="351" y="293"/>
                  <a:pt x="345" y="298"/>
                  <a:pt x="340" y="303"/>
                </a:cubicBezTo>
                <a:cubicBezTo>
                  <a:pt x="335" y="308"/>
                  <a:pt x="330" y="313"/>
                  <a:pt x="326" y="319"/>
                </a:cubicBezTo>
                <a:cubicBezTo>
                  <a:pt x="322" y="325"/>
                  <a:pt x="319" y="332"/>
                  <a:pt x="317" y="341"/>
                </a:cubicBezTo>
                <a:cubicBezTo>
                  <a:pt x="315" y="349"/>
                  <a:pt x="314" y="358"/>
                  <a:pt x="314" y="370"/>
                </a:cubicBezTo>
                <a:cubicBezTo>
                  <a:pt x="262" y="370"/>
                  <a:pt x="262" y="370"/>
                  <a:pt x="262" y="370"/>
                </a:cubicBezTo>
                <a:cubicBezTo>
                  <a:pt x="262" y="356"/>
                  <a:pt x="263" y="344"/>
                  <a:pt x="264" y="334"/>
                </a:cubicBezTo>
                <a:cubicBezTo>
                  <a:pt x="266" y="324"/>
                  <a:pt x="268" y="316"/>
                  <a:pt x="271" y="308"/>
                </a:cubicBezTo>
                <a:cubicBezTo>
                  <a:pt x="274" y="301"/>
                  <a:pt x="278" y="294"/>
                  <a:pt x="283" y="288"/>
                </a:cubicBezTo>
                <a:cubicBezTo>
                  <a:pt x="288" y="283"/>
                  <a:pt x="293" y="277"/>
                  <a:pt x="300" y="272"/>
                </a:cubicBezTo>
                <a:cubicBezTo>
                  <a:pt x="305" y="267"/>
                  <a:pt x="310" y="263"/>
                  <a:pt x="314" y="259"/>
                </a:cubicBezTo>
                <a:cubicBezTo>
                  <a:pt x="319" y="255"/>
                  <a:pt x="323" y="251"/>
                  <a:pt x="327" y="246"/>
                </a:cubicBezTo>
                <a:cubicBezTo>
                  <a:pt x="331" y="242"/>
                  <a:pt x="334" y="236"/>
                  <a:pt x="336" y="231"/>
                </a:cubicBezTo>
                <a:cubicBezTo>
                  <a:pt x="338" y="225"/>
                  <a:pt x="339" y="218"/>
                  <a:pt x="339" y="210"/>
                </a:cubicBezTo>
                <a:cubicBezTo>
                  <a:pt x="339" y="200"/>
                  <a:pt x="337" y="192"/>
                  <a:pt x="334" y="185"/>
                </a:cubicBezTo>
                <a:cubicBezTo>
                  <a:pt x="330" y="178"/>
                  <a:pt x="326" y="172"/>
                  <a:pt x="321" y="168"/>
                </a:cubicBezTo>
                <a:cubicBezTo>
                  <a:pt x="317" y="164"/>
                  <a:pt x="311" y="161"/>
                  <a:pt x="306" y="159"/>
                </a:cubicBezTo>
                <a:cubicBezTo>
                  <a:pt x="300" y="157"/>
                  <a:pt x="296" y="156"/>
                  <a:pt x="291" y="156"/>
                </a:cubicBezTo>
                <a:cubicBezTo>
                  <a:pt x="271" y="156"/>
                  <a:pt x="257" y="163"/>
                  <a:pt x="247" y="176"/>
                </a:cubicBezTo>
                <a:cubicBezTo>
                  <a:pt x="238" y="189"/>
                  <a:pt x="233" y="206"/>
                  <a:pt x="233" y="228"/>
                </a:cubicBezTo>
                <a:lnTo>
                  <a:pt x="178" y="228"/>
                </a:lnTo>
                <a:close/>
                <a:moveTo>
                  <a:pt x="255" y="403"/>
                </a:moveTo>
                <a:cubicBezTo>
                  <a:pt x="319" y="403"/>
                  <a:pt x="319" y="403"/>
                  <a:pt x="319" y="403"/>
                </a:cubicBezTo>
                <a:cubicBezTo>
                  <a:pt x="319" y="464"/>
                  <a:pt x="319" y="464"/>
                  <a:pt x="319" y="464"/>
                </a:cubicBezTo>
                <a:cubicBezTo>
                  <a:pt x="255" y="464"/>
                  <a:pt x="255" y="464"/>
                  <a:pt x="255" y="464"/>
                </a:cubicBezTo>
                <a:lnTo>
                  <a:pt x="255" y="403"/>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 name="Rectangle 1">
            <a:extLst>
              <a:ext uri="{FF2B5EF4-FFF2-40B4-BE49-F238E27FC236}">
                <a16:creationId xmlns:a16="http://schemas.microsoft.com/office/drawing/2014/main" id="{8119AA81-D51B-6287-E979-F71003D27C65}"/>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21" name="Group 20">
            <a:extLst>
              <a:ext uri="{FF2B5EF4-FFF2-40B4-BE49-F238E27FC236}">
                <a16:creationId xmlns:a16="http://schemas.microsoft.com/office/drawing/2014/main" id="{377E7149-E9FB-3F6A-82D4-20995D3A1387}"/>
              </a:ext>
            </a:extLst>
          </p:cNvPr>
          <p:cNvGrpSpPr/>
          <p:nvPr/>
        </p:nvGrpSpPr>
        <p:grpSpPr>
          <a:xfrm>
            <a:off x="9842140" y="372216"/>
            <a:ext cx="1667215" cy="217488"/>
            <a:chOff x="9842140" y="372216"/>
            <a:chExt cx="1667215" cy="217488"/>
          </a:xfrm>
        </p:grpSpPr>
        <p:sp>
          <p:nvSpPr>
            <p:cNvPr id="22" name="TextBox 21">
              <a:extLst>
                <a:ext uri="{FF2B5EF4-FFF2-40B4-BE49-F238E27FC236}">
                  <a16:creationId xmlns:a16="http://schemas.microsoft.com/office/drawing/2014/main" id="{F7592D35-71D7-FC31-E5F5-A596135BB344}"/>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a:lnSpc>
                  <a:spcPct val="100000"/>
                </a:lnSpc>
                <a:spcAft>
                  <a:spcPts val="600"/>
                </a:spcAft>
                <a:buSzPct val="100000"/>
              </a:pPr>
              <a:r>
                <a:rPr lang="lv-LV" sz="800">
                  <a:solidFill>
                    <a:schemeClr val="bg1"/>
                  </a:solidFill>
                </a:rPr>
                <a:t>Slimības</a:t>
              </a:r>
            </a:p>
          </p:txBody>
        </p:sp>
        <p:sp>
          <p:nvSpPr>
            <p:cNvPr id="23" name="Freeform 49">
              <a:extLst>
                <a:ext uri="{FF2B5EF4-FFF2-40B4-BE49-F238E27FC236}">
                  <a16:creationId xmlns:a16="http://schemas.microsoft.com/office/drawing/2014/main" id="{C6FA446D-273B-A146-7DA0-AF820BAB40BF}"/>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16" name="Group 15">
            <a:extLst>
              <a:ext uri="{FF2B5EF4-FFF2-40B4-BE49-F238E27FC236}">
                <a16:creationId xmlns:a16="http://schemas.microsoft.com/office/drawing/2014/main" id="{4C84B26D-9DC5-7E20-FAE6-955793FCDBDE}"/>
              </a:ext>
            </a:extLst>
          </p:cNvPr>
          <p:cNvGrpSpPr/>
          <p:nvPr/>
        </p:nvGrpSpPr>
        <p:grpSpPr>
          <a:xfrm>
            <a:off x="9122935" y="126781"/>
            <a:ext cx="2626153" cy="217488"/>
            <a:chOff x="9122935" y="126781"/>
            <a:chExt cx="2626153" cy="217488"/>
          </a:xfrm>
        </p:grpSpPr>
        <p:sp>
          <p:nvSpPr>
            <p:cNvPr id="17" name="Rectangle 16">
              <a:extLst>
                <a:ext uri="{FF2B5EF4-FFF2-40B4-BE49-F238E27FC236}">
                  <a16:creationId xmlns:a16="http://schemas.microsoft.com/office/drawing/2014/main" id="{B0B9666E-A862-136A-6F06-92B3EC2F697C}"/>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18" name="Rectangle 17">
              <a:extLst>
                <a:ext uri="{FF2B5EF4-FFF2-40B4-BE49-F238E27FC236}">
                  <a16:creationId xmlns:a16="http://schemas.microsoft.com/office/drawing/2014/main" id="{B2FBABB8-87CE-FED5-A6DA-D677534A97BE}"/>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249473E5-18DE-4649-CDB0-4F0D683461DF}"/>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977527A2-C8AC-E2CA-C1B4-18FF4D066B6B}"/>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183CCE56-9286-B8DD-98FB-591F2AAB54DE}"/>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28" name="Rectangle 27">
              <a:extLst>
                <a:ext uri="{FF2B5EF4-FFF2-40B4-BE49-F238E27FC236}">
                  <a16:creationId xmlns:a16="http://schemas.microsoft.com/office/drawing/2014/main" id="{BCB3CF5C-A1F1-D544-E9AB-3F9C8C325555}"/>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348882848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6E6AF23-7B86-113A-F559-513B41FEC1FE}"/>
              </a:ext>
            </a:extLst>
          </p:cNvPr>
          <p:cNvGraphicFramePr>
            <a:graphicFrameLocks noChangeAspect="1"/>
          </p:cNvGraphicFramePr>
          <p:nvPr>
            <p:custDataLst>
              <p:tags r:id="rId1"/>
            </p:custDataLst>
            <p:extLst>
              <p:ext uri="{D42A27DB-BD31-4B8C-83A1-F6EECF244321}">
                <p14:modId xmlns:p14="http://schemas.microsoft.com/office/powerpoint/2010/main" val="2127200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F6E6AF23-7B86-113A-F559-513B41FEC1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a:extLst>
              <a:ext uri="{FF2B5EF4-FFF2-40B4-BE49-F238E27FC236}">
                <a16:creationId xmlns:a16="http://schemas.microsoft.com/office/drawing/2014/main" id="{ED29780A-B6AD-A143-BFF4-CA656A9FBED7}"/>
              </a:ext>
            </a:extLst>
          </p:cNvPr>
          <p:cNvPicPr>
            <a:picLocks noChangeAspect="1"/>
          </p:cNvPicPr>
          <p:nvPr/>
        </p:nvPicPr>
        <p:blipFill rotWithShape="1">
          <a:blip r:embed="rId6"/>
          <a:srcRect l="32020" r="20772"/>
          <a:stretch/>
        </p:blipFill>
        <p:spPr>
          <a:xfrm>
            <a:off x="7620000" y="0"/>
            <a:ext cx="4572000" cy="6858000"/>
          </a:xfrm>
          <a:prstGeom prst="rect">
            <a:avLst/>
          </a:prstGeom>
        </p:spPr>
      </p:pic>
      <p:sp>
        <p:nvSpPr>
          <p:cNvPr id="42" name="Rectangle 41">
            <a:extLst>
              <a:ext uri="{FF2B5EF4-FFF2-40B4-BE49-F238E27FC236}">
                <a16:creationId xmlns:a16="http://schemas.microsoft.com/office/drawing/2014/main" id="{50830596-224D-A11D-D251-21B0CA3EB02E}"/>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a:lstStyle/>
          <a:p>
            <a:r>
              <a:rPr lang="lv-LV"/>
              <a:t>Kā palīdzēt insulta gadījum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45</a:t>
            </a:fld>
            <a:endParaRPr lang="en-GB"/>
          </a:p>
        </p:txBody>
      </p:sp>
      <p:sp>
        <p:nvSpPr>
          <p:cNvPr id="26" name="Rectangle 25">
            <a:extLst>
              <a:ext uri="{FF2B5EF4-FFF2-40B4-BE49-F238E27FC236}">
                <a16:creationId xmlns:a16="http://schemas.microsoft.com/office/drawing/2014/main" id="{5EC1F9AE-82A4-85FE-592B-EF659F76F7EC}"/>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29" name="Content Placeholder 1">
            <a:extLst>
              <a:ext uri="{FF2B5EF4-FFF2-40B4-BE49-F238E27FC236}">
                <a16:creationId xmlns:a16="http://schemas.microsoft.com/office/drawing/2014/main" id="{3915AD89-6428-4A75-0915-328643F1703C}"/>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0" name="Content Placeholder 1">
            <a:extLst>
              <a:ext uri="{FF2B5EF4-FFF2-40B4-BE49-F238E27FC236}">
                <a16:creationId xmlns:a16="http://schemas.microsoft.com/office/drawing/2014/main" id="{373AB206-F1F0-CC72-8C15-85605D9AF2AC}"/>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6" name="Google Shape;760;p79">
            <a:extLst>
              <a:ext uri="{FF2B5EF4-FFF2-40B4-BE49-F238E27FC236}">
                <a16:creationId xmlns:a16="http://schemas.microsoft.com/office/drawing/2014/main" id="{09BF84D6-F468-7005-FAB5-AA0B6AE5CFB4}"/>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0" name="Rectangle 49">
            <a:extLst>
              <a:ext uri="{FF2B5EF4-FFF2-40B4-BE49-F238E27FC236}">
                <a16:creationId xmlns:a16="http://schemas.microsoft.com/office/drawing/2014/main" id="{0130363F-7CE7-F3D0-4AB5-F295FAC2DCBC}"/>
              </a:ext>
            </a:extLst>
          </p:cNvPr>
          <p:cNvSpPr/>
          <p:nvPr/>
        </p:nvSpPr>
        <p:spPr>
          <a:xfrm>
            <a:off x="442913" y="963958"/>
            <a:ext cx="6734171" cy="628650"/>
          </a:xfrm>
          <a:prstGeom prst="rect">
            <a:avLst/>
          </a:prstGeom>
          <a:solidFill>
            <a:schemeClr val="bg1"/>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1" name="Rectangle 50">
            <a:extLst>
              <a:ext uri="{FF2B5EF4-FFF2-40B4-BE49-F238E27FC236}">
                <a16:creationId xmlns:a16="http://schemas.microsoft.com/office/drawing/2014/main" id="{AFEB1935-0849-FFDB-14A2-768E555E2F79}"/>
              </a:ext>
            </a:extLst>
          </p:cNvPr>
          <p:cNvSpPr/>
          <p:nvPr/>
        </p:nvSpPr>
        <p:spPr>
          <a:xfrm>
            <a:off x="1454989" y="1062283"/>
            <a:ext cx="3405187"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r>
              <a:rPr lang="lv-LV" sz="1600" b="1">
                <a:solidFill>
                  <a:schemeClr val="tx1"/>
                </a:solidFill>
              </a:rPr>
              <a:t>Kā tas var izskatīties?</a:t>
            </a:r>
            <a:endParaRPr lang="en-GB" sz="1600" b="1">
              <a:solidFill>
                <a:schemeClr val="tx1"/>
              </a:solidFill>
            </a:endParaRPr>
          </a:p>
        </p:txBody>
      </p:sp>
      <p:cxnSp>
        <p:nvCxnSpPr>
          <p:cNvPr id="53" name="Straight Connector 52">
            <a:extLst>
              <a:ext uri="{FF2B5EF4-FFF2-40B4-BE49-F238E27FC236}">
                <a16:creationId xmlns:a16="http://schemas.microsoft.com/office/drawing/2014/main" id="{F358E754-064A-5B8C-B2FC-4E612BA07893}"/>
              </a:ext>
            </a:extLst>
          </p:cNvPr>
          <p:cNvCxnSpPr>
            <a:cxnSpLocks/>
          </p:cNvCxnSpPr>
          <p:nvPr/>
        </p:nvCxnSpPr>
        <p:spPr>
          <a:xfrm>
            <a:off x="1233531" y="1053947"/>
            <a:ext cx="0" cy="448673"/>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105" name="TextBox 104">
            <a:extLst>
              <a:ext uri="{FF2B5EF4-FFF2-40B4-BE49-F238E27FC236}">
                <a16:creationId xmlns:a16="http://schemas.microsoft.com/office/drawing/2014/main" id="{C73B42A3-EA68-B90F-A6C9-5F7FF93DD187}"/>
              </a:ext>
            </a:extLst>
          </p:cNvPr>
          <p:cNvSpPr txBox="1"/>
          <p:nvPr/>
        </p:nvSpPr>
        <p:spPr>
          <a:xfrm>
            <a:off x="442915" y="2398554"/>
            <a:ext cx="6734169" cy="3777466"/>
          </a:xfrm>
          <a:prstGeom prst="rect">
            <a:avLst/>
          </a:prstGeom>
          <a:solidFill>
            <a:schemeClr val="bg1">
              <a:lumMod val="95000"/>
            </a:schemeClr>
          </a:solidFill>
        </p:spPr>
        <p:txBody>
          <a:bodyPr wrap="square" lIns="72000" tIns="72000" rIns="72000" bIns="72000">
            <a:noAutofit/>
          </a:bodyPr>
          <a:lstStyle/>
          <a:p>
            <a:pPr marL="284400" lvl="0" indent="-284400">
              <a:spcAft>
                <a:spcPts val="1200"/>
              </a:spcAft>
              <a:buBlip>
                <a:blip r:embed="rId7"/>
              </a:buBlip>
            </a:pPr>
            <a:r>
              <a:rPr lang="lv-LV" sz="1400"/>
              <a:t>Atpazīstiet insultu un rīkojieties pēc shēmas “ĀTRI”.</a:t>
            </a:r>
          </a:p>
          <a:p>
            <a:pPr marL="756000" lvl="1">
              <a:spcAft>
                <a:spcPts val="1200"/>
              </a:spcAft>
            </a:pPr>
            <a:r>
              <a:rPr lang="lv-LV" sz="1400"/>
              <a:t>Atsmaidiet (lūdziet cilvēku pasmaidīt un novērtējiet, vai sejas vienā pusē acu vai mutes kaktiņš nav noslīdējis uz leju).</a:t>
            </a:r>
          </a:p>
          <a:p>
            <a:pPr marL="756000" lvl="1">
              <a:spcAft>
                <a:spcPts val="1200"/>
              </a:spcAft>
            </a:pPr>
            <a:r>
              <a:rPr lang="lv-LV" sz="1400"/>
              <a:t>Turiet (pārbaudiet, vai cilvēks spēj vienlaikus pacelt un patstāvīgi noturēt abas rokas).</a:t>
            </a:r>
          </a:p>
          <a:p>
            <a:pPr marL="756000" lvl="1">
              <a:spcAft>
                <a:spcPts val="1200"/>
              </a:spcAft>
            </a:pPr>
            <a:r>
              <a:rPr lang="lv-LV" sz="1400"/>
              <a:t>Runājiet (pārbaudiet, vai cilvēks spēj runāt un pateikt vai atkārtot vienkāršu teikumu).</a:t>
            </a:r>
          </a:p>
          <a:p>
            <a:pPr marL="756000" lvl="1">
              <a:spcAft>
                <a:spcPts val="1200"/>
              </a:spcAft>
            </a:pPr>
            <a:r>
              <a:rPr lang="lv-LV" sz="1400"/>
              <a:t>Izsauciet (ja cilvēks nespēj veikt kaut vienu no šīm darbībām, nekavējoties izsauciet Neatliekamo palīdzību).</a:t>
            </a:r>
          </a:p>
          <a:p>
            <a:pPr marL="284400" lvl="0" indent="-284400">
              <a:spcAft>
                <a:spcPts val="600"/>
              </a:spcAft>
              <a:buBlip>
                <a:blip r:embed="rId7"/>
              </a:buBlip>
            </a:pPr>
            <a:r>
              <a:rPr lang="lv-LV" sz="1400"/>
              <a:t>Aprūpējiet, nomieriniet saslimušo.</a:t>
            </a:r>
          </a:p>
          <a:p>
            <a:pPr marL="284400" lvl="0" indent="-284400">
              <a:spcAft>
                <a:spcPts val="600"/>
              </a:spcAft>
              <a:buBlip>
                <a:blip r:embed="rId7"/>
              </a:buBlip>
            </a:pPr>
            <a:r>
              <a:rPr lang="lv-LV" sz="1400"/>
              <a:t>Veiciet atdzīvināšanas pasākumus, ja nepieciešams.</a:t>
            </a:r>
          </a:p>
        </p:txBody>
      </p:sp>
      <p:sp>
        <p:nvSpPr>
          <p:cNvPr id="2" name="Google Shape;764;p79">
            <a:extLst>
              <a:ext uri="{FF2B5EF4-FFF2-40B4-BE49-F238E27FC236}">
                <a16:creationId xmlns:a16="http://schemas.microsoft.com/office/drawing/2014/main" id="{C3F516C4-CBBA-ADF7-B862-CB2C85E36114}"/>
              </a:ext>
            </a:extLst>
          </p:cNvPr>
          <p:cNvSpPr/>
          <p:nvPr/>
        </p:nvSpPr>
        <p:spPr>
          <a:xfrm>
            <a:off x="578685" y="1062283"/>
            <a:ext cx="433388" cy="4318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78" y="228"/>
                </a:moveTo>
                <a:cubicBezTo>
                  <a:pt x="178" y="210"/>
                  <a:pt x="180" y="194"/>
                  <a:pt x="186" y="180"/>
                </a:cubicBezTo>
                <a:cubicBezTo>
                  <a:pt x="191" y="165"/>
                  <a:pt x="199" y="153"/>
                  <a:pt x="209" y="143"/>
                </a:cubicBezTo>
                <a:cubicBezTo>
                  <a:pt x="219" y="132"/>
                  <a:pt x="231" y="124"/>
                  <a:pt x="246" y="119"/>
                </a:cubicBezTo>
                <a:cubicBezTo>
                  <a:pt x="260" y="113"/>
                  <a:pt x="276" y="110"/>
                  <a:pt x="294" y="110"/>
                </a:cubicBezTo>
                <a:cubicBezTo>
                  <a:pt x="309" y="110"/>
                  <a:pt x="322" y="112"/>
                  <a:pt x="335" y="117"/>
                </a:cubicBezTo>
                <a:cubicBezTo>
                  <a:pt x="348" y="121"/>
                  <a:pt x="359" y="127"/>
                  <a:pt x="369" y="136"/>
                </a:cubicBezTo>
                <a:cubicBezTo>
                  <a:pt x="378" y="144"/>
                  <a:pt x="386" y="154"/>
                  <a:pt x="391" y="166"/>
                </a:cubicBezTo>
                <a:cubicBezTo>
                  <a:pt x="397" y="179"/>
                  <a:pt x="399" y="192"/>
                  <a:pt x="399" y="208"/>
                </a:cubicBezTo>
                <a:cubicBezTo>
                  <a:pt x="399" y="219"/>
                  <a:pt x="398" y="229"/>
                  <a:pt x="396" y="237"/>
                </a:cubicBezTo>
                <a:cubicBezTo>
                  <a:pt x="393" y="245"/>
                  <a:pt x="390" y="253"/>
                  <a:pt x="386" y="258"/>
                </a:cubicBezTo>
                <a:cubicBezTo>
                  <a:pt x="382" y="264"/>
                  <a:pt x="377" y="270"/>
                  <a:pt x="372" y="274"/>
                </a:cubicBezTo>
                <a:cubicBezTo>
                  <a:pt x="367" y="279"/>
                  <a:pt x="362" y="284"/>
                  <a:pt x="357" y="288"/>
                </a:cubicBezTo>
                <a:cubicBezTo>
                  <a:pt x="351" y="293"/>
                  <a:pt x="345" y="298"/>
                  <a:pt x="340" y="303"/>
                </a:cubicBezTo>
                <a:cubicBezTo>
                  <a:pt x="335" y="308"/>
                  <a:pt x="330" y="313"/>
                  <a:pt x="326" y="319"/>
                </a:cubicBezTo>
                <a:cubicBezTo>
                  <a:pt x="322" y="325"/>
                  <a:pt x="319" y="332"/>
                  <a:pt x="317" y="341"/>
                </a:cubicBezTo>
                <a:cubicBezTo>
                  <a:pt x="315" y="349"/>
                  <a:pt x="314" y="358"/>
                  <a:pt x="314" y="370"/>
                </a:cubicBezTo>
                <a:cubicBezTo>
                  <a:pt x="262" y="370"/>
                  <a:pt x="262" y="370"/>
                  <a:pt x="262" y="370"/>
                </a:cubicBezTo>
                <a:cubicBezTo>
                  <a:pt x="262" y="356"/>
                  <a:pt x="263" y="344"/>
                  <a:pt x="264" y="334"/>
                </a:cubicBezTo>
                <a:cubicBezTo>
                  <a:pt x="266" y="324"/>
                  <a:pt x="268" y="316"/>
                  <a:pt x="271" y="308"/>
                </a:cubicBezTo>
                <a:cubicBezTo>
                  <a:pt x="274" y="301"/>
                  <a:pt x="278" y="294"/>
                  <a:pt x="283" y="288"/>
                </a:cubicBezTo>
                <a:cubicBezTo>
                  <a:pt x="288" y="283"/>
                  <a:pt x="293" y="277"/>
                  <a:pt x="300" y="272"/>
                </a:cubicBezTo>
                <a:cubicBezTo>
                  <a:pt x="305" y="267"/>
                  <a:pt x="310" y="263"/>
                  <a:pt x="314" y="259"/>
                </a:cubicBezTo>
                <a:cubicBezTo>
                  <a:pt x="319" y="255"/>
                  <a:pt x="323" y="251"/>
                  <a:pt x="327" y="246"/>
                </a:cubicBezTo>
                <a:cubicBezTo>
                  <a:pt x="331" y="242"/>
                  <a:pt x="334" y="236"/>
                  <a:pt x="336" y="231"/>
                </a:cubicBezTo>
                <a:cubicBezTo>
                  <a:pt x="338" y="225"/>
                  <a:pt x="339" y="218"/>
                  <a:pt x="339" y="210"/>
                </a:cubicBezTo>
                <a:cubicBezTo>
                  <a:pt x="339" y="200"/>
                  <a:pt x="337" y="192"/>
                  <a:pt x="334" y="185"/>
                </a:cubicBezTo>
                <a:cubicBezTo>
                  <a:pt x="330" y="178"/>
                  <a:pt x="326" y="172"/>
                  <a:pt x="321" y="168"/>
                </a:cubicBezTo>
                <a:cubicBezTo>
                  <a:pt x="317" y="164"/>
                  <a:pt x="311" y="161"/>
                  <a:pt x="306" y="159"/>
                </a:cubicBezTo>
                <a:cubicBezTo>
                  <a:pt x="300" y="157"/>
                  <a:pt x="296" y="156"/>
                  <a:pt x="291" y="156"/>
                </a:cubicBezTo>
                <a:cubicBezTo>
                  <a:pt x="271" y="156"/>
                  <a:pt x="257" y="163"/>
                  <a:pt x="247" y="176"/>
                </a:cubicBezTo>
                <a:cubicBezTo>
                  <a:pt x="238" y="189"/>
                  <a:pt x="233" y="206"/>
                  <a:pt x="233" y="228"/>
                </a:cubicBezTo>
                <a:lnTo>
                  <a:pt x="178" y="228"/>
                </a:lnTo>
                <a:close/>
                <a:moveTo>
                  <a:pt x="255" y="403"/>
                </a:moveTo>
                <a:cubicBezTo>
                  <a:pt x="319" y="403"/>
                  <a:pt x="319" y="403"/>
                  <a:pt x="319" y="403"/>
                </a:cubicBezTo>
                <a:cubicBezTo>
                  <a:pt x="319" y="464"/>
                  <a:pt x="319" y="464"/>
                  <a:pt x="319" y="464"/>
                </a:cubicBezTo>
                <a:cubicBezTo>
                  <a:pt x="255" y="464"/>
                  <a:pt x="255" y="464"/>
                  <a:pt x="255" y="464"/>
                </a:cubicBezTo>
                <a:lnTo>
                  <a:pt x="255" y="403"/>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6" name="Rectangle 5">
            <a:extLst>
              <a:ext uri="{FF2B5EF4-FFF2-40B4-BE49-F238E27FC236}">
                <a16:creationId xmlns:a16="http://schemas.microsoft.com/office/drawing/2014/main" id="{2B4ED087-A352-17EE-A9D6-33782A1F4144}"/>
              </a:ext>
            </a:extLst>
          </p:cNvPr>
          <p:cNvSpPr/>
          <p:nvPr/>
        </p:nvSpPr>
        <p:spPr>
          <a:xfrm>
            <a:off x="8053696" y="4549140"/>
            <a:ext cx="3704610" cy="1606560"/>
          </a:xfrm>
          <a:prstGeom prst="rect">
            <a:avLst/>
          </a:prstGeom>
          <a:solidFill>
            <a:schemeClr val="bg1">
              <a:alpha val="7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7" name="Rectangle 6">
            <a:extLst>
              <a:ext uri="{FF2B5EF4-FFF2-40B4-BE49-F238E27FC236}">
                <a16:creationId xmlns:a16="http://schemas.microsoft.com/office/drawing/2014/main" id="{2FBFC548-6771-3663-E6BE-BB4CC33B41A9}"/>
              </a:ext>
            </a:extLst>
          </p:cNvPr>
          <p:cNvSpPr/>
          <p:nvPr/>
        </p:nvSpPr>
        <p:spPr>
          <a:xfrm>
            <a:off x="9106304" y="4549139"/>
            <a:ext cx="2642784" cy="1606561"/>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r>
              <a:rPr lang="lv-LV" sz="1600" b="1">
                <a:solidFill>
                  <a:schemeClr val="tx1"/>
                </a:solidFill>
              </a:rPr>
              <a:t>Insults ir galvas smadzeņu bojājums, kura cēlonis ir asinsrites traucējumi galvas smadzenēs, kas apdraud cietušā dzīvību.</a:t>
            </a:r>
          </a:p>
        </p:txBody>
      </p:sp>
      <p:cxnSp>
        <p:nvCxnSpPr>
          <p:cNvPr id="8" name="Straight Connector 7">
            <a:extLst>
              <a:ext uri="{FF2B5EF4-FFF2-40B4-BE49-F238E27FC236}">
                <a16:creationId xmlns:a16="http://schemas.microsoft.com/office/drawing/2014/main" id="{EE51AD4F-3E95-E56F-5B86-5C86629EA0F7}"/>
              </a:ext>
            </a:extLst>
          </p:cNvPr>
          <p:cNvCxnSpPr>
            <a:cxnSpLocks/>
          </p:cNvCxnSpPr>
          <p:nvPr/>
        </p:nvCxnSpPr>
        <p:spPr>
          <a:xfrm>
            <a:off x="8830548" y="4937626"/>
            <a:ext cx="0" cy="829586"/>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9" name="Google Shape;778;p79">
            <a:extLst>
              <a:ext uri="{FF2B5EF4-FFF2-40B4-BE49-F238E27FC236}">
                <a16:creationId xmlns:a16="http://schemas.microsoft.com/office/drawing/2014/main" id="{5A200844-DA1F-317B-8566-3C4F0705FD2A}"/>
              </a:ext>
            </a:extLst>
          </p:cNvPr>
          <p:cNvSpPr/>
          <p:nvPr/>
        </p:nvSpPr>
        <p:spPr>
          <a:xfrm>
            <a:off x="8195388" y="5136419"/>
            <a:ext cx="468000" cy="432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0" name="Rectangle 9">
            <a:extLst>
              <a:ext uri="{FF2B5EF4-FFF2-40B4-BE49-F238E27FC236}">
                <a16:creationId xmlns:a16="http://schemas.microsoft.com/office/drawing/2014/main" id="{117540F8-A58D-7804-1B3D-347E9F3DB635}"/>
              </a:ext>
            </a:extLst>
          </p:cNvPr>
          <p:cNvSpPr/>
          <p:nvPr/>
        </p:nvSpPr>
        <p:spPr>
          <a:xfrm>
            <a:off x="795379" y="2837394"/>
            <a:ext cx="350520" cy="35052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b="1"/>
              <a:t>Ā</a:t>
            </a:r>
            <a:endParaRPr lang="en-GB" sz="1600"/>
          </a:p>
        </p:txBody>
      </p:sp>
      <p:sp>
        <p:nvSpPr>
          <p:cNvPr id="11" name="Rectangle 10">
            <a:extLst>
              <a:ext uri="{FF2B5EF4-FFF2-40B4-BE49-F238E27FC236}">
                <a16:creationId xmlns:a16="http://schemas.microsoft.com/office/drawing/2014/main" id="{FC6ECF3B-7D0F-5ED4-1023-D069420F907E}"/>
              </a:ext>
            </a:extLst>
          </p:cNvPr>
          <p:cNvSpPr/>
          <p:nvPr/>
        </p:nvSpPr>
        <p:spPr>
          <a:xfrm>
            <a:off x="795379" y="3438738"/>
            <a:ext cx="350520" cy="35052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b="1"/>
              <a:t>T</a:t>
            </a:r>
            <a:endParaRPr lang="en-GB" sz="1600"/>
          </a:p>
        </p:txBody>
      </p:sp>
      <p:sp>
        <p:nvSpPr>
          <p:cNvPr id="13" name="Rectangle 12">
            <a:extLst>
              <a:ext uri="{FF2B5EF4-FFF2-40B4-BE49-F238E27FC236}">
                <a16:creationId xmlns:a16="http://schemas.microsoft.com/office/drawing/2014/main" id="{AF9D086A-BD99-812E-3B8D-AC1D9F9FB376}"/>
              </a:ext>
            </a:extLst>
          </p:cNvPr>
          <p:cNvSpPr/>
          <p:nvPr/>
        </p:nvSpPr>
        <p:spPr>
          <a:xfrm>
            <a:off x="795379" y="4040082"/>
            <a:ext cx="350520" cy="35052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b="1"/>
              <a:t>R</a:t>
            </a:r>
            <a:endParaRPr lang="en-GB" sz="1600"/>
          </a:p>
        </p:txBody>
      </p:sp>
      <p:sp>
        <p:nvSpPr>
          <p:cNvPr id="14" name="Rectangle 13">
            <a:extLst>
              <a:ext uri="{FF2B5EF4-FFF2-40B4-BE49-F238E27FC236}">
                <a16:creationId xmlns:a16="http://schemas.microsoft.com/office/drawing/2014/main" id="{1501B85D-102B-8D13-E6E4-D12AFF7DE72F}"/>
              </a:ext>
            </a:extLst>
          </p:cNvPr>
          <p:cNvSpPr/>
          <p:nvPr/>
        </p:nvSpPr>
        <p:spPr>
          <a:xfrm>
            <a:off x="795379" y="4641427"/>
            <a:ext cx="350520" cy="35052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b="1"/>
              <a:t>I</a:t>
            </a:r>
            <a:endParaRPr lang="en-GB" sz="1600"/>
          </a:p>
        </p:txBody>
      </p:sp>
      <p:sp>
        <p:nvSpPr>
          <p:cNvPr id="5" name="Rectangle 4">
            <a:extLst>
              <a:ext uri="{FF2B5EF4-FFF2-40B4-BE49-F238E27FC236}">
                <a16:creationId xmlns:a16="http://schemas.microsoft.com/office/drawing/2014/main" id="{CE8DF088-308E-1DA3-B78E-2A403A65AD68}"/>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24" name="Group 23">
            <a:extLst>
              <a:ext uri="{FF2B5EF4-FFF2-40B4-BE49-F238E27FC236}">
                <a16:creationId xmlns:a16="http://schemas.microsoft.com/office/drawing/2014/main" id="{2629CC0D-66C6-97C9-9470-DD97EFC6CD5F}"/>
              </a:ext>
            </a:extLst>
          </p:cNvPr>
          <p:cNvGrpSpPr/>
          <p:nvPr/>
        </p:nvGrpSpPr>
        <p:grpSpPr>
          <a:xfrm>
            <a:off x="9842140" y="372216"/>
            <a:ext cx="1667215" cy="217488"/>
            <a:chOff x="9842140" y="372216"/>
            <a:chExt cx="1667215" cy="217488"/>
          </a:xfrm>
        </p:grpSpPr>
        <p:sp>
          <p:nvSpPr>
            <p:cNvPr id="25" name="TextBox 24">
              <a:extLst>
                <a:ext uri="{FF2B5EF4-FFF2-40B4-BE49-F238E27FC236}">
                  <a16:creationId xmlns:a16="http://schemas.microsoft.com/office/drawing/2014/main" id="{C6FF4E10-BB5B-FF1A-C519-4B5DD6405406}"/>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a:lnSpc>
                  <a:spcPct val="100000"/>
                </a:lnSpc>
                <a:spcAft>
                  <a:spcPts val="600"/>
                </a:spcAft>
                <a:buSzPct val="100000"/>
              </a:pPr>
              <a:r>
                <a:rPr lang="lv-LV" sz="800">
                  <a:solidFill>
                    <a:schemeClr val="bg1"/>
                  </a:solidFill>
                </a:rPr>
                <a:t>Slimības</a:t>
              </a:r>
            </a:p>
          </p:txBody>
        </p:sp>
        <p:sp>
          <p:nvSpPr>
            <p:cNvPr id="27" name="Freeform 49">
              <a:extLst>
                <a:ext uri="{FF2B5EF4-FFF2-40B4-BE49-F238E27FC236}">
                  <a16:creationId xmlns:a16="http://schemas.microsoft.com/office/drawing/2014/main" id="{8735C16F-BB31-CB26-3073-71C2D6B6EFFC}"/>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grpSp>
        <p:nvGrpSpPr>
          <p:cNvPr id="36" name="Group 35">
            <a:extLst>
              <a:ext uri="{FF2B5EF4-FFF2-40B4-BE49-F238E27FC236}">
                <a16:creationId xmlns:a16="http://schemas.microsoft.com/office/drawing/2014/main" id="{6EB1C011-7FAB-69F0-A456-CC6D290979BB}"/>
              </a:ext>
            </a:extLst>
          </p:cNvPr>
          <p:cNvGrpSpPr/>
          <p:nvPr/>
        </p:nvGrpSpPr>
        <p:grpSpPr>
          <a:xfrm>
            <a:off x="9122935" y="126781"/>
            <a:ext cx="2626153" cy="217488"/>
            <a:chOff x="9122935" y="126781"/>
            <a:chExt cx="2626153" cy="217488"/>
          </a:xfrm>
        </p:grpSpPr>
        <p:sp>
          <p:nvSpPr>
            <p:cNvPr id="37" name="Rectangle 36">
              <a:extLst>
                <a:ext uri="{FF2B5EF4-FFF2-40B4-BE49-F238E27FC236}">
                  <a16:creationId xmlns:a16="http://schemas.microsoft.com/office/drawing/2014/main" id="{01101845-0932-F9B5-A810-9F3CF51FBBB5}"/>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38" name="Rectangle 37">
              <a:extLst>
                <a:ext uri="{FF2B5EF4-FFF2-40B4-BE49-F238E27FC236}">
                  <a16:creationId xmlns:a16="http://schemas.microsoft.com/office/drawing/2014/main" id="{7732B637-2E23-DDE9-3AC7-189C334F7A2D}"/>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9" name="Rectangle 38">
              <a:extLst>
                <a:ext uri="{FF2B5EF4-FFF2-40B4-BE49-F238E27FC236}">
                  <a16:creationId xmlns:a16="http://schemas.microsoft.com/office/drawing/2014/main" id="{D0ADB288-1909-9FCC-AEB0-B3A9676482DC}"/>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40" name="Rectangle 39">
              <a:extLst>
                <a:ext uri="{FF2B5EF4-FFF2-40B4-BE49-F238E27FC236}">
                  <a16:creationId xmlns:a16="http://schemas.microsoft.com/office/drawing/2014/main" id="{52D3B301-1C56-057F-70C3-599686D5894B}"/>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41" name="Rectangle 40">
              <a:extLst>
                <a:ext uri="{FF2B5EF4-FFF2-40B4-BE49-F238E27FC236}">
                  <a16:creationId xmlns:a16="http://schemas.microsoft.com/office/drawing/2014/main" id="{686AE110-8722-2159-9CBF-E99621E4B1B9}"/>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4</a:t>
              </a:r>
              <a:endParaRPr kumimoji="0" lang="lv-LV" sz="800" b="1" i="0" u="none" strike="noStrike" kern="0" cap="none" spc="0" normalizeH="0" baseline="0" noProof="0">
                <a:ln>
                  <a:noFill/>
                </a:ln>
                <a:effectLst/>
                <a:uLnTx/>
                <a:uFillTx/>
                <a:ea typeface="Georgia"/>
                <a:cs typeface="Georgia"/>
                <a:sym typeface="Georgia"/>
              </a:endParaRPr>
            </a:p>
          </p:txBody>
        </p:sp>
        <p:sp>
          <p:nvSpPr>
            <p:cNvPr id="43" name="Rectangle 42">
              <a:extLst>
                <a:ext uri="{FF2B5EF4-FFF2-40B4-BE49-F238E27FC236}">
                  <a16:creationId xmlns:a16="http://schemas.microsoft.com/office/drawing/2014/main" id="{230FFF20-0417-CD8C-6D43-4132710D647E}"/>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2017770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B5F8EBF-52CC-2EDB-41E8-3667D4E9C17E}"/>
              </a:ext>
            </a:extLst>
          </p:cNvPr>
          <p:cNvGraphicFramePr>
            <a:graphicFrameLocks noChangeAspect="1"/>
          </p:cNvGraphicFramePr>
          <p:nvPr>
            <p:custDataLst>
              <p:tags r:id="rId1"/>
            </p:custDataLst>
            <p:extLst>
              <p:ext uri="{D42A27DB-BD31-4B8C-83A1-F6EECF244321}">
                <p14:modId xmlns:p14="http://schemas.microsoft.com/office/powerpoint/2010/main" val="433015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6" name="think-cell data - do not delete" hidden="1">
                        <a:extLst>
                          <a:ext uri="{FF2B5EF4-FFF2-40B4-BE49-F238E27FC236}">
                            <a16:creationId xmlns:a16="http://schemas.microsoft.com/office/drawing/2014/main" id="{8B5F8EBF-52CC-2EDB-41E8-3667D4E9C1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B93D0FA8-7084-38F8-C9F0-6E8EA50695F6}"/>
              </a:ext>
            </a:extLst>
          </p:cNvPr>
          <p:cNvPicPr>
            <a:picLocks noGrp="1" noChangeAspect="1"/>
          </p:cNvPicPr>
          <p:nvPr>
            <p:ph type="pic" sz="quarter" idx="10"/>
          </p:nvPr>
        </p:nvPicPr>
        <p:blipFill>
          <a:blip r:embed="rId6"/>
          <a:srcRect t="20933" b="20933"/>
          <a:stretch>
            <a:fillRect/>
          </a:stretch>
        </p:blipFill>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064850"/>
            <a:ext cx="7418387" cy="2428875"/>
          </a:xfrm>
        </p:spPr>
        <p:txBody>
          <a:bodyPr vert="horz">
            <a:normAutofit/>
          </a:bodyPr>
          <a:lstStyle/>
          <a:p>
            <a:r>
              <a:rPr lang="lv-LV"/>
              <a:t>7.5. Aptieciņas saturs</a:t>
            </a:r>
            <a:endParaRPr lang="en-GB"/>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293791686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8CA96A2-A01D-FA94-92E8-A765979AB49D}"/>
              </a:ext>
            </a:extLst>
          </p:cNvPr>
          <p:cNvSpPr>
            <a:spLocks noGrp="1"/>
          </p:cNvSpPr>
          <p:nvPr>
            <p:ph type="title"/>
          </p:nvPr>
        </p:nvSpPr>
        <p:spPr/>
        <p:txBody>
          <a:bodyPr/>
          <a:lstStyle/>
          <a:p>
            <a:r>
              <a:rPr lang="lv-LV"/>
              <a:t>Pirmās palīdzības aptieciņas satura minimums</a:t>
            </a:r>
            <a:endParaRPr lang="en-GB"/>
          </a:p>
        </p:txBody>
      </p:sp>
      <p:sp>
        <p:nvSpPr>
          <p:cNvPr id="7" name="Slide Number Placeholder 6">
            <a:extLst>
              <a:ext uri="{FF2B5EF4-FFF2-40B4-BE49-F238E27FC236}">
                <a16:creationId xmlns:a16="http://schemas.microsoft.com/office/drawing/2014/main" id="{885B7A5C-CCC0-5F63-DE94-AEFF55067EAE}"/>
              </a:ext>
            </a:extLst>
          </p:cNvPr>
          <p:cNvSpPr>
            <a:spLocks noGrp="1"/>
          </p:cNvSpPr>
          <p:nvPr>
            <p:ph type="sldNum" sz="quarter" idx="22"/>
          </p:nvPr>
        </p:nvSpPr>
        <p:spPr/>
        <p:txBody>
          <a:bodyPr/>
          <a:lstStyle/>
          <a:p>
            <a:fld id="{7870704B-CE94-48CC-AF30-84932A1262A7}" type="slidenum">
              <a:rPr lang="en-GB" smtClean="0"/>
              <a:pPr/>
              <a:t>47</a:t>
            </a:fld>
            <a:endParaRPr lang="en-GB"/>
          </a:p>
        </p:txBody>
      </p:sp>
      <p:graphicFrame>
        <p:nvGraphicFramePr>
          <p:cNvPr id="10" name="Table 9">
            <a:extLst>
              <a:ext uri="{FF2B5EF4-FFF2-40B4-BE49-F238E27FC236}">
                <a16:creationId xmlns:a16="http://schemas.microsoft.com/office/drawing/2014/main" id="{DD430830-1913-0D22-CCB5-64EB0C593545}"/>
              </a:ext>
            </a:extLst>
          </p:cNvPr>
          <p:cNvGraphicFramePr>
            <a:graphicFrameLocks noGrp="1"/>
          </p:cNvGraphicFramePr>
          <p:nvPr>
            <p:extLst>
              <p:ext uri="{D42A27DB-BD31-4B8C-83A1-F6EECF244321}">
                <p14:modId xmlns:p14="http://schemas.microsoft.com/office/powerpoint/2010/main" val="2954894135"/>
              </p:ext>
            </p:extLst>
          </p:nvPr>
        </p:nvGraphicFramePr>
        <p:xfrm>
          <a:off x="442913" y="1819275"/>
          <a:ext cx="11306173" cy="3996000"/>
        </p:xfrm>
        <a:graphic>
          <a:graphicData uri="http://schemas.openxmlformats.org/drawingml/2006/table">
            <a:tbl>
              <a:tblPr>
                <a:tableStyleId>{5C22544A-7EE6-4342-B048-85BDC9FD1C3A}</a:tableStyleId>
              </a:tblPr>
              <a:tblGrid>
                <a:gridCol w="776287">
                  <a:extLst>
                    <a:ext uri="{9D8B030D-6E8A-4147-A177-3AD203B41FA5}">
                      <a16:colId xmlns:a16="http://schemas.microsoft.com/office/drawing/2014/main" val="1644794205"/>
                    </a:ext>
                  </a:extLst>
                </a:gridCol>
                <a:gridCol w="8792901">
                  <a:extLst>
                    <a:ext uri="{9D8B030D-6E8A-4147-A177-3AD203B41FA5}">
                      <a16:colId xmlns:a16="http://schemas.microsoft.com/office/drawing/2014/main" val="1320062855"/>
                    </a:ext>
                  </a:extLst>
                </a:gridCol>
                <a:gridCol w="1736985">
                  <a:extLst>
                    <a:ext uri="{9D8B030D-6E8A-4147-A177-3AD203B41FA5}">
                      <a16:colId xmlns:a16="http://schemas.microsoft.com/office/drawing/2014/main" val="1382196044"/>
                    </a:ext>
                  </a:extLst>
                </a:gridCol>
              </a:tblGrid>
              <a:tr h="252000">
                <a:tc>
                  <a:txBody>
                    <a:bodyPr/>
                    <a:lstStyle/>
                    <a:p>
                      <a:pPr algn="ctr"/>
                      <a:r>
                        <a:rPr lang="lv-LV" sz="1400" b="1">
                          <a:solidFill>
                            <a:schemeClr val="bg1"/>
                          </a:solidFill>
                          <a:effectLst/>
                        </a:rPr>
                        <a:t>Nr.p.k.</a:t>
                      </a:r>
                      <a:endParaRPr lang="en-GB" sz="1400" b="1">
                        <a:solidFill>
                          <a:schemeClr val="bg1"/>
                        </a:solidFill>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lgn="l"/>
                      <a:r>
                        <a:rPr lang="lv-LV" sz="1400" b="1">
                          <a:solidFill>
                            <a:schemeClr val="bg1"/>
                          </a:solidFill>
                          <a:effectLst/>
                        </a:rPr>
                        <a:t>Pirmās palīdzības aptieciņas medicīnisko materiālu nosaukumi, izmēri, iepakojuma veids</a:t>
                      </a:r>
                      <a:endParaRPr lang="en-GB" sz="1400" b="1">
                        <a:solidFill>
                          <a:schemeClr val="bg1"/>
                        </a:solidFill>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lgn="ctr"/>
                      <a:r>
                        <a:rPr lang="lv-LV" sz="1400" b="1">
                          <a:solidFill>
                            <a:schemeClr val="bg1"/>
                          </a:solidFill>
                          <a:effectLst/>
                        </a:rPr>
                        <a:t>Minimālais</a:t>
                      </a:r>
                      <a:r>
                        <a:rPr lang="en-GB" sz="1400" b="1">
                          <a:solidFill>
                            <a:schemeClr val="bg1"/>
                          </a:solidFill>
                          <a:effectLst/>
                        </a:rPr>
                        <a:t> </a:t>
                      </a:r>
                      <a:r>
                        <a:rPr lang="lv-LV" sz="1400" b="1">
                          <a:solidFill>
                            <a:schemeClr val="bg1"/>
                          </a:solidFill>
                          <a:effectLst/>
                        </a:rPr>
                        <a:t>skaits</a:t>
                      </a:r>
                      <a:endParaRPr lang="en-GB" sz="1400" b="1">
                        <a:solidFill>
                          <a:schemeClr val="bg1"/>
                        </a:solidFill>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510278492"/>
                  </a:ext>
                </a:extLst>
              </a:tr>
              <a:tr h="234000">
                <a:tc>
                  <a:txBody>
                    <a:bodyPr/>
                    <a:lstStyle/>
                    <a:p>
                      <a:pPr algn="ctr"/>
                      <a:r>
                        <a:rPr lang="lv-LV" sz="1400">
                          <a:effectLst/>
                        </a:rPr>
                        <a:t>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Komplekta medicīnisko materiālu saraksts valsts valodā</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1154435"/>
                  </a:ext>
                </a:extLst>
              </a:tr>
              <a:tr h="234000">
                <a:tc>
                  <a:txBody>
                    <a:bodyPr/>
                    <a:lstStyle/>
                    <a:p>
                      <a:pPr algn="ctr"/>
                      <a:r>
                        <a:rPr lang="lv-LV" sz="1400">
                          <a:effectLst/>
                        </a:rPr>
                        <a:t>2.</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Vienreiz lietojami cimdi iepakojumā</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2 pāri</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9840684"/>
                  </a:ext>
                </a:extLst>
              </a:tr>
              <a:tr h="234000">
                <a:tc>
                  <a:txBody>
                    <a:bodyPr/>
                    <a:lstStyle/>
                    <a:p>
                      <a:pPr algn="ctr"/>
                      <a:r>
                        <a:rPr lang="lv-LV" sz="1400">
                          <a:effectLst/>
                        </a:rPr>
                        <a:t>3.</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Spraužamadatas</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4</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97127235"/>
                  </a:ext>
                </a:extLst>
              </a:tr>
              <a:tr h="234000">
                <a:tc>
                  <a:txBody>
                    <a:bodyPr/>
                    <a:lstStyle/>
                    <a:p>
                      <a:pPr algn="ctr"/>
                      <a:r>
                        <a:rPr lang="lv-LV" sz="1400">
                          <a:effectLst/>
                        </a:rPr>
                        <a:t>4.</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Šķēres (10 - 14 cm) ar noapaļotiem galiem</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2709168"/>
                  </a:ext>
                </a:extLst>
              </a:tr>
              <a:tr h="234000">
                <a:tc>
                  <a:txBody>
                    <a:bodyPr/>
                    <a:lstStyle/>
                    <a:p>
                      <a:pPr algn="ctr"/>
                      <a:r>
                        <a:rPr lang="lv-LV" sz="1400">
                          <a:effectLst/>
                        </a:rPr>
                        <a:t>5.</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Mākslīgās elpināšanas maska ar vienvirziena gaisa vārstuli iepakojumā</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67298144"/>
                  </a:ext>
                </a:extLst>
              </a:tr>
              <a:tr h="234000">
                <a:tc>
                  <a:txBody>
                    <a:bodyPr/>
                    <a:lstStyle/>
                    <a:p>
                      <a:pPr algn="ctr"/>
                      <a:r>
                        <a:rPr lang="lv-LV" sz="1400">
                          <a:effectLst/>
                        </a:rPr>
                        <a:t>6.</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Trīsstūrveida pārsējs (96 x 96 x 136 cm) iepakojumā</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2</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42533731"/>
                  </a:ext>
                </a:extLst>
              </a:tr>
              <a:tr h="234000">
                <a:tc>
                  <a:txBody>
                    <a:bodyPr/>
                    <a:lstStyle/>
                    <a:p>
                      <a:pPr algn="ctr"/>
                      <a:r>
                        <a:rPr lang="lv-LV" sz="1400">
                          <a:effectLst/>
                        </a:rPr>
                        <a:t>7.</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Leikoplasts (2 - 3 cm) spolē</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86275946"/>
                  </a:ext>
                </a:extLst>
              </a:tr>
              <a:tr h="234000">
                <a:tc>
                  <a:txBody>
                    <a:bodyPr/>
                    <a:lstStyle/>
                    <a:p>
                      <a:pPr algn="ctr"/>
                      <a:r>
                        <a:rPr lang="lv-LV" sz="1400">
                          <a:effectLst/>
                        </a:rPr>
                        <a:t>8.</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Brūču plāksteri (dažādu izmēru) sterilā iepakojumā</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15</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59494948"/>
                  </a:ext>
                </a:extLst>
              </a:tr>
              <a:tr h="234000">
                <a:tc>
                  <a:txBody>
                    <a:bodyPr/>
                    <a:lstStyle/>
                    <a:p>
                      <a:pPr algn="ctr"/>
                      <a:r>
                        <a:rPr lang="lv-LV" sz="1400">
                          <a:effectLst/>
                        </a:rPr>
                        <a:t>9.</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Tīklveida pārsējs Nr. 3 (40 cm)</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3</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1584699"/>
                  </a:ext>
                </a:extLst>
              </a:tr>
              <a:tr h="234000">
                <a:tc>
                  <a:txBody>
                    <a:bodyPr/>
                    <a:lstStyle/>
                    <a:p>
                      <a:pPr algn="ctr"/>
                      <a:r>
                        <a:rPr lang="lv-LV" sz="1400">
                          <a:effectLst/>
                        </a:rPr>
                        <a:t>10.</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Folijas sega (viena puse metalizēta, otra spilgtā krāsā) iepakojumā</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30638"/>
                  </a:ext>
                </a:extLst>
              </a:tr>
              <a:tr h="234000">
                <a:tc>
                  <a:txBody>
                    <a:bodyPr/>
                    <a:lstStyle/>
                    <a:p>
                      <a:pPr algn="ctr"/>
                      <a:r>
                        <a:rPr lang="lv-LV" sz="1400">
                          <a:effectLst/>
                        </a:rPr>
                        <a:t>1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Marles saites (4 m x 10 cm) sterilā iepakojumā</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4</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46567659"/>
                  </a:ext>
                </a:extLst>
              </a:tr>
              <a:tr h="234000">
                <a:tc>
                  <a:txBody>
                    <a:bodyPr/>
                    <a:lstStyle/>
                    <a:p>
                      <a:pPr algn="ctr"/>
                      <a:r>
                        <a:rPr lang="lv-LV" sz="1400">
                          <a:effectLst/>
                        </a:rPr>
                        <a:t>12.</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Marles saites (4 m x 5 cm) sterilā iepakojumā</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2</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28766621"/>
                  </a:ext>
                </a:extLst>
              </a:tr>
              <a:tr h="234000">
                <a:tc>
                  <a:txBody>
                    <a:bodyPr/>
                    <a:lstStyle/>
                    <a:p>
                      <a:pPr algn="ctr"/>
                      <a:r>
                        <a:rPr lang="lv-LV" sz="1400">
                          <a:effectLst/>
                        </a:rPr>
                        <a:t>13.</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Pārsienamās paketes sterilā iepakojumā</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2</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99754628"/>
                  </a:ext>
                </a:extLst>
              </a:tr>
              <a:tr h="234000">
                <a:tc>
                  <a:txBody>
                    <a:bodyPr/>
                    <a:lstStyle/>
                    <a:p>
                      <a:pPr algn="ctr"/>
                      <a:r>
                        <a:rPr lang="lv-LV" sz="1400">
                          <a:effectLst/>
                        </a:rPr>
                        <a:t>14.</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Marles komprese (600 x 800 mm) sterilā iepakojumā</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52778"/>
                  </a:ext>
                </a:extLst>
              </a:tr>
              <a:tr h="234000">
                <a:tc>
                  <a:txBody>
                    <a:bodyPr/>
                    <a:lstStyle/>
                    <a:p>
                      <a:pPr algn="ctr"/>
                      <a:r>
                        <a:rPr lang="lv-LV" sz="1400">
                          <a:effectLst/>
                        </a:rPr>
                        <a:t>15.</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Marles komprese (400 x 600 mm) sterilā iepakojumā</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4983841"/>
                  </a:ext>
                </a:extLst>
              </a:tr>
              <a:tr h="234000">
                <a:tc>
                  <a:txBody>
                    <a:bodyPr/>
                    <a:lstStyle/>
                    <a:p>
                      <a:pPr algn="ctr"/>
                      <a:r>
                        <a:rPr lang="lv-LV" sz="1400">
                          <a:effectLst/>
                        </a:rPr>
                        <a:t>16.</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solidFill>
                  </a:tcPr>
                </a:tc>
                <a:tc>
                  <a:txBody>
                    <a:bodyPr/>
                    <a:lstStyle/>
                    <a:p>
                      <a:pPr algn="l"/>
                      <a:r>
                        <a:rPr lang="lv-LV" sz="1400">
                          <a:effectLst/>
                        </a:rPr>
                        <a:t>Marles komprese (100 x 100 mm) sterilā iepakojumā </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lv-LV" sz="1400" dirty="0">
                          <a:effectLst/>
                        </a:rPr>
                        <a:t>5</a:t>
                      </a:r>
                      <a:endParaRPr lang="en-GB" sz="1400" dirty="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54672451"/>
                  </a:ext>
                </a:extLst>
              </a:tr>
            </a:tbl>
          </a:graphicData>
        </a:graphic>
      </p:graphicFrame>
      <p:sp>
        <p:nvSpPr>
          <p:cNvPr id="11" name="Rectangle 1">
            <a:extLst>
              <a:ext uri="{FF2B5EF4-FFF2-40B4-BE49-F238E27FC236}">
                <a16:creationId xmlns:a16="http://schemas.microsoft.com/office/drawing/2014/main" id="{E0158CBF-80D1-8041-5978-AE6FC3BEB22F}"/>
              </a:ext>
            </a:extLst>
          </p:cNvPr>
          <p:cNvSpPr>
            <a:spLocks noChangeArrowheads="1"/>
          </p:cNvSpPr>
          <p:nvPr/>
        </p:nvSpPr>
        <p:spPr bwMode="auto">
          <a:xfrm>
            <a:off x="442913" y="5949062"/>
            <a:ext cx="11306175" cy="476937"/>
          </a:xfrm>
          <a:prstGeom prst="rect">
            <a:avLst/>
          </a:prstGeom>
          <a:solidFill>
            <a:schemeClr val="accent2"/>
          </a:solidFill>
          <a:ln>
            <a:noFill/>
          </a:ln>
          <a:effectLst/>
        </p:spPr>
        <p:txBody>
          <a:bodyPr vert="horz" wrap="square" lIns="72000" tIns="0" rIns="72000" bIns="0" numCol="1" anchor="ctr" anchorCtr="0" compatLnSpc="1">
            <a:prstTxWarp prst="textNoShape">
              <a:avLst/>
            </a:prstTxWarp>
            <a:noAutofit/>
          </a:bodyPr>
          <a:lstStyle/>
          <a:p>
            <a:pPr marL="0" marR="0" lvl="0" indent="0" defTabSz="914400" rtl="0" eaLnBrk="0" fontAlgn="base" latinLnBrk="0" hangingPunct="0">
              <a:lnSpc>
                <a:spcPct val="100000"/>
              </a:lnSpc>
              <a:spcBef>
                <a:spcPct val="0"/>
              </a:spcBef>
              <a:spcAft>
                <a:spcPct val="0"/>
              </a:spcAft>
              <a:buClrTx/>
              <a:buSzTx/>
              <a:buFontTx/>
              <a:buNone/>
              <a:tabLst/>
            </a:pPr>
            <a:r>
              <a:rPr kumimoji="0" lang="lv-LV" altLang="en-US" sz="1400" b="0" i="0" u="none" strike="noStrike" cap="none" normalizeH="0" baseline="0">
                <a:ln>
                  <a:noFill/>
                </a:ln>
                <a:solidFill>
                  <a:schemeClr val="bg1"/>
                </a:solidFill>
                <a:effectLst/>
                <a:ea typeface="Arial Unicode MS"/>
                <a:cs typeface="Times New Roman" panose="02020603050405020304" pitchFamily="18" charset="0"/>
              </a:rPr>
              <a:t>Ieteicams papildināt aptieciņas saturu ar vismaz divām medicīniskām sejas maskām vai respiratoriem bez vārsta ar drošības pakāpi FFP2 – FFP3.</a:t>
            </a:r>
            <a:r>
              <a:rPr kumimoji="0" lang="en-GB" altLang="en-US" sz="1400" b="0" i="0" u="none" strike="noStrike" cap="none" normalizeH="0" baseline="0">
                <a:ln>
                  <a:noFill/>
                </a:ln>
                <a:solidFill>
                  <a:schemeClr val="bg1"/>
                </a:solidFill>
                <a:effectLst/>
              </a:rPr>
              <a:t> </a:t>
            </a:r>
          </a:p>
        </p:txBody>
      </p:sp>
      <p:sp>
        <p:nvSpPr>
          <p:cNvPr id="2" name="Rectangle 1">
            <a:extLst>
              <a:ext uri="{FF2B5EF4-FFF2-40B4-BE49-F238E27FC236}">
                <a16:creationId xmlns:a16="http://schemas.microsoft.com/office/drawing/2014/main" id="{8AECEEF7-147C-69E9-7E85-66789CF569A3}"/>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15" name="Group 14">
            <a:extLst>
              <a:ext uri="{FF2B5EF4-FFF2-40B4-BE49-F238E27FC236}">
                <a16:creationId xmlns:a16="http://schemas.microsoft.com/office/drawing/2014/main" id="{388FE7B1-ADE2-6B6B-234C-B8C1E1FB8F5A}"/>
              </a:ext>
            </a:extLst>
          </p:cNvPr>
          <p:cNvGrpSpPr/>
          <p:nvPr/>
        </p:nvGrpSpPr>
        <p:grpSpPr>
          <a:xfrm>
            <a:off x="9590295" y="126781"/>
            <a:ext cx="2158793" cy="217488"/>
            <a:chOff x="9590295" y="126781"/>
            <a:chExt cx="2158793" cy="217488"/>
          </a:xfrm>
        </p:grpSpPr>
        <p:sp>
          <p:nvSpPr>
            <p:cNvPr id="4" name="Rectangle 3">
              <a:extLst>
                <a:ext uri="{FF2B5EF4-FFF2-40B4-BE49-F238E27FC236}">
                  <a16:creationId xmlns:a16="http://schemas.microsoft.com/office/drawing/2014/main" id="{94F88B90-71DF-CB0B-C0DB-103040ABD828}"/>
                </a:ext>
              </a:extLst>
            </p:cNvPr>
            <p:cNvSpPr/>
            <p:nvPr/>
          </p:nvSpPr>
          <p:spPr>
            <a:xfrm>
              <a:off x="10791488" y="126781"/>
              <a:ext cx="95760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Aptieciņas saturs</a:t>
              </a:r>
            </a:p>
          </p:txBody>
        </p:sp>
        <p:sp>
          <p:nvSpPr>
            <p:cNvPr id="5" name="Rectangle 4">
              <a:extLst>
                <a:ext uri="{FF2B5EF4-FFF2-40B4-BE49-F238E27FC236}">
                  <a16:creationId xmlns:a16="http://schemas.microsoft.com/office/drawing/2014/main" id="{9D24C125-C618-6790-4D00-61A80DDD6B9D}"/>
                </a:ext>
              </a:extLst>
            </p:cNvPr>
            <p:cNvSpPr/>
            <p:nvPr/>
          </p:nvSpPr>
          <p:spPr>
            <a:xfrm>
              <a:off x="959029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7644DD63-5811-99E1-647A-595A8918858E}"/>
                </a:ext>
              </a:extLst>
            </p:cNvPr>
            <p:cNvSpPr/>
            <p:nvPr/>
          </p:nvSpPr>
          <p:spPr>
            <a:xfrm>
              <a:off x="983003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DBDE7AC3-D08B-9A3D-1C99-C78111D41ABC}"/>
                </a:ext>
              </a:extLst>
            </p:cNvPr>
            <p:cNvSpPr/>
            <p:nvPr/>
          </p:nvSpPr>
          <p:spPr>
            <a:xfrm>
              <a:off x="1006976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D5A08CA3-F120-5E05-B055-BFCCCC1962A8}"/>
                </a:ext>
              </a:extLst>
            </p:cNvPr>
            <p:cNvSpPr/>
            <p:nvPr/>
          </p:nvSpPr>
          <p:spPr>
            <a:xfrm>
              <a:off x="1030950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4</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861DE81F-8637-BBE0-7241-48E15C38E7A7}"/>
                </a:ext>
              </a:extLst>
            </p:cNvPr>
            <p:cNvSpPr/>
            <p:nvPr/>
          </p:nvSpPr>
          <p:spPr>
            <a:xfrm>
              <a:off x="10549235"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5</a:t>
              </a:r>
              <a:endParaRPr kumimoji="0" lang="lv-LV" sz="800" b="1" i="0" u="none" strike="noStrike" kern="0" cap="none" spc="0" normalizeH="0" baseline="0" noProof="0">
                <a:ln>
                  <a:noFill/>
                </a:ln>
                <a:effectLst/>
                <a:uLnTx/>
                <a:uFillTx/>
                <a:ea typeface="Georgia"/>
                <a:cs typeface="Georgia"/>
                <a:sym typeface="Georgia"/>
              </a:endParaRPr>
            </a:p>
          </p:txBody>
        </p:sp>
      </p:grpSp>
    </p:spTree>
    <p:extLst>
      <p:ext uri="{BB962C8B-B14F-4D97-AF65-F5344CB8AC3E}">
        <p14:creationId xmlns:p14="http://schemas.microsoft.com/office/powerpoint/2010/main" val="17134500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A03CC50-9C61-256C-1A44-DC0EDAE80704}"/>
              </a:ext>
            </a:extLst>
          </p:cNvPr>
          <p:cNvGraphicFramePr>
            <a:graphicFrameLocks noChangeAspect="1"/>
          </p:cNvGraphicFramePr>
          <p:nvPr>
            <p:custDataLst>
              <p:tags r:id="rId1"/>
            </p:custDataLst>
            <p:extLst>
              <p:ext uri="{D42A27DB-BD31-4B8C-83A1-F6EECF244321}">
                <p14:modId xmlns:p14="http://schemas.microsoft.com/office/powerpoint/2010/main" val="775786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BA03CC50-9C61-256C-1A44-DC0EDAE807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1" name="Picture 90">
            <a:extLst>
              <a:ext uri="{FF2B5EF4-FFF2-40B4-BE49-F238E27FC236}">
                <a16:creationId xmlns:a16="http://schemas.microsoft.com/office/drawing/2014/main" id="{76FDAB38-B63D-7CD4-14A0-D25CF75F9D4B}"/>
              </a:ext>
            </a:extLst>
          </p:cNvPr>
          <p:cNvPicPr>
            <a:picLocks noChangeAspect="1"/>
          </p:cNvPicPr>
          <p:nvPr/>
        </p:nvPicPr>
        <p:blipFill rotWithShape="1">
          <a:blip r:embed="rId6"/>
          <a:srcRect t="39441" b="33373"/>
          <a:stretch/>
        </p:blipFill>
        <p:spPr>
          <a:xfrm>
            <a:off x="0" y="4648200"/>
            <a:ext cx="12192000" cy="2209800"/>
          </a:xfrm>
          <a:prstGeom prst="rect">
            <a:avLst/>
          </a:prstGeom>
        </p:spPr>
      </p:pic>
      <p:sp>
        <p:nvSpPr>
          <p:cNvPr id="92" name="Rectangle 91">
            <a:extLst>
              <a:ext uri="{FF2B5EF4-FFF2-40B4-BE49-F238E27FC236}">
                <a16:creationId xmlns:a16="http://schemas.microsoft.com/office/drawing/2014/main" id="{9A291FD0-DB23-DD5D-0DB3-0069513F81E0}"/>
              </a:ext>
            </a:extLst>
          </p:cNvPr>
          <p:cNvSpPr/>
          <p:nvPr/>
        </p:nvSpPr>
        <p:spPr>
          <a:xfrm>
            <a:off x="0" y="4648200"/>
            <a:ext cx="12192000" cy="22098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 name="Title 2">
            <a:extLst>
              <a:ext uri="{FF2B5EF4-FFF2-40B4-BE49-F238E27FC236}">
                <a16:creationId xmlns:a16="http://schemas.microsoft.com/office/drawing/2014/main" id="{AAFE076C-9B8C-9BB3-8680-7E4B60DEC21C}"/>
              </a:ext>
            </a:extLst>
          </p:cNvPr>
          <p:cNvSpPr>
            <a:spLocks noGrp="1"/>
          </p:cNvSpPr>
          <p:nvPr>
            <p:ph type="title"/>
          </p:nvPr>
        </p:nvSpPr>
        <p:spPr>
          <a:xfrm>
            <a:off x="442913" y="432001"/>
            <a:ext cx="11306175" cy="1387274"/>
          </a:xfrm>
        </p:spPr>
        <p:txBody>
          <a:bodyPr vert="horz"/>
          <a:lstStyle/>
          <a:p>
            <a:r>
              <a:rPr lang="lv-LV"/>
              <a:t>Vai Jūs zināt, kas ir pirmā palīdzība? Kā tā atšķiras no neatliekamās medicīniskās palīdzības?</a:t>
            </a:r>
            <a:br>
              <a:rPr lang="lv-LV"/>
            </a:br>
            <a:endParaRPr lang="lv-LV"/>
          </a:p>
        </p:txBody>
      </p:sp>
      <p:sp>
        <p:nvSpPr>
          <p:cNvPr id="4" name="Slide Number Placeholder 3">
            <a:extLst>
              <a:ext uri="{FF2B5EF4-FFF2-40B4-BE49-F238E27FC236}">
                <a16:creationId xmlns:a16="http://schemas.microsoft.com/office/drawing/2014/main" id="{51A056F4-4CF2-BBE9-52F6-908FF9154948}"/>
              </a:ext>
            </a:extLst>
          </p:cNvPr>
          <p:cNvSpPr>
            <a:spLocks noGrp="1"/>
          </p:cNvSpPr>
          <p:nvPr>
            <p:ph type="sldNum" sz="quarter" idx="11"/>
          </p:nvPr>
        </p:nvSpPr>
        <p:spPr>
          <a:xfrm>
            <a:off x="9984296" y="6492240"/>
            <a:ext cx="1764792" cy="137160"/>
          </a:xfrm>
        </p:spPr>
        <p:txBody>
          <a:bodyPr/>
          <a:lstStyle/>
          <a:p>
            <a:fld id="{7870704B-CE94-48CC-AF30-84932A1262A7}" type="slidenum">
              <a:rPr lang="lv-LV" smtClean="0">
                <a:solidFill>
                  <a:schemeClr val="bg1"/>
                </a:solidFill>
              </a:rPr>
              <a:pPr/>
              <a:t>5</a:t>
            </a:fld>
            <a:endParaRPr lang="lv-LV">
              <a:solidFill>
                <a:schemeClr val="bg1"/>
              </a:solidFill>
            </a:endParaRPr>
          </a:p>
        </p:txBody>
      </p:sp>
      <p:sp>
        <p:nvSpPr>
          <p:cNvPr id="43" name="Text Placeholder 42">
            <a:extLst>
              <a:ext uri="{FF2B5EF4-FFF2-40B4-BE49-F238E27FC236}">
                <a16:creationId xmlns:a16="http://schemas.microsoft.com/office/drawing/2014/main" id="{E8E63795-2ECA-7132-F643-55B4A59C7A85}"/>
              </a:ext>
            </a:extLst>
          </p:cNvPr>
          <p:cNvSpPr>
            <a:spLocks noGrp="1"/>
          </p:cNvSpPr>
          <p:nvPr>
            <p:ph type="body" sz="quarter" idx="13"/>
          </p:nvPr>
        </p:nvSpPr>
        <p:spPr>
          <a:xfrm>
            <a:off x="442913" y="6491287"/>
            <a:ext cx="3600000" cy="138113"/>
          </a:xfrm>
        </p:spPr>
        <p:txBody>
          <a:bodyPr/>
          <a:lstStyle/>
          <a:p>
            <a:r>
              <a:rPr lang="lv-LV">
                <a:solidFill>
                  <a:schemeClr val="bg1"/>
                </a:solidFill>
              </a:rPr>
              <a:t>Ārstniecības likuma 1. pants </a:t>
            </a:r>
          </a:p>
        </p:txBody>
      </p:sp>
      <p:sp>
        <p:nvSpPr>
          <p:cNvPr id="64" name="Content Placeholder 1">
            <a:extLst>
              <a:ext uri="{FF2B5EF4-FFF2-40B4-BE49-F238E27FC236}">
                <a16:creationId xmlns:a16="http://schemas.microsoft.com/office/drawing/2014/main" id="{F5198B29-4548-5C2A-0DEF-90C53FD5EF11}"/>
              </a:ext>
            </a:extLst>
          </p:cNvPr>
          <p:cNvSpPr txBox="1">
            <a:spLocks/>
          </p:cNvSpPr>
          <p:nvPr/>
        </p:nvSpPr>
        <p:spPr>
          <a:xfrm>
            <a:off x="442913" y="1819275"/>
            <a:ext cx="5473699"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bg1"/>
                </a:solidFill>
              </a:rPr>
              <a:t>Pirmā palīdzība</a:t>
            </a:r>
          </a:p>
        </p:txBody>
      </p:sp>
      <p:sp>
        <p:nvSpPr>
          <p:cNvPr id="65" name="Content Placeholder 1">
            <a:extLst>
              <a:ext uri="{FF2B5EF4-FFF2-40B4-BE49-F238E27FC236}">
                <a16:creationId xmlns:a16="http://schemas.microsoft.com/office/drawing/2014/main" id="{7F6756C5-2CE3-DBCB-913A-8EAD5564B5E9}"/>
              </a:ext>
            </a:extLst>
          </p:cNvPr>
          <p:cNvSpPr txBox="1">
            <a:spLocks/>
          </p:cNvSpPr>
          <p:nvPr/>
        </p:nvSpPr>
        <p:spPr>
          <a:xfrm>
            <a:off x="6275388" y="1819275"/>
            <a:ext cx="5473700" cy="576000"/>
          </a:xfrm>
          <a:prstGeom prst="rect">
            <a:avLst/>
          </a:prstGeom>
          <a:solidFill>
            <a:schemeClr val="accent3"/>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bg1"/>
                </a:solidFill>
              </a:rPr>
              <a:t>Neatliekamā medicīniskā palīdzība</a:t>
            </a:r>
          </a:p>
        </p:txBody>
      </p:sp>
      <p:sp>
        <p:nvSpPr>
          <p:cNvPr id="66" name="Content Placeholder 1">
            <a:extLst>
              <a:ext uri="{FF2B5EF4-FFF2-40B4-BE49-F238E27FC236}">
                <a16:creationId xmlns:a16="http://schemas.microsoft.com/office/drawing/2014/main" id="{71E65A8B-1A0E-7189-CB1E-7B85B0FCDF92}"/>
              </a:ext>
            </a:extLst>
          </p:cNvPr>
          <p:cNvSpPr txBox="1">
            <a:spLocks/>
          </p:cNvSpPr>
          <p:nvPr/>
        </p:nvSpPr>
        <p:spPr>
          <a:xfrm>
            <a:off x="11173088" y="181927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67" name="Content Placeholder 1">
            <a:extLst>
              <a:ext uri="{FF2B5EF4-FFF2-40B4-BE49-F238E27FC236}">
                <a16:creationId xmlns:a16="http://schemas.microsoft.com/office/drawing/2014/main" id="{C7BD28FD-69AC-2308-FAFB-928853CF7082}"/>
              </a:ext>
            </a:extLst>
          </p:cNvPr>
          <p:cNvSpPr txBox="1">
            <a:spLocks/>
          </p:cNvSpPr>
          <p:nvPr/>
        </p:nvSpPr>
        <p:spPr>
          <a:xfrm>
            <a:off x="11105135" y="181927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68" name="Content Placeholder 1">
            <a:extLst>
              <a:ext uri="{FF2B5EF4-FFF2-40B4-BE49-F238E27FC236}">
                <a16:creationId xmlns:a16="http://schemas.microsoft.com/office/drawing/2014/main" id="{F3C0F73D-96F5-2632-9996-CB5D4313F69F}"/>
              </a:ext>
            </a:extLst>
          </p:cNvPr>
          <p:cNvSpPr txBox="1">
            <a:spLocks/>
          </p:cNvSpPr>
          <p:nvPr/>
        </p:nvSpPr>
        <p:spPr>
          <a:xfrm>
            <a:off x="5340612" y="181927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grpSp>
        <p:nvGrpSpPr>
          <p:cNvPr id="69" name="Google Shape;1543;p92">
            <a:extLst>
              <a:ext uri="{FF2B5EF4-FFF2-40B4-BE49-F238E27FC236}">
                <a16:creationId xmlns:a16="http://schemas.microsoft.com/office/drawing/2014/main" id="{3E85C73C-761E-2FBC-4444-75116D559392}"/>
              </a:ext>
            </a:extLst>
          </p:cNvPr>
          <p:cNvGrpSpPr/>
          <p:nvPr/>
        </p:nvGrpSpPr>
        <p:grpSpPr>
          <a:xfrm>
            <a:off x="5448612" y="1927275"/>
            <a:ext cx="360000" cy="360000"/>
            <a:chOff x="11403518" y="3895566"/>
            <a:chExt cx="457200" cy="457200"/>
          </a:xfrm>
          <a:solidFill>
            <a:schemeClr val="tx1"/>
          </a:solidFill>
        </p:grpSpPr>
        <p:sp>
          <p:nvSpPr>
            <p:cNvPr id="70" name="Google Shape;1544;p92">
              <a:extLst>
                <a:ext uri="{FF2B5EF4-FFF2-40B4-BE49-F238E27FC236}">
                  <a16:creationId xmlns:a16="http://schemas.microsoft.com/office/drawing/2014/main" id="{F5955A8F-5764-221D-4746-8286D1ED814F}"/>
                </a:ext>
              </a:extLst>
            </p:cNvPr>
            <p:cNvSpPr/>
            <p:nvPr/>
          </p:nvSpPr>
          <p:spPr>
            <a:xfrm>
              <a:off x="11403518" y="3895566"/>
              <a:ext cx="457200" cy="457200"/>
            </a:xfrm>
            <a:custGeom>
              <a:avLst/>
              <a:gdLst/>
              <a:ahLst/>
              <a:cxnLst/>
              <a:rect l="l" t="t" r="r" b="b"/>
              <a:pathLst>
                <a:path w="457200" h="457200" extrusionOk="0">
                  <a:moveTo>
                    <a:pt x="358426" y="48038"/>
                  </a:moveTo>
                  <a:lnTo>
                    <a:pt x="358426" y="0"/>
                  </a:lnTo>
                  <a:lnTo>
                    <a:pt x="98774" y="0"/>
                  </a:lnTo>
                  <a:lnTo>
                    <a:pt x="98774" y="48038"/>
                  </a:lnTo>
                  <a:lnTo>
                    <a:pt x="0" y="48038"/>
                  </a:lnTo>
                  <a:lnTo>
                    <a:pt x="0" y="457200"/>
                  </a:lnTo>
                  <a:lnTo>
                    <a:pt x="457200" y="457200"/>
                  </a:lnTo>
                  <a:lnTo>
                    <a:pt x="457200" y="48038"/>
                  </a:lnTo>
                  <a:close/>
                  <a:moveTo>
                    <a:pt x="118300" y="19463"/>
                  </a:moveTo>
                  <a:lnTo>
                    <a:pt x="338900" y="19463"/>
                  </a:lnTo>
                  <a:lnTo>
                    <a:pt x="338900" y="47625"/>
                  </a:lnTo>
                  <a:lnTo>
                    <a:pt x="118300" y="47625"/>
                  </a:lnTo>
                  <a:close/>
                  <a:moveTo>
                    <a:pt x="19526" y="225679"/>
                  </a:moveTo>
                  <a:lnTo>
                    <a:pt x="86201" y="225679"/>
                  </a:lnTo>
                  <a:cubicBezTo>
                    <a:pt x="84633" y="234301"/>
                    <a:pt x="83836" y="243046"/>
                    <a:pt x="83820" y="251809"/>
                  </a:cubicBezTo>
                  <a:cubicBezTo>
                    <a:pt x="83817" y="261123"/>
                    <a:pt x="84711" y="270416"/>
                    <a:pt x="86487" y="279559"/>
                  </a:cubicBezTo>
                  <a:lnTo>
                    <a:pt x="19526" y="279559"/>
                  </a:lnTo>
                  <a:close/>
                  <a:moveTo>
                    <a:pt x="437674" y="437674"/>
                  </a:moveTo>
                  <a:lnTo>
                    <a:pt x="19526" y="437674"/>
                  </a:lnTo>
                  <a:lnTo>
                    <a:pt x="19526" y="299085"/>
                  </a:lnTo>
                  <a:lnTo>
                    <a:pt x="92075" y="299085"/>
                  </a:lnTo>
                  <a:cubicBezTo>
                    <a:pt x="118172" y="374574"/>
                    <a:pt x="200523" y="414614"/>
                    <a:pt x="276012" y="388515"/>
                  </a:cubicBezTo>
                  <a:cubicBezTo>
                    <a:pt x="317967" y="374012"/>
                    <a:pt x="350939" y="341039"/>
                    <a:pt x="365443" y="299085"/>
                  </a:cubicBezTo>
                  <a:lnTo>
                    <a:pt x="437832" y="299085"/>
                  </a:lnTo>
                  <a:close/>
                  <a:moveTo>
                    <a:pt x="103505" y="251809"/>
                  </a:moveTo>
                  <a:cubicBezTo>
                    <a:pt x="103502" y="243026"/>
                    <a:pt x="104428" y="234267"/>
                    <a:pt x="106267" y="225679"/>
                  </a:cubicBezTo>
                  <a:cubicBezTo>
                    <a:pt x="107691" y="219018"/>
                    <a:pt x="109666" y="212487"/>
                    <a:pt x="112173" y="206153"/>
                  </a:cubicBezTo>
                  <a:cubicBezTo>
                    <a:pt x="137346" y="141852"/>
                    <a:pt x="209879" y="110133"/>
                    <a:pt x="274180" y="135306"/>
                  </a:cubicBezTo>
                  <a:cubicBezTo>
                    <a:pt x="306639" y="148013"/>
                    <a:pt x="332321" y="173694"/>
                    <a:pt x="345027" y="206153"/>
                  </a:cubicBezTo>
                  <a:cubicBezTo>
                    <a:pt x="347532" y="212487"/>
                    <a:pt x="349510" y="219018"/>
                    <a:pt x="350933" y="225679"/>
                  </a:cubicBezTo>
                  <a:cubicBezTo>
                    <a:pt x="365373" y="293241"/>
                    <a:pt x="322307" y="359715"/>
                    <a:pt x="254743" y="374155"/>
                  </a:cubicBezTo>
                  <a:cubicBezTo>
                    <a:pt x="187181" y="388595"/>
                    <a:pt x="120706" y="345529"/>
                    <a:pt x="106267" y="277965"/>
                  </a:cubicBezTo>
                  <a:cubicBezTo>
                    <a:pt x="104430" y="269368"/>
                    <a:pt x="103504" y="260601"/>
                    <a:pt x="103505" y="251809"/>
                  </a:cubicBezTo>
                  <a:close/>
                  <a:moveTo>
                    <a:pt x="437674" y="279559"/>
                  </a:moveTo>
                  <a:lnTo>
                    <a:pt x="370554" y="279559"/>
                  </a:lnTo>
                  <a:cubicBezTo>
                    <a:pt x="372332" y="270416"/>
                    <a:pt x="373224" y="261123"/>
                    <a:pt x="373221" y="251809"/>
                  </a:cubicBezTo>
                  <a:cubicBezTo>
                    <a:pt x="373205" y="243046"/>
                    <a:pt x="372408" y="234301"/>
                    <a:pt x="370840" y="225679"/>
                  </a:cubicBezTo>
                  <a:lnTo>
                    <a:pt x="437515" y="225679"/>
                  </a:lnTo>
                  <a:close/>
                  <a:moveTo>
                    <a:pt x="437674" y="206153"/>
                  </a:moveTo>
                  <a:lnTo>
                    <a:pt x="365824" y="206153"/>
                  </a:lnTo>
                  <a:cubicBezTo>
                    <a:pt x="340604" y="130366"/>
                    <a:pt x="258724" y="89373"/>
                    <a:pt x="182938" y="114591"/>
                  </a:cubicBezTo>
                  <a:cubicBezTo>
                    <a:pt x="139696" y="128980"/>
                    <a:pt x="105766" y="162911"/>
                    <a:pt x="91377" y="206153"/>
                  </a:cubicBezTo>
                  <a:lnTo>
                    <a:pt x="19526" y="206153"/>
                  </a:lnTo>
                  <a:lnTo>
                    <a:pt x="19526" y="67564"/>
                  </a:lnTo>
                  <a:lnTo>
                    <a:pt x="437674" y="67564"/>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71" name="Google Shape;1545;p92">
              <a:extLst>
                <a:ext uri="{FF2B5EF4-FFF2-40B4-BE49-F238E27FC236}">
                  <a16:creationId xmlns:a16="http://schemas.microsoft.com/office/drawing/2014/main" id="{89B91E98-FEBB-72AD-374C-0CAE052B6574}"/>
                </a:ext>
              </a:extLst>
            </p:cNvPr>
            <p:cNvSpPr/>
            <p:nvPr/>
          </p:nvSpPr>
          <p:spPr>
            <a:xfrm>
              <a:off x="11539503" y="4054760"/>
              <a:ext cx="185229" cy="185229"/>
            </a:xfrm>
            <a:custGeom>
              <a:avLst/>
              <a:gdLst/>
              <a:ahLst/>
              <a:cxnLst/>
              <a:rect l="l" t="t" r="r" b="b"/>
              <a:pathLst>
                <a:path w="185229" h="185229" extrusionOk="0">
                  <a:moveTo>
                    <a:pt x="54959" y="185230"/>
                  </a:moveTo>
                  <a:lnTo>
                    <a:pt x="130270" y="185230"/>
                  </a:lnTo>
                  <a:lnTo>
                    <a:pt x="130270" y="130270"/>
                  </a:lnTo>
                  <a:lnTo>
                    <a:pt x="185229" y="130270"/>
                  </a:lnTo>
                  <a:lnTo>
                    <a:pt x="185229" y="54959"/>
                  </a:lnTo>
                  <a:lnTo>
                    <a:pt x="130270" y="54959"/>
                  </a:lnTo>
                  <a:lnTo>
                    <a:pt x="130270" y="0"/>
                  </a:lnTo>
                  <a:lnTo>
                    <a:pt x="54959" y="0"/>
                  </a:lnTo>
                  <a:lnTo>
                    <a:pt x="54959" y="54959"/>
                  </a:lnTo>
                  <a:lnTo>
                    <a:pt x="0" y="54959"/>
                  </a:lnTo>
                  <a:lnTo>
                    <a:pt x="0" y="130270"/>
                  </a:lnTo>
                  <a:lnTo>
                    <a:pt x="54959" y="130270"/>
                  </a:lnTo>
                  <a:close/>
                  <a:moveTo>
                    <a:pt x="19590" y="110681"/>
                  </a:moveTo>
                  <a:lnTo>
                    <a:pt x="19590" y="74486"/>
                  </a:lnTo>
                  <a:lnTo>
                    <a:pt x="74486" y="74486"/>
                  </a:lnTo>
                  <a:lnTo>
                    <a:pt x="74486" y="19526"/>
                  </a:lnTo>
                  <a:lnTo>
                    <a:pt x="110744" y="19526"/>
                  </a:lnTo>
                  <a:lnTo>
                    <a:pt x="110744" y="74486"/>
                  </a:lnTo>
                  <a:lnTo>
                    <a:pt x="165640" y="74486"/>
                  </a:lnTo>
                  <a:lnTo>
                    <a:pt x="165640" y="110681"/>
                  </a:lnTo>
                  <a:lnTo>
                    <a:pt x="110744" y="110681"/>
                  </a:lnTo>
                  <a:lnTo>
                    <a:pt x="110744" y="165640"/>
                  </a:lnTo>
                  <a:lnTo>
                    <a:pt x="74486" y="165640"/>
                  </a:lnTo>
                  <a:lnTo>
                    <a:pt x="74486" y="110681"/>
                  </a:lnTo>
                  <a:lnTo>
                    <a:pt x="19590" y="110681"/>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grpSp>
      <p:grpSp>
        <p:nvGrpSpPr>
          <p:cNvPr id="72" name="Google Shape;1654;p92">
            <a:extLst>
              <a:ext uri="{FF2B5EF4-FFF2-40B4-BE49-F238E27FC236}">
                <a16:creationId xmlns:a16="http://schemas.microsoft.com/office/drawing/2014/main" id="{8FEA0D19-AAD4-085C-E5AD-B7997ACDC4C3}"/>
              </a:ext>
            </a:extLst>
          </p:cNvPr>
          <p:cNvGrpSpPr/>
          <p:nvPr/>
        </p:nvGrpSpPr>
        <p:grpSpPr>
          <a:xfrm>
            <a:off x="11281088" y="1927275"/>
            <a:ext cx="360000" cy="360000"/>
            <a:chOff x="3523866" y="3895566"/>
            <a:chExt cx="457200" cy="457200"/>
          </a:xfrm>
          <a:solidFill>
            <a:schemeClr val="tx1"/>
          </a:solidFill>
        </p:grpSpPr>
        <p:sp>
          <p:nvSpPr>
            <p:cNvPr id="73" name="Google Shape;1655;p92">
              <a:extLst>
                <a:ext uri="{FF2B5EF4-FFF2-40B4-BE49-F238E27FC236}">
                  <a16:creationId xmlns:a16="http://schemas.microsoft.com/office/drawing/2014/main" id="{7B6212B5-AEF3-09C7-BF95-F185ECA402E0}"/>
                </a:ext>
              </a:extLst>
            </p:cNvPr>
            <p:cNvSpPr/>
            <p:nvPr/>
          </p:nvSpPr>
          <p:spPr>
            <a:xfrm>
              <a:off x="3721986" y="4124166"/>
              <a:ext cx="60959" cy="22828"/>
            </a:xfrm>
            <a:custGeom>
              <a:avLst/>
              <a:gdLst/>
              <a:ahLst/>
              <a:cxnLst/>
              <a:rect l="l" t="t" r="r" b="b"/>
              <a:pathLst>
                <a:path w="60959" h="22828" extrusionOk="0">
                  <a:moveTo>
                    <a:pt x="0" y="0"/>
                  </a:moveTo>
                  <a:lnTo>
                    <a:pt x="60960" y="0"/>
                  </a:lnTo>
                  <a:lnTo>
                    <a:pt x="60960" y="22828"/>
                  </a:lnTo>
                  <a:lnTo>
                    <a:pt x="0" y="22828"/>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4" name="Google Shape;1656;p92">
              <a:extLst>
                <a:ext uri="{FF2B5EF4-FFF2-40B4-BE49-F238E27FC236}">
                  <a16:creationId xmlns:a16="http://schemas.microsoft.com/office/drawing/2014/main" id="{0B2A879E-1978-42B5-0487-C00DB0806B7F}"/>
                </a:ext>
              </a:extLst>
            </p:cNvPr>
            <p:cNvSpPr/>
            <p:nvPr/>
          </p:nvSpPr>
          <p:spPr>
            <a:xfrm>
              <a:off x="3721986" y="4154614"/>
              <a:ext cx="60959" cy="22891"/>
            </a:xfrm>
            <a:custGeom>
              <a:avLst/>
              <a:gdLst/>
              <a:ahLst/>
              <a:cxnLst/>
              <a:rect l="l" t="t" r="r" b="b"/>
              <a:pathLst>
                <a:path w="60959" h="22891" extrusionOk="0">
                  <a:moveTo>
                    <a:pt x="0" y="0"/>
                  </a:moveTo>
                  <a:lnTo>
                    <a:pt x="60960" y="0"/>
                  </a:lnTo>
                  <a:lnTo>
                    <a:pt x="60960" y="22892"/>
                  </a:lnTo>
                  <a:lnTo>
                    <a:pt x="0" y="22892"/>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5" name="Google Shape;1657;p92">
              <a:extLst>
                <a:ext uri="{FF2B5EF4-FFF2-40B4-BE49-F238E27FC236}">
                  <a16:creationId xmlns:a16="http://schemas.microsoft.com/office/drawing/2014/main" id="{99BB8356-A0C8-58E3-691C-EFB85DCB4F5C}"/>
                </a:ext>
              </a:extLst>
            </p:cNvPr>
            <p:cNvSpPr/>
            <p:nvPr/>
          </p:nvSpPr>
          <p:spPr>
            <a:xfrm>
              <a:off x="3523866" y="3895566"/>
              <a:ext cx="457200" cy="457200"/>
            </a:xfrm>
            <a:custGeom>
              <a:avLst/>
              <a:gdLst/>
              <a:ahLst/>
              <a:cxnLst/>
              <a:rect l="l" t="t" r="r" b="b"/>
              <a:pathLst>
                <a:path w="457200" h="457200" extrusionOk="0">
                  <a:moveTo>
                    <a:pt x="0" y="0"/>
                  </a:moveTo>
                  <a:lnTo>
                    <a:pt x="0" y="457200"/>
                  </a:lnTo>
                  <a:lnTo>
                    <a:pt x="457200" y="457200"/>
                  </a:lnTo>
                  <a:lnTo>
                    <a:pt x="457200" y="0"/>
                  </a:lnTo>
                  <a:close/>
                  <a:moveTo>
                    <a:pt x="154813" y="436880"/>
                  </a:moveTo>
                  <a:lnTo>
                    <a:pt x="75438" y="436880"/>
                  </a:lnTo>
                  <a:lnTo>
                    <a:pt x="75438" y="167862"/>
                  </a:lnTo>
                  <a:lnTo>
                    <a:pt x="154813" y="167862"/>
                  </a:lnTo>
                  <a:lnTo>
                    <a:pt x="154813" y="436880"/>
                  </a:lnTo>
                  <a:close/>
                  <a:moveTo>
                    <a:pt x="240538" y="436880"/>
                  </a:moveTo>
                  <a:lnTo>
                    <a:pt x="215900" y="436880"/>
                  </a:lnTo>
                  <a:lnTo>
                    <a:pt x="215900" y="358966"/>
                  </a:lnTo>
                  <a:lnTo>
                    <a:pt x="240570" y="358966"/>
                  </a:lnTo>
                  <a:lnTo>
                    <a:pt x="240570" y="436880"/>
                  </a:lnTo>
                  <a:close/>
                  <a:moveTo>
                    <a:pt x="281813" y="147955"/>
                  </a:moveTo>
                  <a:lnTo>
                    <a:pt x="281813" y="436880"/>
                  </a:lnTo>
                  <a:lnTo>
                    <a:pt x="260350" y="436880"/>
                  </a:lnTo>
                  <a:lnTo>
                    <a:pt x="260350" y="339122"/>
                  </a:lnTo>
                  <a:lnTo>
                    <a:pt x="195929" y="339122"/>
                  </a:lnTo>
                  <a:lnTo>
                    <a:pt x="195929" y="436880"/>
                  </a:lnTo>
                  <a:lnTo>
                    <a:pt x="174625" y="436880"/>
                  </a:lnTo>
                  <a:lnTo>
                    <a:pt x="174625" y="81280"/>
                  </a:lnTo>
                  <a:lnTo>
                    <a:pt x="281591" y="81280"/>
                  </a:lnTo>
                  <a:lnTo>
                    <a:pt x="281591" y="147955"/>
                  </a:lnTo>
                  <a:close/>
                  <a:moveTo>
                    <a:pt x="381476" y="436880"/>
                  </a:moveTo>
                  <a:lnTo>
                    <a:pt x="302387" y="436880"/>
                  </a:lnTo>
                  <a:lnTo>
                    <a:pt x="302387" y="167862"/>
                  </a:lnTo>
                  <a:lnTo>
                    <a:pt x="381254" y="167862"/>
                  </a:lnTo>
                  <a:lnTo>
                    <a:pt x="381254" y="436880"/>
                  </a:lnTo>
                  <a:close/>
                  <a:moveTo>
                    <a:pt x="437579" y="436880"/>
                  </a:moveTo>
                  <a:lnTo>
                    <a:pt x="401066" y="436880"/>
                  </a:lnTo>
                  <a:lnTo>
                    <a:pt x="401066" y="147955"/>
                  </a:lnTo>
                  <a:lnTo>
                    <a:pt x="302387" y="147955"/>
                  </a:lnTo>
                  <a:lnTo>
                    <a:pt x="302387" y="61436"/>
                  </a:lnTo>
                  <a:lnTo>
                    <a:pt x="154813" y="61436"/>
                  </a:lnTo>
                  <a:lnTo>
                    <a:pt x="154813" y="148019"/>
                  </a:lnTo>
                  <a:lnTo>
                    <a:pt x="55626" y="148019"/>
                  </a:lnTo>
                  <a:lnTo>
                    <a:pt x="55626" y="436944"/>
                  </a:lnTo>
                  <a:lnTo>
                    <a:pt x="19844" y="436944"/>
                  </a:lnTo>
                  <a:lnTo>
                    <a:pt x="19844" y="19812"/>
                  </a:lnTo>
                  <a:lnTo>
                    <a:pt x="437356" y="19812"/>
                  </a:lnTo>
                  <a:lnTo>
                    <a:pt x="437356" y="43688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6" name="Google Shape;1658;p92">
              <a:extLst>
                <a:ext uri="{FF2B5EF4-FFF2-40B4-BE49-F238E27FC236}">
                  <a16:creationId xmlns:a16="http://schemas.microsoft.com/office/drawing/2014/main" id="{54E37425-B29E-D086-F8C5-72CECA15201B}"/>
                </a:ext>
              </a:extLst>
            </p:cNvPr>
            <p:cNvSpPr/>
            <p:nvPr/>
          </p:nvSpPr>
          <p:spPr>
            <a:xfrm>
              <a:off x="3721986" y="4002214"/>
              <a:ext cx="60959" cy="53371"/>
            </a:xfrm>
            <a:custGeom>
              <a:avLst/>
              <a:gdLst/>
              <a:ahLst/>
              <a:cxnLst/>
              <a:rect l="l" t="t" r="r" b="b"/>
              <a:pathLst>
                <a:path w="60959" h="53371" extrusionOk="0">
                  <a:moveTo>
                    <a:pt x="19463" y="53372"/>
                  </a:moveTo>
                  <a:lnTo>
                    <a:pt x="40481" y="53372"/>
                  </a:lnTo>
                  <a:lnTo>
                    <a:pt x="40481" y="35719"/>
                  </a:lnTo>
                  <a:lnTo>
                    <a:pt x="60960" y="35719"/>
                  </a:lnTo>
                  <a:lnTo>
                    <a:pt x="60960" y="17208"/>
                  </a:lnTo>
                  <a:lnTo>
                    <a:pt x="40481" y="17208"/>
                  </a:lnTo>
                  <a:lnTo>
                    <a:pt x="40481" y="0"/>
                  </a:lnTo>
                  <a:lnTo>
                    <a:pt x="19463" y="0"/>
                  </a:lnTo>
                  <a:lnTo>
                    <a:pt x="19463" y="17208"/>
                  </a:lnTo>
                  <a:lnTo>
                    <a:pt x="0" y="17208"/>
                  </a:lnTo>
                  <a:lnTo>
                    <a:pt x="0" y="35719"/>
                  </a:lnTo>
                  <a:lnTo>
                    <a:pt x="19463" y="35719"/>
                  </a:lnTo>
                  <a:lnTo>
                    <a:pt x="19463" y="53372"/>
                  </a:lnTo>
                  <a:lnTo>
                    <a:pt x="19463" y="53372"/>
                  </a:lnTo>
                  <a:lnTo>
                    <a:pt x="19463" y="53372"/>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7" name="Google Shape;1659;p92">
              <a:extLst>
                <a:ext uri="{FF2B5EF4-FFF2-40B4-BE49-F238E27FC236}">
                  <a16:creationId xmlns:a16="http://schemas.microsoft.com/office/drawing/2014/main" id="{C04E4FD5-21F3-B258-F123-DBF326A6E4A3}"/>
                </a:ext>
              </a:extLst>
            </p:cNvPr>
            <p:cNvSpPr/>
            <p:nvPr/>
          </p:nvSpPr>
          <p:spPr>
            <a:xfrm>
              <a:off x="3622926" y="4116514"/>
              <a:ext cx="30479" cy="15240"/>
            </a:xfrm>
            <a:custGeom>
              <a:avLst/>
              <a:gdLst/>
              <a:ahLst/>
              <a:cxnLst/>
              <a:rect l="l" t="t" r="r" b="b"/>
              <a:pathLst>
                <a:path w="30479" h="15240" extrusionOk="0">
                  <a:moveTo>
                    <a:pt x="0" y="0"/>
                  </a:moveTo>
                  <a:lnTo>
                    <a:pt x="30480" y="0"/>
                  </a:lnTo>
                  <a:lnTo>
                    <a:pt x="30480" y="15240"/>
                  </a:lnTo>
                  <a:lnTo>
                    <a:pt x="0" y="1524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8" name="Google Shape;1660;p92">
              <a:extLst>
                <a:ext uri="{FF2B5EF4-FFF2-40B4-BE49-F238E27FC236}">
                  <a16:creationId xmlns:a16="http://schemas.microsoft.com/office/drawing/2014/main" id="{C38BDBA8-C60E-3B32-804B-9C21599C1EB3}"/>
                </a:ext>
              </a:extLst>
            </p:cNvPr>
            <p:cNvSpPr/>
            <p:nvPr/>
          </p:nvSpPr>
          <p:spPr>
            <a:xfrm>
              <a:off x="3622926" y="4146994"/>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9" name="Google Shape;1661;p92">
              <a:extLst>
                <a:ext uri="{FF2B5EF4-FFF2-40B4-BE49-F238E27FC236}">
                  <a16:creationId xmlns:a16="http://schemas.microsoft.com/office/drawing/2014/main" id="{B8D8F72C-74AE-8317-14F4-B64632432806}"/>
                </a:ext>
              </a:extLst>
            </p:cNvPr>
            <p:cNvSpPr/>
            <p:nvPr/>
          </p:nvSpPr>
          <p:spPr>
            <a:xfrm>
              <a:off x="3622926" y="4185094"/>
              <a:ext cx="30479" cy="15271"/>
            </a:xfrm>
            <a:custGeom>
              <a:avLst/>
              <a:gdLst/>
              <a:ahLst/>
              <a:cxnLst/>
              <a:rect l="l" t="t" r="r" b="b"/>
              <a:pathLst>
                <a:path w="30479" h="15271" extrusionOk="0">
                  <a:moveTo>
                    <a:pt x="0" y="0"/>
                  </a:moveTo>
                  <a:lnTo>
                    <a:pt x="30480" y="0"/>
                  </a:lnTo>
                  <a:lnTo>
                    <a:pt x="30480" y="15272"/>
                  </a:lnTo>
                  <a:lnTo>
                    <a:pt x="0" y="15272"/>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0" name="Google Shape;1662;p92">
              <a:extLst>
                <a:ext uri="{FF2B5EF4-FFF2-40B4-BE49-F238E27FC236}">
                  <a16:creationId xmlns:a16="http://schemas.microsoft.com/office/drawing/2014/main" id="{E4966998-2A81-4222-FAB6-08407DCDE413}"/>
                </a:ext>
              </a:extLst>
            </p:cNvPr>
            <p:cNvSpPr/>
            <p:nvPr/>
          </p:nvSpPr>
          <p:spPr>
            <a:xfrm>
              <a:off x="3622926" y="4215606"/>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1" name="Google Shape;1663;p92">
              <a:extLst>
                <a:ext uri="{FF2B5EF4-FFF2-40B4-BE49-F238E27FC236}">
                  <a16:creationId xmlns:a16="http://schemas.microsoft.com/office/drawing/2014/main" id="{C27D324E-78CF-5109-A4A8-3FB8E8A86526}"/>
                </a:ext>
              </a:extLst>
            </p:cNvPr>
            <p:cNvSpPr/>
            <p:nvPr/>
          </p:nvSpPr>
          <p:spPr>
            <a:xfrm>
              <a:off x="3622926" y="4253706"/>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2" name="Google Shape;1664;p92">
              <a:extLst>
                <a:ext uri="{FF2B5EF4-FFF2-40B4-BE49-F238E27FC236}">
                  <a16:creationId xmlns:a16="http://schemas.microsoft.com/office/drawing/2014/main" id="{1FA250DF-AA7A-C867-726E-0599271CD262}"/>
                </a:ext>
              </a:extLst>
            </p:cNvPr>
            <p:cNvSpPr/>
            <p:nvPr/>
          </p:nvSpPr>
          <p:spPr>
            <a:xfrm>
              <a:off x="3622926" y="4291806"/>
              <a:ext cx="30479" cy="15208"/>
            </a:xfrm>
            <a:custGeom>
              <a:avLst/>
              <a:gdLst/>
              <a:ahLst/>
              <a:cxnLst/>
              <a:rect l="l" t="t" r="r" b="b"/>
              <a:pathLst>
                <a:path w="30479" h="15208" extrusionOk="0">
                  <a:moveTo>
                    <a:pt x="0" y="0"/>
                  </a:moveTo>
                  <a:lnTo>
                    <a:pt x="30480" y="0"/>
                  </a:lnTo>
                  <a:lnTo>
                    <a:pt x="30480" y="15208"/>
                  </a:lnTo>
                  <a:lnTo>
                    <a:pt x="0" y="15208"/>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3" name="Google Shape;1665;p92">
              <a:extLst>
                <a:ext uri="{FF2B5EF4-FFF2-40B4-BE49-F238E27FC236}">
                  <a16:creationId xmlns:a16="http://schemas.microsoft.com/office/drawing/2014/main" id="{7EAE60EC-5F19-C235-B8C9-161E7B875E14}"/>
                </a:ext>
              </a:extLst>
            </p:cNvPr>
            <p:cNvSpPr/>
            <p:nvPr/>
          </p:nvSpPr>
          <p:spPr>
            <a:xfrm>
              <a:off x="3851525" y="4116514"/>
              <a:ext cx="22860" cy="15240"/>
            </a:xfrm>
            <a:custGeom>
              <a:avLst/>
              <a:gdLst/>
              <a:ahLst/>
              <a:cxnLst/>
              <a:rect l="l" t="t" r="r" b="b"/>
              <a:pathLst>
                <a:path w="22860" h="15240" extrusionOk="0">
                  <a:moveTo>
                    <a:pt x="0" y="0"/>
                  </a:moveTo>
                  <a:lnTo>
                    <a:pt x="22860" y="0"/>
                  </a:lnTo>
                  <a:lnTo>
                    <a:pt x="22860" y="15240"/>
                  </a:lnTo>
                  <a:lnTo>
                    <a:pt x="0" y="1524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4" name="Google Shape;1666;p92">
              <a:extLst>
                <a:ext uri="{FF2B5EF4-FFF2-40B4-BE49-F238E27FC236}">
                  <a16:creationId xmlns:a16="http://schemas.microsoft.com/office/drawing/2014/main" id="{0DE1B29D-4A8B-427A-55FD-CBD5DE51C8B7}"/>
                </a:ext>
              </a:extLst>
            </p:cNvPr>
            <p:cNvSpPr/>
            <p:nvPr/>
          </p:nvSpPr>
          <p:spPr>
            <a:xfrm>
              <a:off x="3851525" y="4146994"/>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5" name="Google Shape;1667;p92">
              <a:extLst>
                <a:ext uri="{FF2B5EF4-FFF2-40B4-BE49-F238E27FC236}">
                  <a16:creationId xmlns:a16="http://schemas.microsoft.com/office/drawing/2014/main" id="{CC31E929-99A2-84E9-A833-965C75326A58}"/>
                </a:ext>
              </a:extLst>
            </p:cNvPr>
            <p:cNvSpPr/>
            <p:nvPr/>
          </p:nvSpPr>
          <p:spPr>
            <a:xfrm>
              <a:off x="3851525" y="4185094"/>
              <a:ext cx="22860" cy="15271"/>
            </a:xfrm>
            <a:custGeom>
              <a:avLst/>
              <a:gdLst/>
              <a:ahLst/>
              <a:cxnLst/>
              <a:rect l="l" t="t" r="r" b="b"/>
              <a:pathLst>
                <a:path w="22860" h="15271" extrusionOk="0">
                  <a:moveTo>
                    <a:pt x="0" y="0"/>
                  </a:moveTo>
                  <a:lnTo>
                    <a:pt x="22860" y="0"/>
                  </a:lnTo>
                  <a:lnTo>
                    <a:pt x="22860" y="15272"/>
                  </a:lnTo>
                  <a:lnTo>
                    <a:pt x="0" y="15272"/>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6" name="Google Shape;1668;p92">
              <a:extLst>
                <a:ext uri="{FF2B5EF4-FFF2-40B4-BE49-F238E27FC236}">
                  <a16:creationId xmlns:a16="http://schemas.microsoft.com/office/drawing/2014/main" id="{15545845-7745-1ECB-BF84-9C7592183F7A}"/>
                </a:ext>
              </a:extLst>
            </p:cNvPr>
            <p:cNvSpPr/>
            <p:nvPr/>
          </p:nvSpPr>
          <p:spPr>
            <a:xfrm>
              <a:off x="3851525" y="4215606"/>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7" name="Google Shape;1669;p92">
              <a:extLst>
                <a:ext uri="{FF2B5EF4-FFF2-40B4-BE49-F238E27FC236}">
                  <a16:creationId xmlns:a16="http://schemas.microsoft.com/office/drawing/2014/main" id="{FDFD5712-4ACE-BB16-5B8D-25F96EC1BC2B}"/>
                </a:ext>
              </a:extLst>
            </p:cNvPr>
            <p:cNvSpPr/>
            <p:nvPr/>
          </p:nvSpPr>
          <p:spPr>
            <a:xfrm>
              <a:off x="3851525" y="4253706"/>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8" name="Google Shape;1670;p92">
              <a:extLst>
                <a:ext uri="{FF2B5EF4-FFF2-40B4-BE49-F238E27FC236}">
                  <a16:creationId xmlns:a16="http://schemas.microsoft.com/office/drawing/2014/main" id="{DD248765-9838-3FD8-E6D3-1C7FFEEF9D7D}"/>
                </a:ext>
              </a:extLst>
            </p:cNvPr>
            <p:cNvSpPr/>
            <p:nvPr/>
          </p:nvSpPr>
          <p:spPr>
            <a:xfrm>
              <a:off x="3851525" y="4291806"/>
              <a:ext cx="22860" cy="15208"/>
            </a:xfrm>
            <a:custGeom>
              <a:avLst/>
              <a:gdLst/>
              <a:ahLst/>
              <a:cxnLst/>
              <a:rect l="l" t="t" r="r" b="b"/>
              <a:pathLst>
                <a:path w="22860" h="15208" extrusionOk="0">
                  <a:moveTo>
                    <a:pt x="0" y="0"/>
                  </a:moveTo>
                  <a:lnTo>
                    <a:pt x="22860" y="0"/>
                  </a:lnTo>
                  <a:lnTo>
                    <a:pt x="22860" y="15208"/>
                  </a:lnTo>
                  <a:lnTo>
                    <a:pt x="0" y="15208"/>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grpSp>
      <p:sp>
        <p:nvSpPr>
          <p:cNvPr id="89" name="Content Placeholder 1">
            <a:extLst>
              <a:ext uri="{FF2B5EF4-FFF2-40B4-BE49-F238E27FC236}">
                <a16:creationId xmlns:a16="http://schemas.microsoft.com/office/drawing/2014/main" id="{B8B03AD2-01F2-EE79-5FD2-B6C5C3225B69}"/>
              </a:ext>
            </a:extLst>
          </p:cNvPr>
          <p:cNvSpPr txBox="1">
            <a:spLocks/>
          </p:cNvSpPr>
          <p:nvPr/>
        </p:nvSpPr>
        <p:spPr>
          <a:xfrm>
            <a:off x="5269224" y="181927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93" name="Content Placeholder 1">
            <a:extLst>
              <a:ext uri="{FF2B5EF4-FFF2-40B4-BE49-F238E27FC236}">
                <a16:creationId xmlns:a16="http://schemas.microsoft.com/office/drawing/2014/main" id="{5D366C9B-225E-CEA0-72EB-D85F0DA52B9E}"/>
              </a:ext>
            </a:extLst>
          </p:cNvPr>
          <p:cNvSpPr txBox="1">
            <a:spLocks/>
          </p:cNvSpPr>
          <p:nvPr/>
        </p:nvSpPr>
        <p:spPr>
          <a:xfrm>
            <a:off x="6275388" y="2617366"/>
            <a:ext cx="5473700" cy="1654874"/>
          </a:xfrm>
          <a:prstGeom prst="rect">
            <a:avLst/>
          </a:prstGeom>
          <a:solidFill>
            <a:schemeClr val="bg1">
              <a:lumMod val="95000"/>
            </a:schemeClr>
          </a:solidFill>
        </p:spPr>
        <p:txBody>
          <a:bodyPr vert="horz" lIns="72000" tIns="72000" rIns="72000" bIns="7200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endParaRPr lang="lv-LV" sz="1400" b="0">
              <a:solidFill>
                <a:schemeClr val="tx1"/>
              </a:solidFill>
            </a:endParaRPr>
          </a:p>
        </p:txBody>
      </p:sp>
      <p:sp>
        <p:nvSpPr>
          <p:cNvPr id="94" name="TextBox 93">
            <a:extLst>
              <a:ext uri="{FF2B5EF4-FFF2-40B4-BE49-F238E27FC236}">
                <a16:creationId xmlns:a16="http://schemas.microsoft.com/office/drawing/2014/main" id="{ECEF0416-3FCC-3A4B-65C3-F9459EDEFA45}"/>
              </a:ext>
            </a:extLst>
          </p:cNvPr>
          <p:cNvSpPr txBox="1"/>
          <p:nvPr/>
        </p:nvSpPr>
        <p:spPr>
          <a:xfrm>
            <a:off x="442912" y="2618031"/>
            <a:ext cx="5473700" cy="1652934"/>
          </a:xfrm>
          <a:prstGeom prst="rect">
            <a:avLst/>
          </a:prstGeom>
          <a:solidFill>
            <a:schemeClr val="bg1">
              <a:lumMod val="95000"/>
            </a:schemeClr>
          </a:solidFill>
        </p:spPr>
        <p:txBody>
          <a:bodyPr wrap="square" lIns="72000" tIns="72000" rIns="72000" bIns="72000">
            <a:noAutofit/>
          </a:bodyPr>
          <a:lstStyle/>
          <a:p>
            <a:endParaRPr lang="lv-LV" sz="1400"/>
          </a:p>
        </p:txBody>
      </p:sp>
      <p:sp>
        <p:nvSpPr>
          <p:cNvPr id="2" name="Rectangle 1">
            <a:extLst>
              <a:ext uri="{FF2B5EF4-FFF2-40B4-BE49-F238E27FC236}">
                <a16:creationId xmlns:a16="http://schemas.microsoft.com/office/drawing/2014/main" id="{06CA5123-FA6E-5376-B3D9-BDF5B08EA25B}"/>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18" name="Group 17">
            <a:extLst>
              <a:ext uri="{FF2B5EF4-FFF2-40B4-BE49-F238E27FC236}">
                <a16:creationId xmlns:a16="http://schemas.microsoft.com/office/drawing/2014/main" id="{9B759D3A-70EC-3263-D767-3E553E4C2434}"/>
              </a:ext>
            </a:extLst>
          </p:cNvPr>
          <p:cNvGrpSpPr/>
          <p:nvPr/>
        </p:nvGrpSpPr>
        <p:grpSpPr>
          <a:xfrm>
            <a:off x="10133935" y="126781"/>
            <a:ext cx="1615153" cy="217488"/>
            <a:chOff x="10133935" y="126781"/>
            <a:chExt cx="1615153" cy="217488"/>
          </a:xfrm>
        </p:grpSpPr>
        <p:sp>
          <p:nvSpPr>
            <p:cNvPr id="12" name="Rectangle 11">
              <a:extLst>
                <a:ext uri="{FF2B5EF4-FFF2-40B4-BE49-F238E27FC236}">
                  <a16:creationId xmlns:a16="http://schemas.microsoft.com/office/drawing/2014/main" id="{437AFA95-4629-E445-8011-A1331848A9C1}"/>
                </a:ext>
              </a:extLst>
            </p:cNvPr>
            <p:cNvSpPr/>
            <p:nvPr/>
          </p:nvSpPr>
          <p:spPr>
            <a:xfrm>
              <a:off x="10133935"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000000"/>
                  </a:solidFill>
                  <a:ea typeface="Georgia"/>
                  <a:cs typeface="Georgia"/>
                  <a:sym typeface="Georgia"/>
                </a:rPr>
                <a:t>7</a:t>
              </a:r>
              <a:r>
                <a:rPr kumimoji="0" lang="lv-LV" sz="800" b="1" i="0" u="none" strike="noStrike" kern="0" cap="none" spc="0" normalizeH="0" baseline="0">
                  <a:ln>
                    <a:noFill/>
                  </a:ln>
                  <a:solidFill>
                    <a:srgbClr val="000000"/>
                  </a:solidFill>
                  <a:effectLst/>
                  <a:uLnTx/>
                  <a:uFillTx/>
                  <a:ea typeface="Georgia"/>
                  <a:cs typeface="Georgia"/>
                  <a:sym typeface="Georgia"/>
                </a:rPr>
                <a:t>.1</a:t>
              </a:r>
            </a:p>
          </p:txBody>
        </p:sp>
        <p:sp>
          <p:nvSpPr>
            <p:cNvPr id="13" name="Rectangle 12">
              <a:extLst>
                <a:ext uri="{FF2B5EF4-FFF2-40B4-BE49-F238E27FC236}">
                  <a16:creationId xmlns:a16="http://schemas.microsoft.com/office/drawing/2014/main" id="{07F853EE-4954-F93E-0658-251452786CF6}"/>
                </a:ext>
              </a:extLst>
            </p:cNvPr>
            <p:cNvSpPr/>
            <p:nvPr/>
          </p:nvSpPr>
          <p:spPr>
            <a:xfrm>
              <a:off x="10374320" y="126781"/>
              <a:ext cx="413227"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rgbClr val="000000"/>
                  </a:solidFill>
                  <a:effectLst/>
                  <a:uLnTx/>
                  <a:uFillTx/>
                  <a:ea typeface="Georgia"/>
                  <a:cs typeface="Georgia"/>
                  <a:sym typeface="Georgia"/>
                </a:rPr>
                <a:t>Ievads</a:t>
              </a:r>
            </a:p>
          </p:txBody>
        </p:sp>
        <p:sp>
          <p:nvSpPr>
            <p:cNvPr id="14" name="Rectangle 13">
              <a:extLst>
                <a:ext uri="{FF2B5EF4-FFF2-40B4-BE49-F238E27FC236}">
                  <a16:creationId xmlns:a16="http://schemas.microsoft.com/office/drawing/2014/main" id="{47611A2B-87DE-E012-FBEB-CD8C3F27162D}"/>
                </a:ext>
              </a:extLst>
            </p:cNvPr>
            <p:cNvSpPr/>
            <p:nvPr/>
          </p:nvSpPr>
          <p:spPr>
            <a:xfrm>
              <a:off x="1081193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lv-LV" sz="800" b="1" i="0" u="none" strike="noStrike" kern="0" cap="none" spc="0" normalizeH="0" baseline="0">
                  <a:ln>
                    <a:noFill/>
                  </a:ln>
                  <a:solidFill>
                    <a:schemeClr val="accent1"/>
                  </a:solidFill>
                  <a:effectLst/>
                  <a:uLnTx/>
                  <a:uFillTx/>
                  <a:ea typeface="Georgia"/>
                  <a:cs typeface="Georgia"/>
                  <a:sym typeface="Georgia"/>
                </a:rPr>
                <a:t>.2</a:t>
              </a:r>
            </a:p>
          </p:txBody>
        </p:sp>
        <p:sp>
          <p:nvSpPr>
            <p:cNvPr id="15" name="Rectangle 14">
              <a:extLst>
                <a:ext uri="{FF2B5EF4-FFF2-40B4-BE49-F238E27FC236}">
                  <a16:creationId xmlns:a16="http://schemas.microsoft.com/office/drawing/2014/main" id="{F075C420-0F8B-D5BA-BC4C-BE0D5D4A9645}"/>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lv-LV" sz="800" b="1" i="0" u="none" strike="noStrike" kern="0" cap="none" spc="0" normalizeH="0" baseline="0">
                  <a:ln>
                    <a:noFill/>
                  </a:ln>
                  <a:solidFill>
                    <a:schemeClr val="accent1"/>
                  </a:solidFill>
                  <a:effectLst/>
                  <a:uLnTx/>
                  <a:uFillTx/>
                  <a:ea typeface="Georgia"/>
                  <a:cs typeface="Georgia"/>
                  <a:sym typeface="Georgia"/>
                </a:rPr>
                <a:t>.3</a:t>
              </a:r>
            </a:p>
          </p:txBody>
        </p:sp>
        <p:sp>
          <p:nvSpPr>
            <p:cNvPr id="16" name="Rectangle 15">
              <a:extLst>
                <a:ext uri="{FF2B5EF4-FFF2-40B4-BE49-F238E27FC236}">
                  <a16:creationId xmlns:a16="http://schemas.microsoft.com/office/drawing/2014/main" id="{E8603D44-7F97-0FEA-D908-A5DDE8A41CC8}"/>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lv-LV" sz="800" b="1" i="0" u="none" strike="noStrike" kern="0" cap="none" spc="0" normalizeH="0" baseline="0">
                  <a:ln>
                    <a:noFill/>
                  </a:ln>
                  <a:solidFill>
                    <a:schemeClr val="accent1"/>
                  </a:solidFill>
                  <a:effectLst/>
                  <a:uLnTx/>
                  <a:uFillTx/>
                  <a:ea typeface="Georgia"/>
                  <a:cs typeface="Georgia"/>
                  <a:sym typeface="Georgia"/>
                </a:rPr>
                <a:t>.4</a:t>
              </a:r>
            </a:p>
          </p:txBody>
        </p:sp>
        <p:sp>
          <p:nvSpPr>
            <p:cNvPr id="17" name="Rectangle 16">
              <a:extLst>
                <a:ext uri="{FF2B5EF4-FFF2-40B4-BE49-F238E27FC236}">
                  <a16:creationId xmlns:a16="http://schemas.microsoft.com/office/drawing/2014/main" id="{F94A9033-6BFC-B403-C388-86F98F207B0B}"/>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7.5</a:t>
              </a:r>
            </a:p>
          </p:txBody>
        </p:sp>
      </p:grpSp>
    </p:spTree>
    <p:extLst>
      <p:ext uri="{BB962C8B-B14F-4D97-AF65-F5344CB8AC3E}">
        <p14:creationId xmlns:p14="http://schemas.microsoft.com/office/powerpoint/2010/main" val="3993284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C2DF85F-5191-4C4E-A171-D5D7BF03C769}"/>
              </a:ext>
            </a:extLst>
          </p:cNvPr>
          <p:cNvGraphicFramePr>
            <a:graphicFrameLocks noChangeAspect="1"/>
          </p:cNvGraphicFramePr>
          <p:nvPr>
            <p:custDataLst>
              <p:tags r:id="rId1"/>
            </p:custDataLst>
            <p:extLst>
              <p:ext uri="{D42A27DB-BD31-4B8C-83A1-F6EECF244321}">
                <p14:modId xmlns:p14="http://schemas.microsoft.com/office/powerpoint/2010/main" val="3450959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3" name="think-cell data - do not delete" hidden="1">
                        <a:extLst>
                          <a:ext uri="{FF2B5EF4-FFF2-40B4-BE49-F238E27FC236}">
                            <a16:creationId xmlns:a16="http://schemas.microsoft.com/office/drawing/2014/main" id="{DC2DF85F-5191-4C4E-A171-D5D7BF03C7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4" name="Picture 63">
            <a:extLst>
              <a:ext uri="{FF2B5EF4-FFF2-40B4-BE49-F238E27FC236}">
                <a16:creationId xmlns:a16="http://schemas.microsoft.com/office/drawing/2014/main" id="{36D90A11-D58F-ADC1-FEA3-0420A9354C0F}"/>
              </a:ext>
            </a:extLst>
          </p:cNvPr>
          <p:cNvPicPr>
            <a:picLocks noChangeAspect="1"/>
          </p:cNvPicPr>
          <p:nvPr/>
        </p:nvPicPr>
        <p:blipFill rotWithShape="1">
          <a:blip r:embed="rId5"/>
          <a:srcRect t="39441" b="33373"/>
          <a:stretch/>
        </p:blipFill>
        <p:spPr>
          <a:xfrm>
            <a:off x="0" y="4648200"/>
            <a:ext cx="12192000" cy="2209800"/>
          </a:xfrm>
          <a:prstGeom prst="rect">
            <a:avLst/>
          </a:prstGeom>
        </p:spPr>
      </p:pic>
      <p:sp>
        <p:nvSpPr>
          <p:cNvPr id="65" name="Rectangle 64">
            <a:extLst>
              <a:ext uri="{FF2B5EF4-FFF2-40B4-BE49-F238E27FC236}">
                <a16:creationId xmlns:a16="http://schemas.microsoft.com/office/drawing/2014/main" id="{6D2F5831-19CB-8E2E-E436-E08C83663D19}"/>
              </a:ext>
            </a:extLst>
          </p:cNvPr>
          <p:cNvSpPr/>
          <p:nvPr/>
        </p:nvSpPr>
        <p:spPr>
          <a:xfrm>
            <a:off x="0" y="4648200"/>
            <a:ext cx="12192000" cy="22098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 name="Title 2">
            <a:extLst>
              <a:ext uri="{FF2B5EF4-FFF2-40B4-BE49-F238E27FC236}">
                <a16:creationId xmlns:a16="http://schemas.microsoft.com/office/drawing/2014/main" id="{AAFE076C-9B8C-9BB3-8680-7E4B60DEC21C}"/>
              </a:ext>
            </a:extLst>
          </p:cNvPr>
          <p:cNvSpPr>
            <a:spLocks noGrp="1"/>
          </p:cNvSpPr>
          <p:nvPr>
            <p:ph type="title"/>
          </p:nvPr>
        </p:nvSpPr>
        <p:spPr>
          <a:xfrm>
            <a:off x="442913" y="432001"/>
            <a:ext cx="11306175" cy="1387274"/>
          </a:xfrm>
        </p:spPr>
        <p:txBody>
          <a:bodyPr vert="horz"/>
          <a:lstStyle/>
          <a:p>
            <a:r>
              <a:rPr lang="lv-LV"/>
              <a:t>Vai Jūs zināt, kas ir pirmā palīdzība? Kā tā atšķiras no neatliekamās medicīniskās palīdzības?</a:t>
            </a:r>
            <a:br>
              <a:rPr lang="lv-LV"/>
            </a:br>
            <a:endParaRPr lang="lv-LV"/>
          </a:p>
        </p:txBody>
      </p:sp>
      <p:sp>
        <p:nvSpPr>
          <p:cNvPr id="4" name="Slide Number Placeholder 3">
            <a:extLst>
              <a:ext uri="{FF2B5EF4-FFF2-40B4-BE49-F238E27FC236}">
                <a16:creationId xmlns:a16="http://schemas.microsoft.com/office/drawing/2014/main" id="{51A056F4-4CF2-BBE9-52F6-908FF9154948}"/>
              </a:ext>
            </a:extLst>
          </p:cNvPr>
          <p:cNvSpPr>
            <a:spLocks noGrp="1"/>
          </p:cNvSpPr>
          <p:nvPr>
            <p:ph type="sldNum" sz="quarter" idx="11"/>
          </p:nvPr>
        </p:nvSpPr>
        <p:spPr>
          <a:xfrm>
            <a:off x="9984296" y="6492240"/>
            <a:ext cx="1764792" cy="137160"/>
          </a:xfrm>
        </p:spPr>
        <p:txBody>
          <a:bodyPr/>
          <a:lstStyle/>
          <a:p>
            <a:fld id="{7870704B-CE94-48CC-AF30-84932A1262A7}" type="slidenum">
              <a:rPr lang="lv-LV" smtClean="0">
                <a:solidFill>
                  <a:schemeClr val="bg1"/>
                </a:solidFill>
              </a:rPr>
              <a:pPr/>
              <a:t>6</a:t>
            </a:fld>
            <a:endParaRPr lang="lv-LV">
              <a:solidFill>
                <a:schemeClr val="bg1"/>
              </a:solidFill>
            </a:endParaRPr>
          </a:p>
        </p:txBody>
      </p:sp>
      <p:sp>
        <p:nvSpPr>
          <p:cNvPr id="2" name="Content Placeholder 1">
            <a:extLst>
              <a:ext uri="{FF2B5EF4-FFF2-40B4-BE49-F238E27FC236}">
                <a16:creationId xmlns:a16="http://schemas.microsoft.com/office/drawing/2014/main" id="{20E40FBF-934F-95FE-8778-92F849DEC1EA}"/>
              </a:ext>
            </a:extLst>
          </p:cNvPr>
          <p:cNvSpPr>
            <a:spLocks noGrp="1"/>
          </p:cNvSpPr>
          <p:nvPr>
            <p:ph type="body" sz="quarter" idx="13"/>
          </p:nvPr>
        </p:nvSpPr>
        <p:spPr>
          <a:xfrm>
            <a:off x="442913" y="6491287"/>
            <a:ext cx="3600000" cy="138113"/>
          </a:xfrm>
        </p:spPr>
        <p:txBody>
          <a:bodyPr/>
          <a:lstStyle/>
          <a:p>
            <a:r>
              <a:rPr lang="lv-LV">
                <a:solidFill>
                  <a:schemeClr val="bg1"/>
                </a:solidFill>
              </a:rPr>
              <a:t>Ārstniecības likuma 1. pants </a:t>
            </a:r>
          </a:p>
        </p:txBody>
      </p:sp>
      <p:sp>
        <p:nvSpPr>
          <p:cNvPr id="7" name="Content Placeholder 1">
            <a:extLst>
              <a:ext uri="{FF2B5EF4-FFF2-40B4-BE49-F238E27FC236}">
                <a16:creationId xmlns:a16="http://schemas.microsoft.com/office/drawing/2014/main" id="{11B054F7-BD3F-CC04-8F9A-A47566ADA21E}"/>
              </a:ext>
            </a:extLst>
          </p:cNvPr>
          <p:cNvSpPr txBox="1">
            <a:spLocks/>
          </p:cNvSpPr>
          <p:nvPr/>
        </p:nvSpPr>
        <p:spPr>
          <a:xfrm>
            <a:off x="6275388" y="2617366"/>
            <a:ext cx="5473700" cy="1654874"/>
          </a:xfrm>
          <a:prstGeom prst="rect">
            <a:avLst/>
          </a:prstGeom>
          <a:solidFill>
            <a:schemeClr val="bg1">
              <a:lumMod val="95000"/>
            </a:schemeClr>
          </a:solidFill>
        </p:spPr>
        <p:txBody>
          <a:bodyPr vert="horz" lIns="72000" tIns="72000" rIns="72000" bIns="7200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a:solidFill>
                  <a:schemeClr val="tx1"/>
                </a:solidFill>
              </a:rPr>
              <a:t>Palīdzība, ko cietušajiem (saslimušajiem) dzīvībai vai veselībai bīstamā kritiskā stāvoklī sniedz šādiem gadījumiem īpaši sagatavotas (apmācītas, ekipētas) personas ar atbilstošu kvalifikāciju medicīnā, kurām saskaņā ar šo kvalifikāciju ir juridiska atbildība par savu darbību vai bezdarbību un tās sekām.</a:t>
            </a:r>
          </a:p>
        </p:txBody>
      </p:sp>
      <p:sp>
        <p:nvSpPr>
          <p:cNvPr id="44" name="TextBox 43">
            <a:extLst>
              <a:ext uri="{FF2B5EF4-FFF2-40B4-BE49-F238E27FC236}">
                <a16:creationId xmlns:a16="http://schemas.microsoft.com/office/drawing/2014/main" id="{D451C3AD-BF06-A491-5B76-787F273C0C52}"/>
              </a:ext>
            </a:extLst>
          </p:cNvPr>
          <p:cNvSpPr txBox="1"/>
          <p:nvPr/>
        </p:nvSpPr>
        <p:spPr>
          <a:xfrm>
            <a:off x="442912" y="2618031"/>
            <a:ext cx="5473700" cy="1652934"/>
          </a:xfrm>
          <a:prstGeom prst="rect">
            <a:avLst/>
          </a:prstGeom>
          <a:solidFill>
            <a:schemeClr val="bg1">
              <a:lumMod val="95000"/>
            </a:schemeClr>
          </a:solidFill>
        </p:spPr>
        <p:txBody>
          <a:bodyPr wrap="square" lIns="72000" tIns="72000" rIns="72000" bIns="72000">
            <a:noAutofit/>
          </a:bodyPr>
          <a:lstStyle/>
          <a:p>
            <a:r>
              <a:rPr lang="lv-LV" sz="1400"/>
              <a:t>Palīdzība, ko cietušajiem (saslimušajiem) dzīvībai vai veselībai kritiskā stāvoklī savu zināšanu un iespēju apjomā sniedz personas ar kvalifikāciju medicīnā vai bez tās neatkarīgi no sagatavotības un ekipējuma.</a:t>
            </a:r>
          </a:p>
        </p:txBody>
      </p:sp>
      <p:sp>
        <p:nvSpPr>
          <p:cNvPr id="49" name="Content Placeholder 1">
            <a:extLst>
              <a:ext uri="{FF2B5EF4-FFF2-40B4-BE49-F238E27FC236}">
                <a16:creationId xmlns:a16="http://schemas.microsoft.com/office/drawing/2014/main" id="{A6C28A3C-A620-B16D-4B58-91E913FDA302}"/>
              </a:ext>
            </a:extLst>
          </p:cNvPr>
          <p:cNvSpPr txBox="1">
            <a:spLocks/>
          </p:cNvSpPr>
          <p:nvPr/>
        </p:nvSpPr>
        <p:spPr>
          <a:xfrm>
            <a:off x="442913" y="1819275"/>
            <a:ext cx="5473699"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bg1"/>
                </a:solidFill>
              </a:rPr>
              <a:t>Pirmā palīdzība</a:t>
            </a:r>
          </a:p>
        </p:txBody>
      </p:sp>
      <p:sp>
        <p:nvSpPr>
          <p:cNvPr id="50" name="Content Placeholder 1">
            <a:extLst>
              <a:ext uri="{FF2B5EF4-FFF2-40B4-BE49-F238E27FC236}">
                <a16:creationId xmlns:a16="http://schemas.microsoft.com/office/drawing/2014/main" id="{B5ED44FD-99B9-EA5D-A6CA-13027AC18E14}"/>
              </a:ext>
            </a:extLst>
          </p:cNvPr>
          <p:cNvSpPr txBox="1">
            <a:spLocks/>
          </p:cNvSpPr>
          <p:nvPr/>
        </p:nvSpPr>
        <p:spPr>
          <a:xfrm>
            <a:off x="6275388" y="1819275"/>
            <a:ext cx="5473700" cy="576000"/>
          </a:xfrm>
          <a:prstGeom prst="rect">
            <a:avLst/>
          </a:prstGeom>
          <a:solidFill>
            <a:schemeClr val="accent3"/>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bg1"/>
                </a:solidFill>
              </a:rPr>
              <a:t>Neatliekamā medicīniskā palīdzība</a:t>
            </a:r>
          </a:p>
        </p:txBody>
      </p:sp>
      <p:sp>
        <p:nvSpPr>
          <p:cNvPr id="53" name="Content Placeholder 1">
            <a:extLst>
              <a:ext uri="{FF2B5EF4-FFF2-40B4-BE49-F238E27FC236}">
                <a16:creationId xmlns:a16="http://schemas.microsoft.com/office/drawing/2014/main" id="{E81B126C-1DE6-E834-F45C-027ED60209BD}"/>
              </a:ext>
            </a:extLst>
          </p:cNvPr>
          <p:cNvSpPr txBox="1">
            <a:spLocks/>
          </p:cNvSpPr>
          <p:nvPr/>
        </p:nvSpPr>
        <p:spPr>
          <a:xfrm>
            <a:off x="11173088" y="181927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56" name="Content Placeholder 1">
            <a:extLst>
              <a:ext uri="{FF2B5EF4-FFF2-40B4-BE49-F238E27FC236}">
                <a16:creationId xmlns:a16="http://schemas.microsoft.com/office/drawing/2014/main" id="{91FD7191-EBCA-832B-EE38-C0AD6980C89C}"/>
              </a:ext>
            </a:extLst>
          </p:cNvPr>
          <p:cNvSpPr txBox="1">
            <a:spLocks/>
          </p:cNvSpPr>
          <p:nvPr/>
        </p:nvSpPr>
        <p:spPr>
          <a:xfrm>
            <a:off x="11105135" y="181927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54" name="Content Placeholder 1">
            <a:extLst>
              <a:ext uri="{FF2B5EF4-FFF2-40B4-BE49-F238E27FC236}">
                <a16:creationId xmlns:a16="http://schemas.microsoft.com/office/drawing/2014/main" id="{24C1A375-8C7A-FB4D-7F47-F1622BECD0DA}"/>
              </a:ext>
            </a:extLst>
          </p:cNvPr>
          <p:cNvSpPr txBox="1">
            <a:spLocks/>
          </p:cNvSpPr>
          <p:nvPr/>
        </p:nvSpPr>
        <p:spPr>
          <a:xfrm>
            <a:off x="5340612" y="181927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59" name="TextBox 58">
            <a:extLst>
              <a:ext uri="{FF2B5EF4-FFF2-40B4-BE49-F238E27FC236}">
                <a16:creationId xmlns:a16="http://schemas.microsoft.com/office/drawing/2014/main" id="{0B9A482D-D6B8-5CBF-C3DA-64F6DB0BD51D}"/>
              </a:ext>
            </a:extLst>
          </p:cNvPr>
          <p:cNvSpPr txBox="1"/>
          <p:nvPr/>
        </p:nvSpPr>
        <p:spPr>
          <a:xfrm>
            <a:off x="442912" y="3694702"/>
            <a:ext cx="5473700" cy="576263"/>
          </a:xfrm>
          <a:prstGeom prst="rect">
            <a:avLst/>
          </a:prstGeom>
          <a:solidFill>
            <a:schemeClr val="accent5"/>
          </a:solidFill>
        </p:spPr>
        <p:txBody>
          <a:bodyPr wrap="square" lIns="72000" tIns="72000" rIns="72000" bIns="72000" anchor="ctr">
            <a:noAutofit/>
          </a:bodyPr>
          <a:lstStyle/>
          <a:p>
            <a:pPr algn="ctr">
              <a:lnSpc>
                <a:spcPct val="100000"/>
              </a:lnSpc>
              <a:spcAft>
                <a:spcPts val="600"/>
              </a:spcAft>
              <a:buSzPct val="100000"/>
            </a:pPr>
            <a:r>
              <a:rPr lang="lv-LV" sz="1600" b="1"/>
              <a:t>Šī kursa fokuss</a:t>
            </a:r>
          </a:p>
        </p:txBody>
      </p:sp>
      <p:sp>
        <p:nvSpPr>
          <p:cNvPr id="8" name="Freeform 60">
            <a:extLst>
              <a:ext uri="{FF2B5EF4-FFF2-40B4-BE49-F238E27FC236}">
                <a16:creationId xmlns:a16="http://schemas.microsoft.com/office/drawing/2014/main" id="{A2A4EF95-EBC5-2113-75C0-757B07E343F3}"/>
              </a:ext>
            </a:extLst>
          </p:cNvPr>
          <p:cNvSpPr>
            <a:spLocks noChangeAspect="1" noEditPoints="1"/>
          </p:cNvSpPr>
          <p:nvPr/>
        </p:nvSpPr>
        <p:spPr bwMode="auto">
          <a:xfrm>
            <a:off x="1709864" y="3808642"/>
            <a:ext cx="348382" cy="34838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chemeClr val="accent3"/>
          </a:solidFill>
          <a:ln>
            <a:noFill/>
          </a:ln>
        </p:spPr>
        <p:txBody>
          <a:bodyPr vert="horz" wrap="square" lIns="49923" tIns="24961" rIns="49923" bIns="24961" numCol="1" anchor="t" anchorCtr="0" compatLnSpc="1">
            <a:prstTxWarp prst="textNoShape">
              <a:avLst/>
            </a:prstTxWarp>
          </a:bodyPr>
          <a:lstStyle/>
          <a:p>
            <a:endParaRPr lang="lv-LV" sz="983">
              <a:solidFill>
                <a:schemeClr val="accent1"/>
              </a:solidFill>
            </a:endParaRPr>
          </a:p>
        </p:txBody>
      </p:sp>
      <p:sp>
        <p:nvSpPr>
          <p:cNvPr id="90" name="Content Placeholder 1">
            <a:extLst>
              <a:ext uri="{FF2B5EF4-FFF2-40B4-BE49-F238E27FC236}">
                <a16:creationId xmlns:a16="http://schemas.microsoft.com/office/drawing/2014/main" id="{D00B4179-08F8-09B5-BD0A-9A04267AF1DF}"/>
              </a:ext>
            </a:extLst>
          </p:cNvPr>
          <p:cNvSpPr txBox="1">
            <a:spLocks/>
          </p:cNvSpPr>
          <p:nvPr/>
        </p:nvSpPr>
        <p:spPr>
          <a:xfrm>
            <a:off x="5269224" y="181927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grpSp>
        <p:nvGrpSpPr>
          <p:cNvPr id="5" name="Google Shape;1543;p92">
            <a:extLst>
              <a:ext uri="{FF2B5EF4-FFF2-40B4-BE49-F238E27FC236}">
                <a16:creationId xmlns:a16="http://schemas.microsoft.com/office/drawing/2014/main" id="{F3DC2FB6-68B5-BA33-86F8-F122CDF00F85}"/>
              </a:ext>
            </a:extLst>
          </p:cNvPr>
          <p:cNvGrpSpPr/>
          <p:nvPr/>
        </p:nvGrpSpPr>
        <p:grpSpPr>
          <a:xfrm>
            <a:off x="5448612" y="1927275"/>
            <a:ext cx="360000" cy="360000"/>
            <a:chOff x="11403518" y="3895566"/>
            <a:chExt cx="457200" cy="457200"/>
          </a:xfrm>
          <a:solidFill>
            <a:schemeClr val="tx1"/>
          </a:solidFill>
        </p:grpSpPr>
        <p:sp>
          <p:nvSpPr>
            <p:cNvPr id="6" name="Google Shape;1544;p92">
              <a:extLst>
                <a:ext uri="{FF2B5EF4-FFF2-40B4-BE49-F238E27FC236}">
                  <a16:creationId xmlns:a16="http://schemas.microsoft.com/office/drawing/2014/main" id="{2433D90B-E7DC-1074-506C-53A72F530B6D}"/>
                </a:ext>
              </a:extLst>
            </p:cNvPr>
            <p:cNvSpPr/>
            <p:nvPr/>
          </p:nvSpPr>
          <p:spPr>
            <a:xfrm>
              <a:off x="11403518" y="3895566"/>
              <a:ext cx="457200" cy="457200"/>
            </a:xfrm>
            <a:custGeom>
              <a:avLst/>
              <a:gdLst/>
              <a:ahLst/>
              <a:cxnLst/>
              <a:rect l="l" t="t" r="r" b="b"/>
              <a:pathLst>
                <a:path w="457200" h="457200" extrusionOk="0">
                  <a:moveTo>
                    <a:pt x="358426" y="48038"/>
                  </a:moveTo>
                  <a:lnTo>
                    <a:pt x="358426" y="0"/>
                  </a:lnTo>
                  <a:lnTo>
                    <a:pt x="98774" y="0"/>
                  </a:lnTo>
                  <a:lnTo>
                    <a:pt x="98774" y="48038"/>
                  </a:lnTo>
                  <a:lnTo>
                    <a:pt x="0" y="48038"/>
                  </a:lnTo>
                  <a:lnTo>
                    <a:pt x="0" y="457200"/>
                  </a:lnTo>
                  <a:lnTo>
                    <a:pt x="457200" y="457200"/>
                  </a:lnTo>
                  <a:lnTo>
                    <a:pt x="457200" y="48038"/>
                  </a:lnTo>
                  <a:close/>
                  <a:moveTo>
                    <a:pt x="118300" y="19463"/>
                  </a:moveTo>
                  <a:lnTo>
                    <a:pt x="338900" y="19463"/>
                  </a:lnTo>
                  <a:lnTo>
                    <a:pt x="338900" y="47625"/>
                  </a:lnTo>
                  <a:lnTo>
                    <a:pt x="118300" y="47625"/>
                  </a:lnTo>
                  <a:close/>
                  <a:moveTo>
                    <a:pt x="19526" y="225679"/>
                  </a:moveTo>
                  <a:lnTo>
                    <a:pt x="86201" y="225679"/>
                  </a:lnTo>
                  <a:cubicBezTo>
                    <a:pt x="84633" y="234301"/>
                    <a:pt x="83836" y="243046"/>
                    <a:pt x="83820" y="251809"/>
                  </a:cubicBezTo>
                  <a:cubicBezTo>
                    <a:pt x="83817" y="261123"/>
                    <a:pt x="84711" y="270416"/>
                    <a:pt x="86487" y="279559"/>
                  </a:cubicBezTo>
                  <a:lnTo>
                    <a:pt x="19526" y="279559"/>
                  </a:lnTo>
                  <a:close/>
                  <a:moveTo>
                    <a:pt x="437674" y="437674"/>
                  </a:moveTo>
                  <a:lnTo>
                    <a:pt x="19526" y="437674"/>
                  </a:lnTo>
                  <a:lnTo>
                    <a:pt x="19526" y="299085"/>
                  </a:lnTo>
                  <a:lnTo>
                    <a:pt x="92075" y="299085"/>
                  </a:lnTo>
                  <a:cubicBezTo>
                    <a:pt x="118172" y="374574"/>
                    <a:pt x="200523" y="414614"/>
                    <a:pt x="276012" y="388515"/>
                  </a:cubicBezTo>
                  <a:cubicBezTo>
                    <a:pt x="317967" y="374012"/>
                    <a:pt x="350939" y="341039"/>
                    <a:pt x="365443" y="299085"/>
                  </a:cubicBezTo>
                  <a:lnTo>
                    <a:pt x="437832" y="299085"/>
                  </a:lnTo>
                  <a:close/>
                  <a:moveTo>
                    <a:pt x="103505" y="251809"/>
                  </a:moveTo>
                  <a:cubicBezTo>
                    <a:pt x="103502" y="243026"/>
                    <a:pt x="104428" y="234267"/>
                    <a:pt x="106267" y="225679"/>
                  </a:cubicBezTo>
                  <a:cubicBezTo>
                    <a:pt x="107691" y="219018"/>
                    <a:pt x="109666" y="212487"/>
                    <a:pt x="112173" y="206153"/>
                  </a:cubicBezTo>
                  <a:cubicBezTo>
                    <a:pt x="137346" y="141852"/>
                    <a:pt x="209879" y="110133"/>
                    <a:pt x="274180" y="135306"/>
                  </a:cubicBezTo>
                  <a:cubicBezTo>
                    <a:pt x="306639" y="148013"/>
                    <a:pt x="332321" y="173694"/>
                    <a:pt x="345027" y="206153"/>
                  </a:cubicBezTo>
                  <a:cubicBezTo>
                    <a:pt x="347532" y="212487"/>
                    <a:pt x="349510" y="219018"/>
                    <a:pt x="350933" y="225679"/>
                  </a:cubicBezTo>
                  <a:cubicBezTo>
                    <a:pt x="365373" y="293241"/>
                    <a:pt x="322307" y="359715"/>
                    <a:pt x="254743" y="374155"/>
                  </a:cubicBezTo>
                  <a:cubicBezTo>
                    <a:pt x="187181" y="388595"/>
                    <a:pt x="120706" y="345529"/>
                    <a:pt x="106267" y="277965"/>
                  </a:cubicBezTo>
                  <a:cubicBezTo>
                    <a:pt x="104430" y="269368"/>
                    <a:pt x="103504" y="260601"/>
                    <a:pt x="103505" y="251809"/>
                  </a:cubicBezTo>
                  <a:close/>
                  <a:moveTo>
                    <a:pt x="437674" y="279559"/>
                  </a:moveTo>
                  <a:lnTo>
                    <a:pt x="370554" y="279559"/>
                  </a:lnTo>
                  <a:cubicBezTo>
                    <a:pt x="372332" y="270416"/>
                    <a:pt x="373224" y="261123"/>
                    <a:pt x="373221" y="251809"/>
                  </a:cubicBezTo>
                  <a:cubicBezTo>
                    <a:pt x="373205" y="243046"/>
                    <a:pt x="372408" y="234301"/>
                    <a:pt x="370840" y="225679"/>
                  </a:cubicBezTo>
                  <a:lnTo>
                    <a:pt x="437515" y="225679"/>
                  </a:lnTo>
                  <a:close/>
                  <a:moveTo>
                    <a:pt x="437674" y="206153"/>
                  </a:moveTo>
                  <a:lnTo>
                    <a:pt x="365824" y="206153"/>
                  </a:lnTo>
                  <a:cubicBezTo>
                    <a:pt x="340604" y="130366"/>
                    <a:pt x="258724" y="89373"/>
                    <a:pt x="182938" y="114591"/>
                  </a:cubicBezTo>
                  <a:cubicBezTo>
                    <a:pt x="139696" y="128980"/>
                    <a:pt x="105766" y="162911"/>
                    <a:pt x="91377" y="206153"/>
                  </a:cubicBezTo>
                  <a:lnTo>
                    <a:pt x="19526" y="206153"/>
                  </a:lnTo>
                  <a:lnTo>
                    <a:pt x="19526" y="67564"/>
                  </a:lnTo>
                  <a:lnTo>
                    <a:pt x="437674" y="67564"/>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9" name="Google Shape;1545;p92">
              <a:extLst>
                <a:ext uri="{FF2B5EF4-FFF2-40B4-BE49-F238E27FC236}">
                  <a16:creationId xmlns:a16="http://schemas.microsoft.com/office/drawing/2014/main" id="{79CC5FE2-D0F9-19B2-E01D-F1228C678ED5}"/>
                </a:ext>
              </a:extLst>
            </p:cNvPr>
            <p:cNvSpPr/>
            <p:nvPr/>
          </p:nvSpPr>
          <p:spPr>
            <a:xfrm>
              <a:off x="11539503" y="4054760"/>
              <a:ext cx="185229" cy="185229"/>
            </a:xfrm>
            <a:custGeom>
              <a:avLst/>
              <a:gdLst/>
              <a:ahLst/>
              <a:cxnLst/>
              <a:rect l="l" t="t" r="r" b="b"/>
              <a:pathLst>
                <a:path w="185229" h="185229" extrusionOk="0">
                  <a:moveTo>
                    <a:pt x="54959" y="185230"/>
                  </a:moveTo>
                  <a:lnTo>
                    <a:pt x="130270" y="185230"/>
                  </a:lnTo>
                  <a:lnTo>
                    <a:pt x="130270" y="130270"/>
                  </a:lnTo>
                  <a:lnTo>
                    <a:pt x="185229" y="130270"/>
                  </a:lnTo>
                  <a:lnTo>
                    <a:pt x="185229" y="54959"/>
                  </a:lnTo>
                  <a:lnTo>
                    <a:pt x="130270" y="54959"/>
                  </a:lnTo>
                  <a:lnTo>
                    <a:pt x="130270" y="0"/>
                  </a:lnTo>
                  <a:lnTo>
                    <a:pt x="54959" y="0"/>
                  </a:lnTo>
                  <a:lnTo>
                    <a:pt x="54959" y="54959"/>
                  </a:lnTo>
                  <a:lnTo>
                    <a:pt x="0" y="54959"/>
                  </a:lnTo>
                  <a:lnTo>
                    <a:pt x="0" y="130270"/>
                  </a:lnTo>
                  <a:lnTo>
                    <a:pt x="54959" y="130270"/>
                  </a:lnTo>
                  <a:close/>
                  <a:moveTo>
                    <a:pt x="19590" y="110681"/>
                  </a:moveTo>
                  <a:lnTo>
                    <a:pt x="19590" y="74486"/>
                  </a:lnTo>
                  <a:lnTo>
                    <a:pt x="74486" y="74486"/>
                  </a:lnTo>
                  <a:lnTo>
                    <a:pt x="74486" y="19526"/>
                  </a:lnTo>
                  <a:lnTo>
                    <a:pt x="110744" y="19526"/>
                  </a:lnTo>
                  <a:lnTo>
                    <a:pt x="110744" y="74486"/>
                  </a:lnTo>
                  <a:lnTo>
                    <a:pt x="165640" y="74486"/>
                  </a:lnTo>
                  <a:lnTo>
                    <a:pt x="165640" y="110681"/>
                  </a:lnTo>
                  <a:lnTo>
                    <a:pt x="110744" y="110681"/>
                  </a:lnTo>
                  <a:lnTo>
                    <a:pt x="110744" y="165640"/>
                  </a:lnTo>
                  <a:lnTo>
                    <a:pt x="74486" y="165640"/>
                  </a:lnTo>
                  <a:lnTo>
                    <a:pt x="74486" y="110681"/>
                  </a:lnTo>
                  <a:lnTo>
                    <a:pt x="19590" y="110681"/>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grpSp>
      <p:grpSp>
        <p:nvGrpSpPr>
          <p:cNvPr id="10" name="Google Shape;1654;p92">
            <a:extLst>
              <a:ext uri="{FF2B5EF4-FFF2-40B4-BE49-F238E27FC236}">
                <a16:creationId xmlns:a16="http://schemas.microsoft.com/office/drawing/2014/main" id="{7D8EE757-3407-A033-DB35-38C4C5E0D3CF}"/>
              </a:ext>
            </a:extLst>
          </p:cNvPr>
          <p:cNvGrpSpPr/>
          <p:nvPr/>
        </p:nvGrpSpPr>
        <p:grpSpPr>
          <a:xfrm>
            <a:off x="11281088" y="1927275"/>
            <a:ext cx="360000" cy="360000"/>
            <a:chOff x="3523866" y="3895566"/>
            <a:chExt cx="457200" cy="457200"/>
          </a:xfrm>
          <a:solidFill>
            <a:schemeClr val="tx1"/>
          </a:solidFill>
        </p:grpSpPr>
        <p:sp>
          <p:nvSpPr>
            <p:cNvPr id="11" name="Google Shape;1655;p92">
              <a:extLst>
                <a:ext uri="{FF2B5EF4-FFF2-40B4-BE49-F238E27FC236}">
                  <a16:creationId xmlns:a16="http://schemas.microsoft.com/office/drawing/2014/main" id="{FAAF8042-FA87-2277-604A-2B80951C96CA}"/>
                </a:ext>
              </a:extLst>
            </p:cNvPr>
            <p:cNvSpPr/>
            <p:nvPr/>
          </p:nvSpPr>
          <p:spPr>
            <a:xfrm>
              <a:off x="3721986" y="4124166"/>
              <a:ext cx="60959" cy="22828"/>
            </a:xfrm>
            <a:custGeom>
              <a:avLst/>
              <a:gdLst/>
              <a:ahLst/>
              <a:cxnLst/>
              <a:rect l="l" t="t" r="r" b="b"/>
              <a:pathLst>
                <a:path w="60959" h="22828" extrusionOk="0">
                  <a:moveTo>
                    <a:pt x="0" y="0"/>
                  </a:moveTo>
                  <a:lnTo>
                    <a:pt x="60960" y="0"/>
                  </a:lnTo>
                  <a:lnTo>
                    <a:pt x="60960" y="22828"/>
                  </a:lnTo>
                  <a:lnTo>
                    <a:pt x="0" y="22828"/>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2" name="Google Shape;1656;p92">
              <a:extLst>
                <a:ext uri="{FF2B5EF4-FFF2-40B4-BE49-F238E27FC236}">
                  <a16:creationId xmlns:a16="http://schemas.microsoft.com/office/drawing/2014/main" id="{6DA0E041-E210-8556-8DD1-4B49FE009618}"/>
                </a:ext>
              </a:extLst>
            </p:cNvPr>
            <p:cNvSpPr/>
            <p:nvPr/>
          </p:nvSpPr>
          <p:spPr>
            <a:xfrm>
              <a:off x="3721986" y="4154614"/>
              <a:ext cx="60959" cy="22891"/>
            </a:xfrm>
            <a:custGeom>
              <a:avLst/>
              <a:gdLst/>
              <a:ahLst/>
              <a:cxnLst/>
              <a:rect l="l" t="t" r="r" b="b"/>
              <a:pathLst>
                <a:path w="60959" h="22891" extrusionOk="0">
                  <a:moveTo>
                    <a:pt x="0" y="0"/>
                  </a:moveTo>
                  <a:lnTo>
                    <a:pt x="60960" y="0"/>
                  </a:lnTo>
                  <a:lnTo>
                    <a:pt x="60960" y="22892"/>
                  </a:lnTo>
                  <a:lnTo>
                    <a:pt x="0" y="22892"/>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4" name="Google Shape;1657;p92">
              <a:extLst>
                <a:ext uri="{FF2B5EF4-FFF2-40B4-BE49-F238E27FC236}">
                  <a16:creationId xmlns:a16="http://schemas.microsoft.com/office/drawing/2014/main" id="{0AB8E9EA-C968-44EB-8B34-41ACF4CD9CF4}"/>
                </a:ext>
              </a:extLst>
            </p:cNvPr>
            <p:cNvSpPr/>
            <p:nvPr/>
          </p:nvSpPr>
          <p:spPr>
            <a:xfrm>
              <a:off x="3523866" y="3895566"/>
              <a:ext cx="457200" cy="457200"/>
            </a:xfrm>
            <a:custGeom>
              <a:avLst/>
              <a:gdLst/>
              <a:ahLst/>
              <a:cxnLst/>
              <a:rect l="l" t="t" r="r" b="b"/>
              <a:pathLst>
                <a:path w="457200" h="457200" extrusionOk="0">
                  <a:moveTo>
                    <a:pt x="0" y="0"/>
                  </a:moveTo>
                  <a:lnTo>
                    <a:pt x="0" y="457200"/>
                  </a:lnTo>
                  <a:lnTo>
                    <a:pt x="457200" y="457200"/>
                  </a:lnTo>
                  <a:lnTo>
                    <a:pt x="457200" y="0"/>
                  </a:lnTo>
                  <a:close/>
                  <a:moveTo>
                    <a:pt x="154813" y="436880"/>
                  </a:moveTo>
                  <a:lnTo>
                    <a:pt x="75438" y="436880"/>
                  </a:lnTo>
                  <a:lnTo>
                    <a:pt x="75438" y="167862"/>
                  </a:lnTo>
                  <a:lnTo>
                    <a:pt x="154813" y="167862"/>
                  </a:lnTo>
                  <a:lnTo>
                    <a:pt x="154813" y="436880"/>
                  </a:lnTo>
                  <a:close/>
                  <a:moveTo>
                    <a:pt x="240538" y="436880"/>
                  </a:moveTo>
                  <a:lnTo>
                    <a:pt x="215900" y="436880"/>
                  </a:lnTo>
                  <a:lnTo>
                    <a:pt x="215900" y="358966"/>
                  </a:lnTo>
                  <a:lnTo>
                    <a:pt x="240570" y="358966"/>
                  </a:lnTo>
                  <a:lnTo>
                    <a:pt x="240570" y="436880"/>
                  </a:lnTo>
                  <a:close/>
                  <a:moveTo>
                    <a:pt x="281813" y="147955"/>
                  </a:moveTo>
                  <a:lnTo>
                    <a:pt x="281813" y="436880"/>
                  </a:lnTo>
                  <a:lnTo>
                    <a:pt x="260350" y="436880"/>
                  </a:lnTo>
                  <a:lnTo>
                    <a:pt x="260350" y="339122"/>
                  </a:lnTo>
                  <a:lnTo>
                    <a:pt x="195929" y="339122"/>
                  </a:lnTo>
                  <a:lnTo>
                    <a:pt x="195929" y="436880"/>
                  </a:lnTo>
                  <a:lnTo>
                    <a:pt x="174625" y="436880"/>
                  </a:lnTo>
                  <a:lnTo>
                    <a:pt x="174625" y="81280"/>
                  </a:lnTo>
                  <a:lnTo>
                    <a:pt x="281591" y="81280"/>
                  </a:lnTo>
                  <a:lnTo>
                    <a:pt x="281591" y="147955"/>
                  </a:lnTo>
                  <a:close/>
                  <a:moveTo>
                    <a:pt x="381476" y="436880"/>
                  </a:moveTo>
                  <a:lnTo>
                    <a:pt x="302387" y="436880"/>
                  </a:lnTo>
                  <a:lnTo>
                    <a:pt x="302387" y="167862"/>
                  </a:lnTo>
                  <a:lnTo>
                    <a:pt x="381254" y="167862"/>
                  </a:lnTo>
                  <a:lnTo>
                    <a:pt x="381254" y="436880"/>
                  </a:lnTo>
                  <a:close/>
                  <a:moveTo>
                    <a:pt x="437579" y="436880"/>
                  </a:moveTo>
                  <a:lnTo>
                    <a:pt x="401066" y="436880"/>
                  </a:lnTo>
                  <a:lnTo>
                    <a:pt x="401066" y="147955"/>
                  </a:lnTo>
                  <a:lnTo>
                    <a:pt x="302387" y="147955"/>
                  </a:lnTo>
                  <a:lnTo>
                    <a:pt x="302387" y="61436"/>
                  </a:lnTo>
                  <a:lnTo>
                    <a:pt x="154813" y="61436"/>
                  </a:lnTo>
                  <a:lnTo>
                    <a:pt x="154813" y="148019"/>
                  </a:lnTo>
                  <a:lnTo>
                    <a:pt x="55626" y="148019"/>
                  </a:lnTo>
                  <a:lnTo>
                    <a:pt x="55626" y="436944"/>
                  </a:lnTo>
                  <a:lnTo>
                    <a:pt x="19844" y="436944"/>
                  </a:lnTo>
                  <a:lnTo>
                    <a:pt x="19844" y="19812"/>
                  </a:lnTo>
                  <a:lnTo>
                    <a:pt x="437356" y="19812"/>
                  </a:lnTo>
                  <a:lnTo>
                    <a:pt x="437356" y="43688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5" name="Google Shape;1658;p92">
              <a:extLst>
                <a:ext uri="{FF2B5EF4-FFF2-40B4-BE49-F238E27FC236}">
                  <a16:creationId xmlns:a16="http://schemas.microsoft.com/office/drawing/2014/main" id="{7DF40D55-C69A-1E34-C5EB-1A6FBDABFF9B}"/>
                </a:ext>
              </a:extLst>
            </p:cNvPr>
            <p:cNvSpPr/>
            <p:nvPr/>
          </p:nvSpPr>
          <p:spPr>
            <a:xfrm>
              <a:off x="3721986" y="4002214"/>
              <a:ext cx="60959" cy="53371"/>
            </a:xfrm>
            <a:custGeom>
              <a:avLst/>
              <a:gdLst/>
              <a:ahLst/>
              <a:cxnLst/>
              <a:rect l="l" t="t" r="r" b="b"/>
              <a:pathLst>
                <a:path w="60959" h="53371" extrusionOk="0">
                  <a:moveTo>
                    <a:pt x="19463" y="53372"/>
                  </a:moveTo>
                  <a:lnTo>
                    <a:pt x="40481" y="53372"/>
                  </a:lnTo>
                  <a:lnTo>
                    <a:pt x="40481" y="35719"/>
                  </a:lnTo>
                  <a:lnTo>
                    <a:pt x="60960" y="35719"/>
                  </a:lnTo>
                  <a:lnTo>
                    <a:pt x="60960" y="17208"/>
                  </a:lnTo>
                  <a:lnTo>
                    <a:pt x="40481" y="17208"/>
                  </a:lnTo>
                  <a:lnTo>
                    <a:pt x="40481" y="0"/>
                  </a:lnTo>
                  <a:lnTo>
                    <a:pt x="19463" y="0"/>
                  </a:lnTo>
                  <a:lnTo>
                    <a:pt x="19463" y="17208"/>
                  </a:lnTo>
                  <a:lnTo>
                    <a:pt x="0" y="17208"/>
                  </a:lnTo>
                  <a:lnTo>
                    <a:pt x="0" y="35719"/>
                  </a:lnTo>
                  <a:lnTo>
                    <a:pt x="19463" y="35719"/>
                  </a:lnTo>
                  <a:lnTo>
                    <a:pt x="19463" y="53372"/>
                  </a:lnTo>
                  <a:lnTo>
                    <a:pt x="19463" y="53372"/>
                  </a:lnTo>
                  <a:lnTo>
                    <a:pt x="19463" y="53372"/>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6" name="Google Shape;1659;p92">
              <a:extLst>
                <a:ext uri="{FF2B5EF4-FFF2-40B4-BE49-F238E27FC236}">
                  <a16:creationId xmlns:a16="http://schemas.microsoft.com/office/drawing/2014/main" id="{BC455CBB-497F-D8AF-C4B2-951640A8C8FE}"/>
                </a:ext>
              </a:extLst>
            </p:cNvPr>
            <p:cNvSpPr/>
            <p:nvPr/>
          </p:nvSpPr>
          <p:spPr>
            <a:xfrm>
              <a:off x="3622926" y="4116514"/>
              <a:ext cx="30479" cy="15240"/>
            </a:xfrm>
            <a:custGeom>
              <a:avLst/>
              <a:gdLst/>
              <a:ahLst/>
              <a:cxnLst/>
              <a:rect l="l" t="t" r="r" b="b"/>
              <a:pathLst>
                <a:path w="30479" h="15240" extrusionOk="0">
                  <a:moveTo>
                    <a:pt x="0" y="0"/>
                  </a:moveTo>
                  <a:lnTo>
                    <a:pt x="30480" y="0"/>
                  </a:lnTo>
                  <a:lnTo>
                    <a:pt x="30480" y="15240"/>
                  </a:lnTo>
                  <a:lnTo>
                    <a:pt x="0" y="1524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7" name="Google Shape;1660;p92">
              <a:extLst>
                <a:ext uri="{FF2B5EF4-FFF2-40B4-BE49-F238E27FC236}">
                  <a16:creationId xmlns:a16="http://schemas.microsoft.com/office/drawing/2014/main" id="{1019684F-EB37-FD93-4317-58CA68C8508A}"/>
                </a:ext>
              </a:extLst>
            </p:cNvPr>
            <p:cNvSpPr/>
            <p:nvPr/>
          </p:nvSpPr>
          <p:spPr>
            <a:xfrm>
              <a:off x="3622926" y="4146994"/>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8" name="Google Shape;1661;p92">
              <a:extLst>
                <a:ext uri="{FF2B5EF4-FFF2-40B4-BE49-F238E27FC236}">
                  <a16:creationId xmlns:a16="http://schemas.microsoft.com/office/drawing/2014/main" id="{928C371F-1308-C0BB-1B53-0F9277CF9C82}"/>
                </a:ext>
              </a:extLst>
            </p:cNvPr>
            <p:cNvSpPr/>
            <p:nvPr/>
          </p:nvSpPr>
          <p:spPr>
            <a:xfrm>
              <a:off x="3622926" y="4185094"/>
              <a:ext cx="30479" cy="15271"/>
            </a:xfrm>
            <a:custGeom>
              <a:avLst/>
              <a:gdLst/>
              <a:ahLst/>
              <a:cxnLst/>
              <a:rect l="l" t="t" r="r" b="b"/>
              <a:pathLst>
                <a:path w="30479" h="15271" extrusionOk="0">
                  <a:moveTo>
                    <a:pt x="0" y="0"/>
                  </a:moveTo>
                  <a:lnTo>
                    <a:pt x="30480" y="0"/>
                  </a:lnTo>
                  <a:lnTo>
                    <a:pt x="30480" y="15272"/>
                  </a:lnTo>
                  <a:lnTo>
                    <a:pt x="0" y="15272"/>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9" name="Google Shape;1662;p92">
              <a:extLst>
                <a:ext uri="{FF2B5EF4-FFF2-40B4-BE49-F238E27FC236}">
                  <a16:creationId xmlns:a16="http://schemas.microsoft.com/office/drawing/2014/main" id="{935478A3-0258-D2D1-C55B-6818E570EEC2}"/>
                </a:ext>
              </a:extLst>
            </p:cNvPr>
            <p:cNvSpPr/>
            <p:nvPr/>
          </p:nvSpPr>
          <p:spPr>
            <a:xfrm>
              <a:off x="3622926" y="4215606"/>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0" name="Google Shape;1663;p92">
              <a:extLst>
                <a:ext uri="{FF2B5EF4-FFF2-40B4-BE49-F238E27FC236}">
                  <a16:creationId xmlns:a16="http://schemas.microsoft.com/office/drawing/2014/main" id="{65F13B8F-5C19-FC21-AF33-0F4E3175271E}"/>
                </a:ext>
              </a:extLst>
            </p:cNvPr>
            <p:cNvSpPr/>
            <p:nvPr/>
          </p:nvSpPr>
          <p:spPr>
            <a:xfrm>
              <a:off x="3622926" y="4253706"/>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1" name="Google Shape;1664;p92">
              <a:extLst>
                <a:ext uri="{FF2B5EF4-FFF2-40B4-BE49-F238E27FC236}">
                  <a16:creationId xmlns:a16="http://schemas.microsoft.com/office/drawing/2014/main" id="{D6863F23-A5B1-AF50-FF88-3A3AAA5D0D41}"/>
                </a:ext>
              </a:extLst>
            </p:cNvPr>
            <p:cNvSpPr/>
            <p:nvPr/>
          </p:nvSpPr>
          <p:spPr>
            <a:xfrm>
              <a:off x="3622926" y="4291806"/>
              <a:ext cx="30479" cy="15208"/>
            </a:xfrm>
            <a:custGeom>
              <a:avLst/>
              <a:gdLst/>
              <a:ahLst/>
              <a:cxnLst/>
              <a:rect l="l" t="t" r="r" b="b"/>
              <a:pathLst>
                <a:path w="30479" h="15208" extrusionOk="0">
                  <a:moveTo>
                    <a:pt x="0" y="0"/>
                  </a:moveTo>
                  <a:lnTo>
                    <a:pt x="30480" y="0"/>
                  </a:lnTo>
                  <a:lnTo>
                    <a:pt x="30480" y="15208"/>
                  </a:lnTo>
                  <a:lnTo>
                    <a:pt x="0" y="15208"/>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2" name="Google Shape;1665;p92">
              <a:extLst>
                <a:ext uri="{FF2B5EF4-FFF2-40B4-BE49-F238E27FC236}">
                  <a16:creationId xmlns:a16="http://schemas.microsoft.com/office/drawing/2014/main" id="{4B8688AB-0D7B-A5C1-5CDF-C4BE9B644ED8}"/>
                </a:ext>
              </a:extLst>
            </p:cNvPr>
            <p:cNvSpPr/>
            <p:nvPr/>
          </p:nvSpPr>
          <p:spPr>
            <a:xfrm>
              <a:off x="3851525" y="4116514"/>
              <a:ext cx="22860" cy="15240"/>
            </a:xfrm>
            <a:custGeom>
              <a:avLst/>
              <a:gdLst/>
              <a:ahLst/>
              <a:cxnLst/>
              <a:rect l="l" t="t" r="r" b="b"/>
              <a:pathLst>
                <a:path w="22860" h="15240" extrusionOk="0">
                  <a:moveTo>
                    <a:pt x="0" y="0"/>
                  </a:moveTo>
                  <a:lnTo>
                    <a:pt x="22860" y="0"/>
                  </a:lnTo>
                  <a:lnTo>
                    <a:pt x="22860" y="15240"/>
                  </a:lnTo>
                  <a:lnTo>
                    <a:pt x="0" y="1524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3" name="Google Shape;1666;p92">
              <a:extLst>
                <a:ext uri="{FF2B5EF4-FFF2-40B4-BE49-F238E27FC236}">
                  <a16:creationId xmlns:a16="http://schemas.microsoft.com/office/drawing/2014/main" id="{AE8882F9-6CA9-4D3C-A314-801BC21ABFB7}"/>
                </a:ext>
              </a:extLst>
            </p:cNvPr>
            <p:cNvSpPr/>
            <p:nvPr/>
          </p:nvSpPr>
          <p:spPr>
            <a:xfrm>
              <a:off x="3851525" y="4146994"/>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4" name="Google Shape;1667;p92">
              <a:extLst>
                <a:ext uri="{FF2B5EF4-FFF2-40B4-BE49-F238E27FC236}">
                  <a16:creationId xmlns:a16="http://schemas.microsoft.com/office/drawing/2014/main" id="{B80DF1EC-2FDF-CB0D-C12F-569EC95EAED8}"/>
                </a:ext>
              </a:extLst>
            </p:cNvPr>
            <p:cNvSpPr/>
            <p:nvPr/>
          </p:nvSpPr>
          <p:spPr>
            <a:xfrm>
              <a:off x="3851525" y="4185094"/>
              <a:ext cx="22860" cy="15271"/>
            </a:xfrm>
            <a:custGeom>
              <a:avLst/>
              <a:gdLst/>
              <a:ahLst/>
              <a:cxnLst/>
              <a:rect l="l" t="t" r="r" b="b"/>
              <a:pathLst>
                <a:path w="22860" h="15271" extrusionOk="0">
                  <a:moveTo>
                    <a:pt x="0" y="0"/>
                  </a:moveTo>
                  <a:lnTo>
                    <a:pt x="22860" y="0"/>
                  </a:lnTo>
                  <a:lnTo>
                    <a:pt x="22860" y="15272"/>
                  </a:lnTo>
                  <a:lnTo>
                    <a:pt x="0" y="15272"/>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5" name="Google Shape;1668;p92">
              <a:extLst>
                <a:ext uri="{FF2B5EF4-FFF2-40B4-BE49-F238E27FC236}">
                  <a16:creationId xmlns:a16="http://schemas.microsoft.com/office/drawing/2014/main" id="{E0CFBFFC-89A5-85EB-8558-1D2BE3078546}"/>
                </a:ext>
              </a:extLst>
            </p:cNvPr>
            <p:cNvSpPr/>
            <p:nvPr/>
          </p:nvSpPr>
          <p:spPr>
            <a:xfrm>
              <a:off x="3851525" y="4215606"/>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6" name="Google Shape;1669;p92">
              <a:extLst>
                <a:ext uri="{FF2B5EF4-FFF2-40B4-BE49-F238E27FC236}">
                  <a16:creationId xmlns:a16="http://schemas.microsoft.com/office/drawing/2014/main" id="{76A0636A-46E9-9CA9-DDBE-B186617BD287}"/>
                </a:ext>
              </a:extLst>
            </p:cNvPr>
            <p:cNvSpPr/>
            <p:nvPr/>
          </p:nvSpPr>
          <p:spPr>
            <a:xfrm>
              <a:off x="3851525" y="4253706"/>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7" name="Google Shape;1670;p92">
              <a:extLst>
                <a:ext uri="{FF2B5EF4-FFF2-40B4-BE49-F238E27FC236}">
                  <a16:creationId xmlns:a16="http://schemas.microsoft.com/office/drawing/2014/main" id="{5EDDC7B7-B0EE-7882-5258-6D30866A66CF}"/>
                </a:ext>
              </a:extLst>
            </p:cNvPr>
            <p:cNvSpPr/>
            <p:nvPr/>
          </p:nvSpPr>
          <p:spPr>
            <a:xfrm>
              <a:off x="3851525" y="4291806"/>
              <a:ext cx="22860" cy="15208"/>
            </a:xfrm>
            <a:custGeom>
              <a:avLst/>
              <a:gdLst/>
              <a:ahLst/>
              <a:cxnLst/>
              <a:rect l="l" t="t" r="r" b="b"/>
              <a:pathLst>
                <a:path w="22860" h="15208" extrusionOk="0">
                  <a:moveTo>
                    <a:pt x="0" y="0"/>
                  </a:moveTo>
                  <a:lnTo>
                    <a:pt x="22860" y="0"/>
                  </a:lnTo>
                  <a:lnTo>
                    <a:pt x="22860" y="15208"/>
                  </a:lnTo>
                  <a:lnTo>
                    <a:pt x="0" y="15208"/>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grpSp>
      <p:sp>
        <p:nvSpPr>
          <p:cNvPr id="60" name="Rectangle 59">
            <a:extLst>
              <a:ext uri="{FF2B5EF4-FFF2-40B4-BE49-F238E27FC236}">
                <a16:creationId xmlns:a16="http://schemas.microsoft.com/office/drawing/2014/main" id="{984E97C1-82FC-5159-8A6A-7060A68823FC}"/>
              </a:ext>
            </a:extLst>
          </p:cNvPr>
          <p:cNvSpPr/>
          <p:nvPr/>
        </p:nvSpPr>
        <p:spPr>
          <a:xfrm>
            <a:off x="6275388" y="1819275"/>
            <a:ext cx="5473699" cy="576000"/>
          </a:xfrm>
          <a:prstGeom prst="rect">
            <a:avLst/>
          </a:prstGeom>
          <a:solidFill>
            <a:schemeClr val="bg1">
              <a:alpha val="6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8" name="Rectangle 27">
            <a:extLst>
              <a:ext uri="{FF2B5EF4-FFF2-40B4-BE49-F238E27FC236}">
                <a16:creationId xmlns:a16="http://schemas.microsoft.com/office/drawing/2014/main" id="{09F96A6C-BCF7-C92F-10B0-3D0AC98F2671}"/>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29" name="Group 28">
            <a:extLst>
              <a:ext uri="{FF2B5EF4-FFF2-40B4-BE49-F238E27FC236}">
                <a16:creationId xmlns:a16="http://schemas.microsoft.com/office/drawing/2014/main" id="{C757F6D4-BE65-DD50-7A44-5DB2724C49D6}"/>
              </a:ext>
            </a:extLst>
          </p:cNvPr>
          <p:cNvGrpSpPr/>
          <p:nvPr/>
        </p:nvGrpSpPr>
        <p:grpSpPr>
          <a:xfrm>
            <a:off x="10133935" y="126781"/>
            <a:ext cx="1615153" cy="217488"/>
            <a:chOff x="10133935" y="126781"/>
            <a:chExt cx="1615153" cy="217488"/>
          </a:xfrm>
        </p:grpSpPr>
        <p:sp>
          <p:nvSpPr>
            <p:cNvPr id="30" name="Rectangle 29">
              <a:extLst>
                <a:ext uri="{FF2B5EF4-FFF2-40B4-BE49-F238E27FC236}">
                  <a16:creationId xmlns:a16="http://schemas.microsoft.com/office/drawing/2014/main" id="{E6F8326B-3D4E-0B89-EE95-099A56ED6BDB}"/>
                </a:ext>
              </a:extLst>
            </p:cNvPr>
            <p:cNvSpPr/>
            <p:nvPr/>
          </p:nvSpPr>
          <p:spPr>
            <a:xfrm>
              <a:off x="10133935"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000000"/>
                  </a:solidFill>
                  <a:ea typeface="Georgia"/>
                  <a:cs typeface="Georgia"/>
                  <a:sym typeface="Georgia"/>
                </a:rPr>
                <a:t>7</a:t>
              </a:r>
              <a:r>
                <a:rPr kumimoji="0" lang="lv-LV" sz="800" b="1" i="0" u="none" strike="noStrike" kern="0" cap="none" spc="0" normalizeH="0" baseline="0">
                  <a:ln>
                    <a:noFill/>
                  </a:ln>
                  <a:solidFill>
                    <a:srgbClr val="000000"/>
                  </a:solidFill>
                  <a:effectLst/>
                  <a:uLnTx/>
                  <a:uFillTx/>
                  <a:ea typeface="Georgia"/>
                  <a:cs typeface="Georgia"/>
                  <a:sym typeface="Georgia"/>
                </a:rPr>
                <a:t>.1</a:t>
              </a:r>
            </a:p>
          </p:txBody>
        </p:sp>
        <p:sp>
          <p:nvSpPr>
            <p:cNvPr id="31" name="Rectangle 30">
              <a:extLst>
                <a:ext uri="{FF2B5EF4-FFF2-40B4-BE49-F238E27FC236}">
                  <a16:creationId xmlns:a16="http://schemas.microsoft.com/office/drawing/2014/main" id="{01F6CAB6-CEC4-CB22-3662-0539D622474F}"/>
                </a:ext>
              </a:extLst>
            </p:cNvPr>
            <p:cNvSpPr/>
            <p:nvPr/>
          </p:nvSpPr>
          <p:spPr>
            <a:xfrm>
              <a:off x="10374320" y="126781"/>
              <a:ext cx="413227"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rgbClr val="000000"/>
                  </a:solidFill>
                  <a:effectLst/>
                  <a:uLnTx/>
                  <a:uFillTx/>
                  <a:ea typeface="Georgia"/>
                  <a:cs typeface="Georgia"/>
                  <a:sym typeface="Georgia"/>
                </a:rPr>
                <a:t>Ievads</a:t>
              </a:r>
            </a:p>
          </p:txBody>
        </p:sp>
        <p:sp>
          <p:nvSpPr>
            <p:cNvPr id="32" name="Rectangle 31">
              <a:extLst>
                <a:ext uri="{FF2B5EF4-FFF2-40B4-BE49-F238E27FC236}">
                  <a16:creationId xmlns:a16="http://schemas.microsoft.com/office/drawing/2014/main" id="{28FDF051-D269-54AA-868D-A82964E3AF4A}"/>
                </a:ext>
              </a:extLst>
            </p:cNvPr>
            <p:cNvSpPr/>
            <p:nvPr/>
          </p:nvSpPr>
          <p:spPr>
            <a:xfrm>
              <a:off x="1081193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lv-LV" sz="800" b="1" i="0" u="none" strike="noStrike" kern="0" cap="none" spc="0" normalizeH="0" baseline="0">
                  <a:ln>
                    <a:noFill/>
                  </a:ln>
                  <a:solidFill>
                    <a:schemeClr val="accent1"/>
                  </a:solidFill>
                  <a:effectLst/>
                  <a:uLnTx/>
                  <a:uFillTx/>
                  <a:ea typeface="Georgia"/>
                  <a:cs typeface="Georgia"/>
                  <a:sym typeface="Georgia"/>
                </a:rPr>
                <a:t>.2</a:t>
              </a:r>
            </a:p>
          </p:txBody>
        </p:sp>
        <p:sp>
          <p:nvSpPr>
            <p:cNvPr id="33" name="Rectangle 32">
              <a:extLst>
                <a:ext uri="{FF2B5EF4-FFF2-40B4-BE49-F238E27FC236}">
                  <a16:creationId xmlns:a16="http://schemas.microsoft.com/office/drawing/2014/main" id="{956F20C5-72B9-E2B4-EF9B-3EAB382D895A}"/>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lv-LV" sz="800" b="1" i="0" u="none" strike="noStrike" kern="0" cap="none" spc="0" normalizeH="0" baseline="0">
                  <a:ln>
                    <a:noFill/>
                  </a:ln>
                  <a:solidFill>
                    <a:schemeClr val="accent1"/>
                  </a:solidFill>
                  <a:effectLst/>
                  <a:uLnTx/>
                  <a:uFillTx/>
                  <a:ea typeface="Georgia"/>
                  <a:cs typeface="Georgia"/>
                  <a:sym typeface="Georgia"/>
                </a:rPr>
                <a:t>.3</a:t>
              </a:r>
            </a:p>
          </p:txBody>
        </p:sp>
        <p:sp>
          <p:nvSpPr>
            <p:cNvPr id="34" name="Rectangle 33">
              <a:extLst>
                <a:ext uri="{FF2B5EF4-FFF2-40B4-BE49-F238E27FC236}">
                  <a16:creationId xmlns:a16="http://schemas.microsoft.com/office/drawing/2014/main" id="{B7AA819F-F0A4-5DE1-396B-5AD4DEEE406B}"/>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lv-LV" sz="800" b="1" i="0" u="none" strike="noStrike" kern="0" cap="none" spc="0" normalizeH="0" baseline="0">
                  <a:ln>
                    <a:noFill/>
                  </a:ln>
                  <a:solidFill>
                    <a:schemeClr val="accent1"/>
                  </a:solidFill>
                  <a:effectLst/>
                  <a:uLnTx/>
                  <a:uFillTx/>
                  <a:ea typeface="Georgia"/>
                  <a:cs typeface="Georgia"/>
                  <a:sym typeface="Georgia"/>
                </a:rPr>
                <a:t>.4</a:t>
              </a:r>
            </a:p>
          </p:txBody>
        </p:sp>
        <p:sp>
          <p:nvSpPr>
            <p:cNvPr id="35" name="Rectangle 34">
              <a:extLst>
                <a:ext uri="{FF2B5EF4-FFF2-40B4-BE49-F238E27FC236}">
                  <a16:creationId xmlns:a16="http://schemas.microsoft.com/office/drawing/2014/main" id="{115A1F77-6EBA-675E-F712-63F6F60ED78D}"/>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7.5</a:t>
              </a:r>
            </a:p>
          </p:txBody>
        </p:sp>
      </p:grpSp>
    </p:spTree>
    <p:extLst>
      <p:ext uri="{BB962C8B-B14F-4D97-AF65-F5344CB8AC3E}">
        <p14:creationId xmlns:p14="http://schemas.microsoft.com/office/powerpoint/2010/main" val="23339469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92857C6-2061-3379-B3C3-55A440E4568C}"/>
              </a:ext>
            </a:extLst>
          </p:cNvPr>
          <p:cNvGraphicFramePr>
            <a:graphicFrameLocks noChangeAspect="1"/>
          </p:cNvGraphicFramePr>
          <p:nvPr>
            <p:custDataLst>
              <p:tags r:id="rId1"/>
            </p:custDataLst>
            <p:extLst>
              <p:ext uri="{D42A27DB-BD31-4B8C-83A1-F6EECF244321}">
                <p14:modId xmlns:p14="http://schemas.microsoft.com/office/powerpoint/2010/main" val="886053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think-cell data - do not delete" hidden="1">
                        <a:extLst>
                          <a:ext uri="{FF2B5EF4-FFF2-40B4-BE49-F238E27FC236}">
                            <a16:creationId xmlns:a16="http://schemas.microsoft.com/office/drawing/2014/main" id="{A92857C6-2061-3379-B3C3-55A440E456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F8F64E5E-A437-00D3-A26C-9572A5268065}"/>
              </a:ext>
            </a:extLst>
          </p:cNvPr>
          <p:cNvPicPr>
            <a:picLocks noChangeAspect="1"/>
          </p:cNvPicPr>
          <p:nvPr/>
        </p:nvPicPr>
        <p:blipFill rotWithShape="1">
          <a:blip r:embed="rId6"/>
          <a:srcRect l="17162" r="15066"/>
          <a:stretch/>
        </p:blipFill>
        <p:spPr>
          <a:xfrm>
            <a:off x="5916613" y="0"/>
            <a:ext cx="6275386" cy="6172200"/>
          </a:xfrm>
          <a:prstGeom prst="rect">
            <a:avLst/>
          </a:prstGeom>
        </p:spPr>
      </p:pic>
      <p:sp>
        <p:nvSpPr>
          <p:cNvPr id="26" name="Rectangle 25">
            <a:extLst>
              <a:ext uri="{FF2B5EF4-FFF2-40B4-BE49-F238E27FC236}">
                <a16:creationId xmlns:a16="http://schemas.microsoft.com/office/drawing/2014/main" id="{AB31CD91-794A-01A5-C25E-D48CF95CB5F1}"/>
              </a:ext>
            </a:extLst>
          </p:cNvPr>
          <p:cNvSpPr/>
          <p:nvPr/>
        </p:nvSpPr>
        <p:spPr>
          <a:xfrm>
            <a:off x="5916611" y="0"/>
            <a:ext cx="6275388" cy="61722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D0C17218-A0C6-A96B-4B0D-6C054C03A15C}"/>
              </a:ext>
            </a:extLst>
          </p:cNvPr>
          <p:cNvSpPr/>
          <p:nvPr/>
        </p:nvSpPr>
        <p:spPr>
          <a:xfrm>
            <a:off x="442912" y="1819275"/>
            <a:ext cx="7418387" cy="5038725"/>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360000" rIns="360000" rtlCol="0" anchor="ctr"/>
          <a:lstStyle/>
          <a:p>
            <a:pPr marL="0" indent="0">
              <a:spcAft>
                <a:spcPts val="600"/>
              </a:spcAft>
              <a:buNone/>
            </a:pPr>
            <a:r>
              <a:rPr lang="lv-LV" sz="2000"/>
              <a:t> </a:t>
            </a:r>
          </a:p>
          <a:p>
            <a:pPr>
              <a:spcAft>
                <a:spcPts val="600"/>
              </a:spcAft>
            </a:pPr>
            <a:endParaRPr lang="en-US" sz="2000"/>
          </a:p>
          <a:p>
            <a:pPr>
              <a:spcAft>
                <a:spcPts val="600"/>
              </a:spcAft>
            </a:pPr>
            <a:endParaRPr lang="en-US" sz="2000"/>
          </a:p>
          <a:p>
            <a:pPr>
              <a:spcAft>
                <a:spcPts val="600"/>
              </a:spcAft>
            </a:pPr>
            <a:endParaRPr lang="en-US" sz="2000"/>
          </a:p>
          <a:p>
            <a:pPr marL="342900" indent="-342900">
              <a:spcAft>
                <a:spcPts val="600"/>
              </a:spcAft>
              <a:buFont typeface="Arial" panose="020B0604020202020204" pitchFamily="34" charset="0"/>
              <a:buChar char="•"/>
            </a:pPr>
            <a:r>
              <a:rPr lang="lv-LV" sz="2000"/>
              <a:t>Atpazīt, novērtēt un noteikt pirmās palīdzības pasākumu nepieciešamību slimības vai ievainojuma gadījumā</a:t>
            </a:r>
          </a:p>
          <a:p>
            <a:pPr marL="342900" indent="-342900">
              <a:spcAft>
                <a:spcPts val="600"/>
              </a:spcAft>
              <a:buFont typeface="Arial" panose="020B0604020202020204" pitchFamily="34" charset="0"/>
              <a:buChar char="•"/>
            </a:pPr>
            <a:r>
              <a:rPr lang="lv-LV" sz="2000"/>
              <a:t>Sniegt aprūpi, izmantojot zināšanas un prasmes, ievērojot drošības prasības un ierobežojumus </a:t>
            </a:r>
          </a:p>
          <a:p>
            <a:pPr marL="342900" indent="-342900">
              <a:spcAft>
                <a:spcPts val="600"/>
              </a:spcAft>
              <a:buFont typeface="Arial" panose="020B0604020202020204" pitchFamily="34" charset="0"/>
              <a:buChar char="•"/>
            </a:pPr>
            <a:r>
              <a:rPr lang="lv-LV" sz="2000"/>
              <a:t>Rīkoties glābšanas ķēdītes ietveros līdz Neatliekamās medicīniskās palīdzības dienesta ierašanās brīdim</a:t>
            </a:r>
            <a:endParaRPr lang="en-GB" sz="2000"/>
          </a:p>
        </p:txBody>
      </p:sp>
      <p:sp>
        <p:nvSpPr>
          <p:cNvPr id="3" name="Title 2">
            <a:extLst>
              <a:ext uri="{FF2B5EF4-FFF2-40B4-BE49-F238E27FC236}">
                <a16:creationId xmlns:a16="http://schemas.microsoft.com/office/drawing/2014/main" id="{686732B2-5FB3-221B-0CA8-0EE49D36265B}"/>
              </a:ext>
            </a:extLst>
          </p:cNvPr>
          <p:cNvSpPr>
            <a:spLocks noGrp="1"/>
          </p:cNvSpPr>
          <p:nvPr>
            <p:ph type="title"/>
          </p:nvPr>
        </p:nvSpPr>
        <p:spPr>
          <a:xfrm>
            <a:off x="442913" y="432001"/>
            <a:ext cx="11306175" cy="1387274"/>
          </a:xfrm>
        </p:spPr>
        <p:txBody>
          <a:bodyPr vert="horz"/>
          <a:lstStyle/>
          <a:p>
            <a:r>
              <a:rPr lang="lv-LV"/>
              <a:t>Pirmās palīdzības sniegšanas </a:t>
            </a:r>
            <a:br>
              <a:rPr lang="en-US"/>
            </a:br>
            <a:r>
              <a:rPr lang="lv-LV"/>
              <a:t>vispārējs raksturojums:</a:t>
            </a:r>
            <a:endParaRPr lang="en-GB"/>
          </a:p>
        </p:txBody>
      </p:sp>
      <p:sp>
        <p:nvSpPr>
          <p:cNvPr id="4" name="Slide Number Placeholder 3">
            <a:extLst>
              <a:ext uri="{FF2B5EF4-FFF2-40B4-BE49-F238E27FC236}">
                <a16:creationId xmlns:a16="http://schemas.microsoft.com/office/drawing/2014/main" id="{B15017A1-9F03-E2F0-38B2-768F2F133C2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7</a:t>
            </a:fld>
            <a:endParaRPr lang="en-GB"/>
          </a:p>
        </p:txBody>
      </p:sp>
      <p:sp>
        <p:nvSpPr>
          <p:cNvPr id="27" name="Google Shape;1535;p92">
            <a:extLst>
              <a:ext uri="{FF2B5EF4-FFF2-40B4-BE49-F238E27FC236}">
                <a16:creationId xmlns:a16="http://schemas.microsoft.com/office/drawing/2014/main" id="{D0A851C8-020D-2D8A-DE4B-611B133B1FEC}"/>
              </a:ext>
            </a:extLst>
          </p:cNvPr>
          <p:cNvSpPr/>
          <p:nvPr/>
        </p:nvSpPr>
        <p:spPr>
          <a:xfrm>
            <a:off x="767929" y="2165985"/>
            <a:ext cx="938951" cy="941618"/>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276" y="551"/>
                </a:moveTo>
                <a:cubicBezTo>
                  <a:pt x="25" y="551"/>
                  <a:pt x="25" y="551"/>
                  <a:pt x="25" y="551"/>
                </a:cubicBezTo>
                <a:cubicBezTo>
                  <a:pt x="25" y="24"/>
                  <a:pt x="25" y="24"/>
                  <a:pt x="25" y="24"/>
                </a:cubicBezTo>
                <a:cubicBezTo>
                  <a:pt x="552" y="24"/>
                  <a:pt x="552" y="24"/>
                  <a:pt x="552" y="24"/>
                </a:cubicBezTo>
                <a:cubicBezTo>
                  <a:pt x="552" y="551"/>
                  <a:pt x="552" y="551"/>
                  <a:pt x="552" y="551"/>
                </a:cubicBezTo>
                <a:cubicBezTo>
                  <a:pt x="301" y="551"/>
                  <a:pt x="301" y="551"/>
                  <a:pt x="301" y="551"/>
                </a:cubicBezTo>
                <a:lnTo>
                  <a:pt x="276" y="551"/>
                </a:lnTo>
                <a:close/>
                <a:moveTo>
                  <a:pt x="300" y="326"/>
                </a:moveTo>
                <a:cubicBezTo>
                  <a:pt x="300" y="153"/>
                  <a:pt x="300" y="153"/>
                  <a:pt x="300" y="153"/>
                </a:cubicBezTo>
                <a:cubicBezTo>
                  <a:pt x="316" y="148"/>
                  <a:pt x="328" y="133"/>
                  <a:pt x="328" y="116"/>
                </a:cubicBezTo>
                <a:cubicBezTo>
                  <a:pt x="328" y="94"/>
                  <a:pt x="310" y="76"/>
                  <a:pt x="288" y="76"/>
                </a:cubicBezTo>
                <a:cubicBezTo>
                  <a:pt x="266" y="76"/>
                  <a:pt x="248" y="94"/>
                  <a:pt x="248" y="116"/>
                </a:cubicBezTo>
                <a:cubicBezTo>
                  <a:pt x="248" y="133"/>
                  <a:pt x="260" y="148"/>
                  <a:pt x="276" y="153"/>
                </a:cubicBezTo>
                <a:cubicBezTo>
                  <a:pt x="276" y="325"/>
                  <a:pt x="276" y="325"/>
                  <a:pt x="276" y="325"/>
                </a:cubicBezTo>
                <a:cubicBezTo>
                  <a:pt x="241" y="321"/>
                  <a:pt x="217" y="305"/>
                  <a:pt x="217" y="291"/>
                </a:cubicBezTo>
                <a:cubicBezTo>
                  <a:pt x="217" y="279"/>
                  <a:pt x="232" y="268"/>
                  <a:pt x="254" y="261"/>
                </a:cubicBezTo>
                <a:cubicBezTo>
                  <a:pt x="254" y="237"/>
                  <a:pt x="254" y="237"/>
                  <a:pt x="254" y="237"/>
                </a:cubicBezTo>
                <a:cubicBezTo>
                  <a:pt x="217" y="245"/>
                  <a:pt x="193" y="266"/>
                  <a:pt x="193" y="291"/>
                </a:cubicBezTo>
                <a:cubicBezTo>
                  <a:pt x="193" y="324"/>
                  <a:pt x="235" y="349"/>
                  <a:pt x="288" y="349"/>
                </a:cubicBezTo>
                <a:cubicBezTo>
                  <a:pt x="314" y="349"/>
                  <a:pt x="331" y="362"/>
                  <a:pt x="331" y="374"/>
                </a:cubicBezTo>
                <a:cubicBezTo>
                  <a:pt x="331" y="380"/>
                  <a:pt x="327" y="385"/>
                  <a:pt x="323" y="388"/>
                </a:cubicBezTo>
                <a:cubicBezTo>
                  <a:pt x="338" y="407"/>
                  <a:pt x="338" y="407"/>
                  <a:pt x="338" y="407"/>
                </a:cubicBezTo>
                <a:cubicBezTo>
                  <a:pt x="349" y="398"/>
                  <a:pt x="355" y="386"/>
                  <a:pt x="355" y="374"/>
                </a:cubicBezTo>
                <a:cubicBezTo>
                  <a:pt x="355" y="350"/>
                  <a:pt x="332" y="330"/>
                  <a:pt x="300" y="326"/>
                </a:cubicBezTo>
                <a:close/>
                <a:moveTo>
                  <a:pt x="288" y="100"/>
                </a:moveTo>
                <a:cubicBezTo>
                  <a:pt x="297" y="100"/>
                  <a:pt x="304" y="107"/>
                  <a:pt x="304" y="116"/>
                </a:cubicBezTo>
                <a:cubicBezTo>
                  <a:pt x="304" y="124"/>
                  <a:pt x="297" y="131"/>
                  <a:pt x="288" y="131"/>
                </a:cubicBezTo>
                <a:cubicBezTo>
                  <a:pt x="279" y="131"/>
                  <a:pt x="272" y="124"/>
                  <a:pt x="272" y="116"/>
                </a:cubicBezTo>
                <a:cubicBezTo>
                  <a:pt x="272" y="107"/>
                  <a:pt x="279" y="100"/>
                  <a:pt x="288" y="100"/>
                </a:cubicBezTo>
                <a:close/>
                <a:moveTo>
                  <a:pt x="337" y="439"/>
                </a:moveTo>
                <a:cubicBezTo>
                  <a:pt x="337" y="457"/>
                  <a:pt x="321" y="473"/>
                  <a:pt x="300" y="477"/>
                </a:cubicBezTo>
                <a:cubicBezTo>
                  <a:pt x="300" y="522"/>
                  <a:pt x="300" y="522"/>
                  <a:pt x="300" y="522"/>
                </a:cubicBezTo>
                <a:cubicBezTo>
                  <a:pt x="276" y="522"/>
                  <a:pt x="276" y="522"/>
                  <a:pt x="276" y="522"/>
                </a:cubicBezTo>
                <a:cubicBezTo>
                  <a:pt x="276" y="477"/>
                  <a:pt x="276" y="477"/>
                  <a:pt x="276" y="477"/>
                </a:cubicBezTo>
                <a:cubicBezTo>
                  <a:pt x="255" y="473"/>
                  <a:pt x="239" y="457"/>
                  <a:pt x="239" y="439"/>
                </a:cubicBezTo>
                <a:cubicBezTo>
                  <a:pt x="239" y="435"/>
                  <a:pt x="240" y="431"/>
                  <a:pt x="241" y="427"/>
                </a:cubicBezTo>
                <a:cubicBezTo>
                  <a:pt x="264" y="435"/>
                  <a:pt x="264" y="435"/>
                  <a:pt x="264" y="435"/>
                </a:cubicBezTo>
                <a:cubicBezTo>
                  <a:pt x="263" y="436"/>
                  <a:pt x="263" y="437"/>
                  <a:pt x="263" y="439"/>
                </a:cubicBezTo>
                <a:cubicBezTo>
                  <a:pt x="263" y="444"/>
                  <a:pt x="268" y="449"/>
                  <a:pt x="276" y="452"/>
                </a:cubicBezTo>
                <a:cubicBezTo>
                  <a:pt x="276" y="436"/>
                  <a:pt x="276" y="436"/>
                  <a:pt x="276" y="436"/>
                </a:cubicBezTo>
                <a:cubicBezTo>
                  <a:pt x="300" y="436"/>
                  <a:pt x="300" y="436"/>
                  <a:pt x="300" y="436"/>
                </a:cubicBezTo>
                <a:cubicBezTo>
                  <a:pt x="300" y="452"/>
                  <a:pt x="300" y="452"/>
                  <a:pt x="300" y="452"/>
                </a:cubicBezTo>
                <a:cubicBezTo>
                  <a:pt x="308" y="449"/>
                  <a:pt x="313" y="444"/>
                  <a:pt x="313" y="439"/>
                </a:cubicBezTo>
                <a:cubicBezTo>
                  <a:pt x="313" y="431"/>
                  <a:pt x="303" y="423"/>
                  <a:pt x="288" y="423"/>
                </a:cubicBezTo>
                <a:cubicBezTo>
                  <a:pt x="250" y="423"/>
                  <a:pt x="221" y="401"/>
                  <a:pt x="221" y="374"/>
                </a:cubicBezTo>
                <a:cubicBezTo>
                  <a:pt x="221" y="364"/>
                  <a:pt x="225" y="355"/>
                  <a:pt x="232" y="347"/>
                </a:cubicBezTo>
                <a:cubicBezTo>
                  <a:pt x="250" y="363"/>
                  <a:pt x="250" y="363"/>
                  <a:pt x="250" y="363"/>
                </a:cubicBezTo>
                <a:cubicBezTo>
                  <a:pt x="246" y="367"/>
                  <a:pt x="245" y="370"/>
                  <a:pt x="245" y="374"/>
                </a:cubicBezTo>
                <a:cubicBezTo>
                  <a:pt x="245" y="384"/>
                  <a:pt x="257" y="395"/>
                  <a:pt x="276" y="398"/>
                </a:cubicBezTo>
                <a:cubicBezTo>
                  <a:pt x="276" y="364"/>
                  <a:pt x="276" y="364"/>
                  <a:pt x="276" y="364"/>
                </a:cubicBezTo>
                <a:cubicBezTo>
                  <a:pt x="300" y="364"/>
                  <a:pt x="300" y="364"/>
                  <a:pt x="300" y="364"/>
                </a:cubicBezTo>
                <a:cubicBezTo>
                  <a:pt x="300" y="400"/>
                  <a:pt x="300" y="400"/>
                  <a:pt x="300" y="400"/>
                </a:cubicBezTo>
                <a:cubicBezTo>
                  <a:pt x="321" y="404"/>
                  <a:pt x="337" y="420"/>
                  <a:pt x="337" y="439"/>
                </a:cubicBezTo>
                <a:close/>
                <a:moveTo>
                  <a:pt x="383" y="291"/>
                </a:moveTo>
                <a:cubicBezTo>
                  <a:pt x="383" y="308"/>
                  <a:pt x="372" y="324"/>
                  <a:pt x="352" y="335"/>
                </a:cubicBezTo>
                <a:cubicBezTo>
                  <a:pt x="340" y="313"/>
                  <a:pt x="340" y="313"/>
                  <a:pt x="340" y="313"/>
                </a:cubicBezTo>
                <a:cubicBezTo>
                  <a:pt x="352" y="307"/>
                  <a:pt x="359" y="299"/>
                  <a:pt x="359" y="291"/>
                </a:cubicBezTo>
                <a:cubicBezTo>
                  <a:pt x="359" y="279"/>
                  <a:pt x="343" y="267"/>
                  <a:pt x="321" y="261"/>
                </a:cubicBezTo>
                <a:cubicBezTo>
                  <a:pt x="321" y="236"/>
                  <a:pt x="321" y="236"/>
                  <a:pt x="321" y="236"/>
                </a:cubicBezTo>
                <a:cubicBezTo>
                  <a:pt x="359" y="244"/>
                  <a:pt x="383" y="266"/>
                  <a:pt x="383" y="291"/>
                </a:cubicBezTo>
                <a:close/>
                <a:moveTo>
                  <a:pt x="254" y="170"/>
                </a:moveTo>
                <a:cubicBezTo>
                  <a:pt x="254" y="196"/>
                  <a:pt x="254" y="196"/>
                  <a:pt x="254" y="196"/>
                </a:cubicBezTo>
                <a:cubicBezTo>
                  <a:pt x="217" y="183"/>
                  <a:pt x="195" y="152"/>
                  <a:pt x="195" y="116"/>
                </a:cubicBezTo>
                <a:cubicBezTo>
                  <a:pt x="195" y="115"/>
                  <a:pt x="195" y="115"/>
                  <a:pt x="195" y="115"/>
                </a:cubicBezTo>
                <a:cubicBezTo>
                  <a:pt x="173" y="128"/>
                  <a:pt x="138" y="150"/>
                  <a:pt x="103" y="174"/>
                </a:cubicBezTo>
                <a:cubicBezTo>
                  <a:pt x="110" y="175"/>
                  <a:pt x="118" y="177"/>
                  <a:pt x="126" y="178"/>
                </a:cubicBezTo>
                <a:cubicBezTo>
                  <a:pt x="168" y="152"/>
                  <a:pt x="168" y="152"/>
                  <a:pt x="168" y="152"/>
                </a:cubicBezTo>
                <a:cubicBezTo>
                  <a:pt x="181" y="172"/>
                  <a:pt x="181" y="172"/>
                  <a:pt x="181" y="172"/>
                </a:cubicBezTo>
                <a:cubicBezTo>
                  <a:pt x="160" y="185"/>
                  <a:pt x="160" y="185"/>
                  <a:pt x="160" y="185"/>
                </a:cubicBezTo>
                <a:cubicBezTo>
                  <a:pt x="166" y="187"/>
                  <a:pt x="173" y="188"/>
                  <a:pt x="180" y="189"/>
                </a:cubicBezTo>
                <a:cubicBezTo>
                  <a:pt x="204" y="175"/>
                  <a:pt x="204" y="175"/>
                  <a:pt x="204" y="175"/>
                </a:cubicBezTo>
                <a:cubicBezTo>
                  <a:pt x="218" y="194"/>
                  <a:pt x="218" y="194"/>
                  <a:pt x="218" y="194"/>
                </a:cubicBezTo>
                <a:cubicBezTo>
                  <a:pt x="214" y="197"/>
                  <a:pt x="214" y="197"/>
                  <a:pt x="214" y="197"/>
                </a:cubicBezTo>
                <a:cubicBezTo>
                  <a:pt x="227" y="200"/>
                  <a:pt x="240" y="203"/>
                  <a:pt x="254" y="206"/>
                </a:cubicBezTo>
                <a:cubicBezTo>
                  <a:pt x="254" y="230"/>
                  <a:pt x="254" y="230"/>
                  <a:pt x="254" y="230"/>
                </a:cubicBezTo>
                <a:cubicBezTo>
                  <a:pt x="175" y="212"/>
                  <a:pt x="106" y="199"/>
                  <a:pt x="80" y="194"/>
                </a:cubicBezTo>
                <a:cubicBezTo>
                  <a:pt x="79" y="194"/>
                  <a:pt x="78" y="193"/>
                  <a:pt x="77" y="193"/>
                </a:cubicBezTo>
                <a:cubicBezTo>
                  <a:pt x="41" y="187"/>
                  <a:pt x="41" y="187"/>
                  <a:pt x="41" y="187"/>
                </a:cubicBezTo>
                <a:cubicBezTo>
                  <a:pt x="89" y="155"/>
                  <a:pt x="89" y="155"/>
                  <a:pt x="89" y="155"/>
                </a:cubicBezTo>
                <a:cubicBezTo>
                  <a:pt x="125" y="130"/>
                  <a:pt x="161" y="107"/>
                  <a:pt x="183" y="94"/>
                </a:cubicBezTo>
                <a:cubicBezTo>
                  <a:pt x="183" y="94"/>
                  <a:pt x="183" y="94"/>
                  <a:pt x="183" y="94"/>
                </a:cubicBezTo>
                <a:cubicBezTo>
                  <a:pt x="225" y="68"/>
                  <a:pt x="225" y="68"/>
                  <a:pt x="225" y="68"/>
                </a:cubicBezTo>
                <a:cubicBezTo>
                  <a:pt x="220" y="103"/>
                  <a:pt x="220" y="103"/>
                  <a:pt x="220" y="103"/>
                </a:cubicBezTo>
                <a:cubicBezTo>
                  <a:pt x="219" y="107"/>
                  <a:pt x="219" y="111"/>
                  <a:pt x="219" y="116"/>
                </a:cubicBezTo>
                <a:cubicBezTo>
                  <a:pt x="219" y="140"/>
                  <a:pt x="232" y="159"/>
                  <a:pt x="254" y="170"/>
                </a:cubicBezTo>
                <a:close/>
                <a:moveTo>
                  <a:pt x="535" y="187"/>
                </a:moveTo>
                <a:cubicBezTo>
                  <a:pt x="499" y="193"/>
                  <a:pt x="499" y="193"/>
                  <a:pt x="499" y="193"/>
                </a:cubicBezTo>
                <a:cubicBezTo>
                  <a:pt x="498" y="193"/>
                  <a:pt x="497" y="194"/>
                  <a:pt x="496" y="194"/>
                </a:cubicBezTo>
                <a:cubicBezTo>
                  <a:pt x="470" y="199"/>
                  <a:pt x="400" y="212"/>
                  <a:pt x="321" y="231"/>
                </a:cubicBezTo>
                <a:cubicBezTo>
                  <a:pt x="321" y="206"/>
                  <a:pt x="321" y="206"/>
                  <a:pt x="321" y="206"/>
                </a:cubicBezTo>
                <a:cubicBezTo>
                  <a:pt x="335" y="203"/>
                  <a:pt x="349" y="200"/>
                  <a:pt x="362" y="197"/>
                </a:cubicBezTo>
                <a:cubicBezTo>
                  <a:pt x="358" y="194"/>
                  <a:pt x="358" y="194"/>
                  <a:pt x="358" y="194"/>
                </a:cubicBezTo>
                <a:cubicBezTo>
                  <a:pt x="372" y="175"/>
                  <a:pt x="372" y="175"/>
                  <a:pt x="372" y="175"/>
                </a:cubicBezTo>
                <a:cubicBezTo>
                  <a:pt x="396" y="189"/>
                  <a:pt x="396" y="189"/>
                  <a:pt x="396" y="189"/>
                </a:cubicBezTo>
                <a:cubicBezTo>
                  <a:pt x="403" y="188"/>
                  <a:pt x="410" y="187"/>
                  <a:pt x="416" y="185"/>
                </a:cubicBezTo>
                <a:cubicBezTo>
                  <a:pt x="395" y="172"/>
                  <a:pt x="395" y="172"/>
                  <a:pt x="395" y="172"/>
                </a:cubicBezTo>
                <a:cubicBezTo>
                  <a:pt x="408" y="152"/>
                  <a:pt x="408" y="152"/>
                  <a:pt x="408" y="152"/>
                </a:cubicBezTo>
                <a:cubicBezTo>
                  <a:pt x="450" y="178"/>
                  <a:pt x="450" y="178"/>
                  <a:pt x="450" y="178"/>
                </a:cubicBezTo>
                <a:cubicBezTo>
                  <a:pt x="458" y="177"/>
                  <a:pt x="466" y="175"/>
                  <a:pt x="473" y="174"/>
                </a:cubicBezTo>
                <a:cubicBezTo>
                  <a:pt x="438" y="150"/>
                  <a:pt x="403" y="128"/>
                  <a:pt x="381" y="115"/>
                </a:cubicBezTo>
                <a:cubicBezTo>
                  <a:pt x="381" y="115"/>
                  <a:pt x="381" y="115"/>
                  <a:pt x="381" y="116"/>
                </a:cubicBezTo>
                <a:cubicBezTo>
                  <a:pt x="381" y="153"/>
                  <a:pt x="358" y="184"/>
                  <a:pt x="321" y="197"/>
                </a:cubicBezTo>
                <a:cubicBezTo>
                  <a:pt x="321" y="171"/>
                  <a:pt x="321" y="171"/>
                  <a:pt x="321" y="171"/>
                </a:cubicBezTo>
                <a:cubicBezTo>
                  <a:pt x="344" y="160"/>
                  <a:pt x="357" y="140"/>
                  <a:pt x="357" y="116"/>
                </a:cubicBezTo>
                <a:cubicBezTo>
                  <a:pt x="357" y="111"/>
                  <a:pt x="357" y="107"/>
                  <a:pt x="356" y="103"/>
                </a:cubicBezTo>
                <a:cubicBezTo>
                  <a:pt x="356" y="103"/>
                  <a:pt x="356" y="103"/>
                  <a:pt x="356" y="103"/>
                </a:cubicBezTo>
                <a:cubicBezTo>
                  <a:pt x="351" y="68"/>
                  <a:pt x="351" y="68"/>
                  <a:pt x="351" y="68"/>
                </a:cubicBezTo>
                <a:cubicBezTo>
                  <a:pt x="380" y="86"/>
                  <a:pt x="380" y="86"/>
                  <a:pt x="380" y="86"/>
                </a:cubicBezTo>
                <a:cubicBezTo>
                  <a:pt x="380" y="86"/>
                  <a:pt x="380" y="86"/>
                  <a:pt x="380" y="86"/>
                </a:cubicBezTo>
                <a:cubicBezTo>
                  <a:pt x="400" y="97"/>
                  <a:pt x="449" y="128"/>
                  <a:pt x="496" y="161"/>
                </a:cubicBezTo>
                <a:lnTo>
                  <a:pt x="535" y="18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8" name="Rectangle 27">
            <a:extLst>
              <a:ext uri="{FF2B5EF4-FFF2-40B4-BE49-F238E27FC236}">
                <a16:creationId xmlns:a16="http://schemas.microsoft.com/office/drawing/2014/main" id="{33250D77-7690-93BB-B8A0-4CEE43B678D8}"/>
              </a:ext>
            </a:extLst>
          </p:cNvPr>
          <p:cNvSpPr/>
          <p:nvPr/>
        </p:nvSpPr>
        <p:spPr>
          <a:xfrm>
            <a:off x="768667" y="3546229"/>
            <a:ext cx="938213" cy="72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6" name="Rectangle 5">
            <a:extLst>
              <a:ext uri="{FF2B5EF4-FFF2-40B4-BE49-F238E27FC236}">
                <a16:creationId xmlns:a16="http://schemas.microsoft.com/office/drawing/2014/main" id="{05A1F6AF-20A3-6819-9353-99581EAEE5C4}"/>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13" name="Group 12">
            <a:extLst>
              <a:ext uri="{FF2B5EF4-FFF2-40B4-BE49-F238E27FC236}">
                <a16:creationId xmlns:a16="http://schemas.microsoft.com/office/drawing/2014/main" id="{098CE12B-E1C5-3BF1-7ED8-79058F010E43}"/>
              </a:ext>
            </a:extLst>
          </p:cNvPr>
          <p:cNvGrpSpPr/>
          <p:nvPr/>
        </p:nvGrpSpPr>
        <p:grpSpPr>
          <a:xfrm>
            <a:off x="10133935" y="126781"/>
            <a:ext cx="1615153" cy="217488"/>
            <a:chOff x="10133935" y="126781"/>
            <a:chExt cx="1615153" cy="217488"/>
          </a:xfrm>
        </p:grpSpPr>
        <p:sp>
          <p:nvSpPr>
            <p:cNvPr id="14" name="Rectangle 13">
              <a:extLst>
                <a:ext uri="{FF2B5EF4-FFF2-40B4-BE49-F238E27FC236}">
                  <a16:creationId xmlns:a16="http://schemas.microsoft.com/office/drawing/2014/main" id="{5CBB6BD9-E3E3-50A3-DD9C-EC83398D9B71}"/>
                </a:ext>
              </a:extLst>
            </p:cNvPr>
            <p:cNvSpPr/>
            <p:nvPr/>
          </p:nvSpPr>
          <p:spPr>
            <a:xfrm>
              <a:off x="10133935"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000000"/>
                  </a:solidFill>
                  <a:ea typeface="Georgia"/>
                  <a:cs typeface="Georgia"/>
                  <a:sym typeface="Georgia"/>
                </a:rPr>
                <a:t>7</a:t>
              </a:r>
              <a:r>
                <a:rPr kumimoji="0" lang="lv-LV" sz="800" b="1" i="0" u="none" strike="noStrike" kern="0" cap="none" spc="0" normalizeH="0" baseline="0">
                  <a:ln>
                    <a:noFill/>
                  </a:ln>
                  <a:solidFill>
                    <a:srgbClr val="000000"/>
                  </a:solidFill>
                  <a:effectLst/>
                  <a:uLnTx/>
                  <a:uFillTx/>
                  <a:ea typeface="Georgia"/>
                  <a:cs typeface="Georgia"/>
                  <a:sym typeface="Georgia"/>
                </a:rPr>
                <a:t>.1</a:t>
              </a:r>
            </a:p>
          </p:txBody>
        </p:sp>
        <p:sp>
          <p:nvSpPr>
            <p:cNvPr id="21" name="Rectangle 20">
              <a:extLst>
                <a:ext uri="{FF2B5EF4-FFF2-40B4-BE49-F238E27FC236}">
                  <a16:creationId xmlns:a16="http://schemas.microsoft.com/office/drawing/2014/main" id="{8E4B0553-B2F3-46F1-EB72-D0D392934492}"/>
                </a:ext>
              </a:extLst>
            </p:cNvPr>
            <p:cNvSpPr/>
            <p:nvPr/>
          </p:nvSpPr>
          <p:spPr>
            <a:xfrm>
              <a:off x="10374320" y="126781"/>
              <a:ext cx="413227"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rgbClr val="000000"/>
                  </a:solidFill>
                  <a:effectLst/>
                  <a:uLnTx/>
                  <a:uFillTx/>
                  <a:ea typeface="Georgia"/>
                  <a:cs typeface="Georgia"/>
                  <a:sym typeface="Georgia"/>
                </a:rPr>
                <a:t>Ievads</a:t>
              </a:r>
            </a:p>
          </p:txBody>
        </p:sp>
        <p:sp>
          <p:nvSpPr>
            <p:cNvPr id="23" name="Rectangle 22">
              <a:extLst>
                <a:ext uri="{FF2B5EF4-FFF2-40B4-BE49-F238E27FC236}">
                  <a16:creationId xmlns:a16="http://schemas.microsoft.com/office/drawing/2014/main" id="{D2EC6B9C-01BB-BAC8-93C6-996742EA3B7C}"/>
                </a:ext>
              </a:extLst>
            </p:cNvPr>
            <p:cNvSpPr/>
            <p:nvPr/>
          </p:nvSpPr>
          <p:spPr>
            <a:xfrm>
              <a:off x="1081193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lv-LV" sz="800" b="1" i="0" u="none" strike="noStrike" kern="0" cap="none" spc="0" normalizeH="0" baseline="0">
                  <a:ln>
                    <a:noFill/>
                  </a:ln>
                  <a:solidFill>
                    <a:schemeClr val="accent1"/>
                  </a:solidFill>
                  <a:effectLst/>
                  <a:uLnTx/>
                  <a:uFillTx/>
                  <a:ea typeface="Georgia"/>
                  <a:cs typeface="Georgia"/>
                  <a:sym typeface="Georgia"/>
                </a:rPr>
                <a:t>.2</a:t>
              </a:r>
            </a:p>
          </p:txBody>
        </p:sp>
        <p:sp>
          <p:nvSpPr>
            <p:cNvPr id="29" name="Rectangle 28">
              <a:extLst>
                <a:ext uri="{FF2B5EF4-FFF2-40B4-BE49-F238E27FC236}">
                  <a16:creationId xmlns:a16="http://schemas.microsoft.com/office/drawing/2014/main" id="{D5C5D726-8AF7-E74A-E212-6B92B2D1011C}"/>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lv-LV" sz="800" b="1" i="0" u="none" strike="noStrike" kern="0" cap="none" spc="0" normalizeH="0" baseline="0">
                  <a:ln>
                    <a:noFill/>
                  </a:ln>
                  <a:solidFill>
                    <a:schemeClr val="accent1"/>
                  </a:solidFill>
                  <a:effectLst/>
                  <a:uLnTx/>
                  <a:uFillTx/>
                  <a:ea typeface="Georgia"/>
                  <a:cs typeface="Georgia"/>
                  <a:sym typeface="Georgia"/>
                </a:rPr>
                <a:t>.3</a:t>
              </a:r>
            </a:p>
          </p:txBody>
        </p:sp>
        <p:sp>
          <p:nvSpPr>
            <p:cNvPr id="30" name="Rectangle 29">
              <a:extLst>
                <a:ext uri="{FF2B5EF4-FFF2-40B4-BE49-F238E27FC236}">
                  <a16:creationId xmlns:a16="http://schemas.microsoft.com/office/drawing/2014/main" id="{D6685C14-901E-B017-F8C5-4D5DDC4265E8}"/>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lv-LV" sz="800" b="1" i="0" u="none" strike="noStrike" kern="0" cap="none" spc="0" normalizeH="0" baseline="0">
                  <a:ln>
                    <a:noFill/>
                  </a:ln>
                  <a:solidFill>
                    <a:schemeClr val="accent1"/>
                  </a:solidFill>
                  <a:effectLst/>
                  <a:uLnTx/>
                  <a:uFillTx/>
                  <a:ea typeface="Georgia"/>
                  <a:cs typeface="Georgia"/>
                  <a:sym typeface="Georgia"/>
                </a:rPr>
                <a:t>.4</a:t>
              </a:r>
            </a:p>
          </p:txBody>
        </p:sp>
        <p:sp>
          <p:nvSpPr>
            <p:cNvPr id="31" name="Rectangle 30">
              <a:extLst>
                <a:ext uri="{FF2B5EF4-FFF2-40B4-BE49-F238E27FC236}">
                  <a16:creationId xmlns:a16="http://schemas.microsoft.com/office/drawing/2014/main" id="{A99CBF7F-19F4-04C3-B7C3-0BBC235F391D}"/>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7.5</a:t>
              </a:r>
            </a:p>
          </p:txBody>
        </p:sp>
      </p:grpSp>
    </p:spTree>
    <p:extLst>
      <p:ext uri="{BB962C8B-B14F-4D97-AF65-F5344CB8AC3E}">
        <p14:creationId xmlns:p14="http://schemas.microsoft.com/office/powerpoint/2010/main" val="11643468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B5F8EBF-52CC-2EDB-41E8-3667D4E9C17E}"/>
              </a:ext>
            </a:extLst>
          </p:cNvPr>
          <p:cNvGraphicFramePr>
            <a:graphicFrameLocks noChangeAspect="1"/>
          </p:cNvGraphicFramePr>
          <p:nvPr>
            <p:custDataLst>
              <p:tags r:id="rId1"/>
            </p:custDataLst>
            <p:extLst>
              <p:ext uri="{D42A27DB-BD31-4B8C-83A1-F6EECF244321}">
                <p14:modId xmlns:p14="http://schemas.microsoft.com/office/powerpoint/2010/main" val="930099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6" name="think-cell data - do not delete" hidden="1">
                        <a:extLst>
                          <a:ext uri="{FF2B5EF4-FFF2-40B4-BE49-F238E27FC236}">
                            <a16:creationId xmlns:a16="http://schemas.microsoft.com/office/drawing/2014/main" id="{8B5F8EBF-52CC-2EDB-41E8-3667D4E9C1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a:extLst>
              <a:ext uri="{FF2B5EF4-FFF2-40B4-BE49-F238E27FC236}">
                <a16:creationId xmlns:a16="http://schemas.microsoft.com/office/drawing/2014/main" id="{A46ED85B-107A-74E8-BADB-2F92835F9215}"/>
              </a:ext>
            </a:extLst>
          </p:cNvPr>
          <p:cNvPicPr>
            <a:picLocks noGrp="1" noChangeAspect="1"/>
          </p:cNvPicPr>
          <p:nvPr>
            <p:ph type="pic" sz="quarter" idx="10"/>
          </p:nvPr>
        </p:nvPicPr>
        <p:blipFill>
          <a:blip r:embed="rId6"/>
          <a:srcRect l="11775" r="11775"/>
          <a:stretch>
            <a:fillRect/>
          </a:stretch>
        </p:blipFill>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064850"/>
            <a:ext cx="7418387" cy="2428875"/>
          </a:xfrm>
        </p:spPr>
        <p:txBody>
          <a:bodyPr vert="horz">
            <a:normAutofit/>
          </a:bodyPr>
          <a:lstStyle/>
          <a:p>
            <a:r>
              <a:rPr lang="lv-LV"/>
              <a:t>7.2. Rīcība </a:t>
            </a:r>
            <a:br>
              <a:rPr lang="en-US"/>
            </a:br>
            <a:r>
              <a:rPr lang="lv-LV"/>
              <a:t>negadījuma vietā</a:t>
            </a:r>
            <a:endParaRPr lang="en-GB"/>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42665413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055D6C6-0BE1-4332-EFB4-363940C0A63C}"/>
              </a:ext>
            </a:extLst>
          </p:cNvPr>
          <p:cNvGraphicFramePr>
            <a:graphicFrameLocks noChangeAspect="1"/>
          </p:cNvGraphicFramePr>
          <p:nvPr>
            <p:custDataLst>
              <p:tags r:id="rId1"/>
            </p:custDataLst>
            <p:extLst>
              <p:ext uri="{D42A27DB-BD31-4B8C-83A1-F6EECF244321}">
                <p14:modId xmlns:p14="http://schemas.microsoft.com/office/powerpoint/2010/main" val="2481002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think-cell data - do not delete" hidden="1">
                        <a:extLst>
                          <a:ext uri="{FF2B5EF4-FFF2-40B4-BE49-F238E27FC236}">
                            <a16:creationId xmlns:a16="http://schemas.microsoft.com/office/drawing/2014/main" id="{4055D6C6-0BE1-4332-EFB4-363940C0A6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2A7C9EB-E60F-E4DD-7BE8-A36BF399BA1F}"/>
              </a:ext>
            </a:extLst>
          </p:cNvPr>
          <p:cNvSpPr>
            <a:spLocks noGrp="1"/>
          </p:cNvSpPr>
          <p:nvPr>
            <p:ph type="title"/>
          </p:nvPr>
        </p:nvSpPr>
        <p:spPr/>
        <p:txBody>
          <a:bodyPr vert="horz"/>
          <a:lstStyle/>
          <a:p>
            <a:r>
              <a:rPr lang="lv-LV"/>
              <a:t>Kādā secībā notiek glābšanas ķēdīte? </a:t>
            </a:r>
            <a:br>
              <a:rPr lang="lv-LV"/>
            </a:br>
            <a:r>
              <a:rPr lang="lv-LV"/>
              <a:t>Kuros soļos Jums ir uzdevums iesaistīties? </a:t>
            </a:r>
            <a:endParaRPr lang="en-GB"/>
          </a:p>
        </p:txBody>
      </p:sp>
      <p:sp>
        <p:nvSpPr>
          <p:cNvPr id="4" name="Slide Number Placeholder 3">
            <a:extLst>
              <a:ext uri="{FF2B5EF4-FFF2-40B4-BE49-F238E27FC236}">
                <a16:creationId xmlns:a16="http://schemas.microsoft.com/office/drawing/2014/main" id="{D7358D30-8A69-1769-6574-925287413D76}"/>
              </a:ext>
            </a:extLst>
          </p:cNvPr>
          <p:cNvSpPr>
            <a:spLocks noGrp="1"/>
          </p:cNvSpPr>
          <p:nvPr>
            <p:ph type="sldNum" sz="quarter" idx="11"/>
          </p:nvPr>
        </p:nvSpPr>
        <p:spPr/>
        <p:txBody>
          <a:bodyPr/>
          <a:lstStyle/>
          <a:p>
            <a:fld id="{7870704B-CE94-48CC-AF30-84932A1262A7}" type="slidenum">
              <a:rPr lang="en-GB" smtClean="0"/>
              <a:pPr/>
              <a:t>9</a:t>
            </a:fld>
            <a:endParaRPr lang="en-GB"/>
          </a:p>
        </p:txBody>
      </p:sp>
      <p:sp>
        <p:nvSpPr>
          <p:cNvPr id="9" name="TextBox 8">
            <a:extLst>
              <a:ext uri="{FF2B5EF4-FFF2-40B4-BE49-F238E27FC236}">
                <a16:creationId xmlns:a16="http://schemas.microsoft.com/office/drawing/2014/main" id="{4410BDA3-C70D-09A4-DA6C-34323C7C12E7}"/>
              </a:ext>
            </a:extLst>
          </p:cNvPr>
          <p:cNvSpPr txBox="1"/>
          <p:nvPr/>
        </p:nvSpPr>
        <p:spPr>
          <a:xfrm>
            <a:off x="5141037" y="2575710"/>
            <a:ext cx="1914525" cy="576263"/>
          </a:xfrm>
          <a:prstGeom prst="rect">
            <a:avLst/>
          </a:prstGeom>
          <a:solidFill>
            <a:schemeClr val="accent1"/>
          </a:solidFill>
        </p:spPr>
        <p:txBody>
          <a:bodyPr wrap="square" lIns="72000" tIns="0" rIns="72000" bIns="0" rtlCol="0" anchor="ctr">
            <a:noAutofit/>
          </a:bodyPr>
          <a:lstStyle/>
          <a:p>
            <a:pPr algn="ctr">
              <a:lnSpc>
                <a:spcPct val="100000"/>
              </a:lnSpc>
              <a:spcAft>
                <a:spcPts val="600"/>
              </a:spcAft>
              <a:buSzPct val="100000"/>
            </a:pPr>
            <a:r>
              <a:rPr lang="lv-LV" sz="1400" b="1">
                <a:solidFill>
                  <a:schemeClr val="bg1"/>
                </a:solidFill>
                <a:effectLst/>
                <a:ea typeface="Calibri" panose="020F0502020204030204" pitchFamily="34" charset="0"/>
                <a:cs typeface="Times New Roman" panose="02020603050405020304" pitchFamily="18" charset="0"/>
              </a:rPr>
              <a:t>Tūlītējie pasākumi</a:t>
            </a:r>
            <a:endParaRPr lang="en-GB" sz="1400" b="1">
              <a:solidFill>
                <a:schemeClr val="bg1"/>
              </a:solidFill>
            </a:endParaRPr>
          </a:p>
        </p:txBody>
      </p:sp>
      <p:sp>
        <p:nvSpPr>
          <p:cNvPr id="10" name="TextBox 9">
            <a:extLst>
              <a:ext uri="{FF2B5EF4-FFF2-40B4-BE49-F238E27FC236}">
                <a16:creationId xmlns:a16="http://schemas.microsoft.com/office/drawing/2014/main" id="{62B42245-DA42-CBD7-0584-79D1BE955F34}"/>
              </a:ext>
            </a:extLst>
          </p:cNvPr>
          <p:cNvSpPr txBox="1"/>
          <p:nvPr/>
        </p:nvSpPr>
        <p:spPr>
          <a:xfrm>
            <a:off x="442913" y="2575710"/>
            <a:ext cx="1914525" cy="576263"/>
          </a:xfrm>
          <a:prstGeom prst="rect">
            <a:avLst/>
          </a:prstGeom>
          <a:solidFill>
            <a:schemeClr val="accent1"/>
          </a:solidFill>
        </p:spPr>
        <p:txBody>
          <a:bodyPr wrap="square" lIns="72000" tIns="0" rIns="72000" bIns="0" rtlCol="0" anchor="ctr">
            <a:noAutofit/>
          </a:bodyPr>
          <a:lstStyle/>
          <a:p>
            <a:pPr algn="ctr">
              <a:lnSpc>
                <a:spcPct val="100000"/>
              </a:lnSpc>
              <a:spcAft>
                <a:spcPts val="600"/>
              </a:spcAft>
              <a:buSzPct val="100000"/>
            </a:pPr>
            <a:r>
              <a:rPr lang="lv-LV" sz="1400" b="1">
                <a:solidFill>
                  <a:schemeClr val="bg1"/>
                </a:solidFill>
                <a:effectLst/>
                <a:ea typeface="Calibri" panose="020F0502020204030204" pitchFamily="34" charset="0"/>
                <a:cs typeface="Times New Roman" panose="02020603050405020304" pitchFamily="18" charset="0"/>
              </a:rPr>
              <a:t>Palīdzības izsaukšana</a:t>
            </a:r>
            <a:endParaRPr lang="en-GB" sz="1400" b="1">
              <a:solidFill>
                <a:schemeClr val="bg1"/>
              </a:solidFill>
            </a:endParaRPr>
          </a:p>
        </p:txBody>
      </p:sp>
      <p:sp>
        <p:nvSpPr>
          <p:cNvPr id="11" name="TextBox 10">
            <a:extLst>
              <a:ext uri="{FF2B5EF4-FFF2-40B4-BE49-F238E27FC236}">
                <a16:creationId xmlns:a16="http://schemas.microsoft.com/office/drawing/2014/main" id="{966F4E94-42AF-8C4C-9F85-A34218079A7B}"/>
              </a:ext>
            </a:extLst>
          </p:cNvPr>
          <p:cNvSpPr txBox="1"/>
          <p:nvPr/>
        </p:nvSpPr>
        <p:spPr>
          <a:xfrm>
            <a:off x="9839161" y="2575710"/>
            <a:ext cx="1914525" cy="576263"/>
          </a:xfrm>
          <a:prstGeom prst="rect">
            <a:avLst/>
          </a:prstGeom>
          <a:solidFill>
            <a:schemeClr val="accent1"/>
          </a:solidFill>
        </p:spPr>
        <p:txBody>
          <a:bodyPr wrap="square" lIns="72000" tIns="0" rIns="72000" bIns="0" rtlCol="0" anchor="ctr">
            <a:noAutofit/>
          </a:bodyPr>
          <a:lstStyle/>
          <a:p>
            <a:pPr algn="ctr">
              <a:lnSpc>
                <a:spcPct val="100000"/>
              </a:lnSpc>
              <a:spcAft>
                <a:spcPts val="600"/>
              </a:spcAft>
              <a:buSzPct val="100000"/>
            </a:pPr>
            <a:r>
              <a:rPr lang="lv-LV" sz="1400" b="1">
                <a:solidFill>
                  <a:schemeClr val="bg1"/>
                </a:solidFill>
                <a:effectLst/>
                <a:ea typeface="Calibri" panose="020F0502020204030204" pitchFamily="34" charset="0"/>
                <a:cs typeface="Times New Roman" panose="02020603050405020304" pitchFamily="18" charset="0"/>
              </a:rPr>
              <a:t>Cietušā aprūpe</a:t>
            </a:r>
            <a:endParaRPr lang="en-GB" sz="1400" b="1">
              <a:solidFill>
                <a:schemeClr val="bg1"/>
              </a:solidFill>
            </a:endParaRPr>
          </a:p>
        </p:txBody>
      </p:sp>
      <p:sp>
        <p:nvSpPr>
          <p:cNvPr id="14" name="TextBox 13">
            <a:extLst>
              <a:ext uri="{FF2B5EF4-FFF2-40B4-BE49-F238E27FC236}">
                <a16:creationId xmlns:a16="http://schemas.microsoft.com/office/drawing/2014/main" id="{C12F4A68-0A98-B4BF-1D5E-5B0917DB284B}"/>
              </a:ext>
            </a:extLst>
          </p:cNvPr>
          <p:cNvSpPr txBox="1"/>
          <p:nvPr/>
        </p:nvSpPr>
        <p:spPr>
          <a:xfrm>
            <a:off x="2791975" y="2575710"/>
            <a:ext cx="1914525" cy="576263"/>
          </a:xfrm>
          <a:prstGeom prst="rect">
            <a:avLst/>
          </a:prstGeom>
          <a:solidFill>
            <a:schemeClr val="accent1"/>
          </a:solidFill>
        </p:spPr>
        <p:txBody>
          <a:bodyPr wrap="square" lIns="72000" tIns="0" rIns="72000" bIns="0" rtlCol="0" anchor="ctr">
            <a:noAutofit/>
          </a:bodyPr>
          <a:lstStyle/>
          <a:p>
            <a:pPr algn="ctr">
              <a:lnSpc>
                <a:spcPct val="100000"/>
              </a:lnSpc>
              <a:spcAft>
                <a:spcPts val="600"/>
              </a:spcAft>
              <a:buSzPct val="100000"/>
            </a:pPr>
            <a:r>
              <a:rPr lang="lv-LV" sz="1400" b="1">
                <a:solidFill>
                  <a:schemeClr val="bg1"/>
                </a:solidFill>
                <a:effectLst/>
                <a:ea typeface="Calibri" panose="020F0502020204030204" pitchFamily="34" charset="0"/>
                <a:cs typeface="Times New Roman" panose="02020603050405020304" pitchFamily="18" charset="0"/>
              </a:rPr>
              <a:t>Neatliekamā palīdzība</a:t>
            </a:r>
            <a:endParaRPr lang="en-GB" sz="1400" b="1">
              <a:solidFill>
                <a:schemeClr val="bg1"/>
              </a:solidFill>
            </a:endParaRPr>
          </a:p>
        </p:txBody>
      </p:sp>
      <p:sp>
        <p:nvSpPr>
          <p:cNvPr id="15" name="TextBox 14">
            <a:extLst>
              <a:ext uri="{FF2B5EF4-FFF2-40B4-BE49-F238E27FC236}">
                <a16:creationId xmlns:a16="http://schemas.microsoft.com/office/drawing/2014/main" id="{18CF1D23-C8C0-7311-A610-9559FB968B61}"/>
              </a:ext>
            </a:extLst>
          </p:cNvPr>
          <p:cNvSpPr txBox="1"/>
          <p:nvPr/>
        </p:nvSpPr>
        <p:spPr>
          <a:xfrm>
            <a:off x="7490099" y="2575710"/>
            <a:ext cx="1914525" cy="576263"/>
          </a:xfrm>
          <a:prstGeom prst="rect">
            <a:avLst/>
          </a:prstGeom>
          <a:solidFill>
            <a:schemeClr val="accent1"/>
          </a:solidFill>
        </p:spPr>
        <p:txBody>
          <a:bodyPr wrap="square" lIns="72000" tIns="0" rIns="72000" bIns="0" rtlCol="0" anchor="ctr">
            <a:noAutofit/>
          </a:bodyPr>
          <a:lstStyle/>
          <a:p>
            <a:pPr lvl="0" algn="ctr" hangingPunct="0">
              <a:lnSpc>
                <a:spcPct val="115000"/>
              </a:lnSpc>
              <a:spcAft>
                <a:spcPts val="1000"/>
              </a:spcAft>
            </a:pPr>
            <a:r>
              <a:rPr lang="lv-LV" sz="1400" b="1">
                <a:solidFill>
                  <a:schemeClr val="bg1"/>
                </a:solidFill>
                <a:effectLst/>
                <a:ea typeface="Calibri" panose="020F0502020204030204" pitchFamily="34" charset="0"/>
                <a:cs typeface="Times New Roman" panose="02020603050405020304" pitchFamily="18" charset="0"/>
              </a:rPr>
              <a:t>Slimnīca</a:t>
            </a:r>
            <a:endParaRPr lang="en-GB" sz="1400" b="1">
              <a:solidFill>
                <a:schemeClr val="bg1"/>
              </a:solidFill>
              <a:effectLst/>
              <a:ea typeface="Calibri" panose="020F0502020204030204" pitchFamily="34" charset="0"/>
              <a:cs typeface="Times New Roman" panose="02020603050405020304" pitchFamily="18" charset="0"/>
            </a:endParaRPr>
          </a:p>
        </p:txBody>
      </p:sp>
      <p:sp>
        <p:nvSpPr>
          <p:cNvPr id="19" name="Arrow: Right 18">
            <a:extLst>
              <a:ext uri="{FF2B5EF4-FFF2-40B4-BE49-F238E27FC236}">
                <a16:creationId xmlns:a16="http://schemas.microsoft.com/office/drawing/2014/main" id="{71843FC2-0134-C5A1-3413-D29A3E972CB9}"/>
              </a:ext>
            </a:extLst>
          </p:cNvPr>
          <p:cNvSpPr/>
          <p:nvPr/>
        </p:nvSpPr>
        <p:spPr>
          <a:xfrm>
            <a:off x="9523133" y="4581689"/>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a:p>
        </p:txBody>
      </p:sp>
      <p:sp>
        <p:nvSpPr>
          <p:cNvPr id="20" name="Content Placeholder 1">
            <a:extLst>
              <a:ext uri="{FF2B5EF4-FFF2-40B4-BE49-F238E27FC236}">
                <a16:creationId xmlns:a16="http://schemas.microsoft.com/office/drawing/2014/main" id="{5FE60873-156A-58E0-91C4-D2678DCF6C33}"/>
              </a:ext>
            </a:extLst>
          </p:cNvPr>
          <p:cNvSpPr txBox="1">
            <a:spLocks/>
          </p:cNvSpPr>
          <p:nvPr/>
        </p:nvSpPr>
        <p:spPr>
          <a:xfrm>
            <a:off x="442913" y="4401689"/>
            <a:ext cx="1914207"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400">
                <a:solidFill>
                  <a:schemeClr val="bg1"/>
                </a:solidFill>
              </a:rPr>
              <a:t>…</a:t>
            </a:r>
            <a:endParaRPr lang="en-GB" sz="1400">
              <a:solidFill>
                <a:schemeClr val="bg1"/>
              </a:solidFill>
            </a:endParaRPr>
          </a:p>
        </p:txBody>
      </p:sp>
      <p:sp>
        <p:nvSpPr>
          <p:cNvPr id="26" name="Content Placeholder 1">
            <a:extLst>
              <a:ext uri="{FF2B5EF4-FFF2-40B4-BE49-F238E27FC236}">
                <a16:creationId xmlns:a16="http://schemas.microsoft.com/office/drawing/2014/main" id="{D02ECC2D-3609-D901-FD99-81FB0F16D429}"/>
              </a:ext>
            </a:extLst>
          </p:cNvPr>
          <p:cNvSpPr txBox="1">
            <a:spLocks/>
          </p:cNvSpPr>
          <p:nvPr/>
        </p:nvSpPr>
        <p:spPr>
          <a:xfrm>
            <a:off x="1112016" y="3479921"/>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4000">
                <a:solidFill>
                  <a:schemeClr val="accent2"/>
                </a:solidFill>
              </a:rPr>
              <a:t>1</a:t>
            </a:r>
          </a:p>
        </p:txBody>
      </p:sp>
      <p:sp>
        <p:nvSpPr>
          <p:cNvPr id="36" name="Content Placeholder 1">
            <a:extLst>
              <a:ext uri="{FF2B5EF4-FFF2-40B4-BE49-F238E27FC236}">
                <a16:creationId xmlns:a16="http://schemas.microsoft.com/office/drawing/2014/main" id="{1888B678-3547-6CC3-ADA0-12DDC28292A0}"/>
              </a:ext>
            </a:extLst>
          </p:cNvPr>
          <p:cNvSpPr txBox="1">
            <a:spLocks/>
          </p:cNvSpPr>
          <p:nvPr/>
        </p:nvSpPr>
        <p:spPr>
          <a:xfrm rot="5400000">
            <a:off x="1363504" y="3864096"/>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7" name="Content Placeholder 1">
            <a:extLst>
              <a:ext uri="{FF2B5EF4-FFF2-40B4-BE49-F238E27FC236}">
                <a16:creationId xmlns:a16="http://schemas.microsoft.com/office/drawing/2014/main" id="{B6DDB0A2-47C9-76F8-7A2C-69EB8DD17565}"/>
              </a:ext>
            </a:extLst>
          </p:cNvPr>
          <p:cNvSpPr txBox="1">
            <a:spLocks/>
          </p:cNvSpPr>
          <p:nvPr/>
        </p:nvSpPr>
        <p:spPr>
          <a:xfrm>
            <a:off x="2792055" y="4401689"/>
            <a:ext cx="1914207"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400">
                <a:solidFill>
                  <a:schemeClr val="bg1"/>
                </a:solidFill>
              </a:rPr>
              <a:t>…</a:t>
            </a:r>
            <a:endParaRPr lang="en-GB" sz="1400">
              <a:solidFill>
                <a:schemeClr val="bg1"/>
              </a:solidFill>
            </a:endParaRPr>
          </a:p>
        </p:txBody>
      </p:sp>
      <p:sp>
        <p:nvSpPr>
          <p:cNvPr id="38" name="Content Placeholder 1">
            <a:extLst>
              <a:ext uri="{FF2B5EF4-FFF2-40B4-BE49-F238E27FC236}">
                <a16:creationId xmlns:a16="http://schemas.microsoft.com/office/drawing/2014/main" id="{97202C5A-6B65-75B4-361A-B6E81DBA1028}"/>
              </a:ext>
            </a:extLst>
          </p:cNvPr>
          <p:cNvSpPr txBox="1">
            <a:spLocks/>
          </p:cNvSpPr>
          <p:nvPr/>
        </p:nvSpPr>
        <p:spPr>
          <a:xfrm>
            <a:off x="3458264" y="3479921"/>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4000">
                <a:solidFill>
                  <a:schemeClr val="accent2"/>
                </a:solidFill>
              </a:rPr>
              <a:t>2</a:t>
            </a:r>
          </a:p>
        </p:txBody>
      </p:sp>
      <p:sp>
        <p:nvSpPr>
          <p:cNvPr id="39" name="Content Placeholder 1">
            <a:extLst>
              <a:ext uri="{FF2B5EF4-FFF2-40B4-BE49-F238E27FC236}">
                <a16:creationId xmlns:a16="http://schemas.microsoft.com/office/drawing/2014/main" id="{F5BCF2F7-5654-7170-9862-D0527312BE10}"/>
              </a:ext>
            </a:extLst>
          </p:cNvPr>
          <p:cNvSpPr txBox="1">
            <a:spLocks/>
          </p:cNvSpPr>
          <p:nvPr/>
        </p:nvSpPr>
        <p:spPr>
          <a:xfrm rot="5400000">
            <a:off x="3709752" y="3864096"/>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0" name="Content Placeholder 1">
            <a:extLst>
              <a:ext uri="{FF2B5EF4-FFF2-40B4-BE49-F238E27FC236}">
                <a16:creationId xmlns:a16="http://schemas.microsoft.com/office/drawing/2014/main" id="{29BA4A71-B7C9-A424-C282-D4ED9B1216C9}"/>
              </a:ext>
            </a:extLst>
          </p:cNvPr>
          <p:cNvSpPr txBox="1">
            <a:spLocks/>
          </p:cNvSpPr>
          <p:nvPr/>
        </p:nvSpPr>
        <p:spPr>
          <a:xfrm>
            <a:off x="5141197" y="4401689"/>
            <a:ext cx="1914207"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400">
                <a:solidFill>
                  <a:schemeClr val="bg1"/>
                </a:solidFill>
              </a:rPr>
              <a:t>…</a:t>
            </a:r>
            <a:endParaRPr lang="en-GB" sz="1400">
              <a:solidFill>
                <a:schemeClr val="bg1"/>
              </a:solidFill>
            </a:endParaRPr>
          </a:p>
        </p:txBody>
      </p:sp>
      <p:sp>
        <p:nvSpPr>
          <p:cNvPr id="41" name="Content Placeholder 1">
            <a:extLst>
              <a:ext uri="{FF2B5EF4-FFF2-40B4-BE49-F238E27FC236}">
                <a16:creationId xmlns:a16="http://schemas.microsoft.com/office/drawing/2014/main" id="{0FF1845D-4220-25ED-DA95-9310DA52A0A7}"/>
              </a:ext>
            </a:extLst>
          </p:cNvPr>
          <p:cNvSpPr txBox="1">
            <a:spLocks/>
          </p:cNvSpPr>
          <p:nvPr/>
        </p:nvSpPr>
        <p:spPr>
          <a:xfrm>
            <a:off x="5804512" y="3479921"/>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4000">
                <a:solidFill>
                  <a:schemeClr val="accent2"/>
                </a:solidFill>
              </a:rPr>
              <a:t>3</a:t>
            </a:r>
          </a:p>
        </p:txBody>
      </p:sp>
      <p:sp>
        <p:nvSpPr>
          <p:cNvPr id="42" name="Content Placeholder 1">
            <a:extLst>
              <a:ext uri="{FF2B5EF4-FFF2-40B4-BE49-F238E27FC236}">
                <a16:creationId xmlns:a16="http://schemas.microsoft.com/office/drawing/2014/main" id="{55FA582E-FF70-3B73-B78C-A3C26481B26E}"/>
              </a:ext>
            </a:extLst>
          </p:cNvPr>
          <p:cNvSpPr txBox="1">
            <a:spLocks/>
          </p:cNvSpPr>
          <p:nvPr/>
        </p:nvSpPr>
        <p:spPr>
          <a:xfrm rot="5400000">
            <a:off x="6056000" y="3864096"/>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3" name="Content Placeholder 1">
            <a:extLst>
              <a:ext uri="{FF2B5EF4-FFF2-40B4-BE49-F238E27FC236}">
                <a16:creationId xmlns:a16="http://schemas.microsoft.com/office/drawing/2014/main" id="{A4C86A5D-5866-D51D-FE31-1FACF697AC6E}"/>
              </a:ext>
            </a:extLst>
          </p:cNvPr>
          <p:cNvSpPr txBox="1">
            <a:spLocks/>
          </p:cNvSpPr>
          <p:nvPr/>
        </p:nvSpPr>
        <p:spPr>
          <a:xfrm>
            <a:off x="7490339" y="4401689"/>
            <a:ext cx="1914207"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400">
                <a:solidFill>
                  <a:schemeClr val="bg1"/>
                </a:solidFill>
              </a:rPr>
              <a:t>…</a:t>
            </a:r>
            <a:endParaRPr lang="en-GB" sz="1400">
              <a:solidFill>
                <a:schemeClr val="bg1"/>
              </a:solidFill>
            </a:endParaRPr>
          </a:p>
        </p:txBody>
      </p:sp>
      <p:sp>
        <p:nvSpPr>
          <p:cNvPr id="44" name="Content Placeholder 1">
            <a:extLst>
              <a:ext uri="{FF2B5EF4-FFF2-40B4-BE49-F238E27FC236}">
                <a16:creationId xmlns:a16="http://schemas.microsoft.com/office/drawing/2014/main" id="{71332463-0F59-696D-65D0-086539192E2F}"/>
              </a:ext>
            </a:extLst>
          </p:cNvPr>
          <p:cNvSpPr txBox="1">
            <a:spLocks/>
          </p:cNvSpPr>
          <p:nvPr/>
        </p:nvSpPr>
        <p:spPr>
          <a:xfrm>
            <a:off x="8150760" y="3479921"/>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4000">
                <a:solidFill>
                  <a:schemeClr val="accent2"/>
                </a:solidFill>
              </a:rPr>
              <a:t>4</a:t>
            </a:r>
          </a:p>
        </p:txBody>
      </p:sp>
      <p:sp>
        <p:nvSpPr>
          <p:cNvPr id="45" name="Content Placeholder 1">
            <a:extLst>
              <a:ext uri="{FF2B5EF4-FFF2-40B4-BE49-F238E27FC236}">
                <a16:creationId xmlns:a16="http://schemas.microsoft.com/office/drawing/2014/main" id="{A09F2D4C-59C0-4533-2F78-95B3165B33BF}"/>
              </a:ext>
            </a:extLst>
          </p:cNvPr>
          <p:cNvSpPr txBox="1">
            <a:spLocks/>
          </p:cNvSpPr>
          <p:nvPr/>
        </p:nvSpPr>
        <p:spPr>
          <a:xfrm rot="5400000">
            <a:off x="8402248" y="3864096"/>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6" name="Content Placeholder 1">
            <a:extLst>
              <a:ext uri="{FF2B5EF4-FFF2-40B4-BE49-F238E27FC236}">
                <a16:creationId xmlns:a16="http://schemas.microsoft.com/office/drawing/2014/main" id="{D68576F3-035C-863F-7882-50755D2DB247}"/>
              </a:ext>
            </a:extLst>
          </p:cNvPr>
          <p:cNvSpPr txBox="1">
            <a:spLocks/>
          </p:cNvSpPr>
          <p:nvPr/>
        </p:nvSpPr>
        <p:spPr>
          <a:xfrm>
            <a:off x="9839479" y="4401689"/>
            <a:ext cx="1914207"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400">
                <a:solidFill>
                  <a:schemeClr val="bg1"/>
                </a:solidFill>
              </a:rPr>
              <a:t>…</a:t>
            </a:r>
            <a:endParaRPr lang="en-GB" sz="1400">
              <a:solidFill>
                <a:schemeClr val="bg1"/>
              </a:solidFill>
            </a:endParaRPr>
          </a:p>
        </p:txBody>
      </p:sp>
      <p:sp>
        <p:nvSpPr>
          <p:cNvPr id="47" name="Content Placeholder 1">
            <a:extLst>
              <a:ext uri="{FF2B5EF4-FFF2-40B4-BE49-F238E27FC236}">
                <a16:creationId xmlns:a16="http://schemas.microsoft.com/office/drawing/2014/main" id="{29B25CBF-74E0-FC8C-7D77-DF0199AB19BA}"/>
              </a:ext>
            </a:extLst>
          </p:cNvPr>
          <p:cNvSpPr txBox="1">
            <a:spLocks/>
          </p:cNvSpPr>
          <p:nvPr/>
        </p:nvSpPr>
        <p:spPr>
          <a:xfrm>
            <a:off x="10508582" y="3479921"/>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4000">
                <a:solidFill>
                  <a:schemeClr val="accent2"/>
                </a:solidFill>
              </a:rPr>
              <a:t>5</a:t>
            </a:r>
          </a:p>
        </p:txBody>
      </p:sp>
      <p:sp>
        <p:nvSpPr>
          <p:cNvPr id="48" name="Content Placeholder 1">
            <a:extLst>
              <a:ext uri="{FF2B5EF4-FFF2-40B4-BE49-F238E27FC236}">
                <a16:creationId xmlns:a16="http://schemas.microsoft.com/office/drawing/2014/main" id="{888917C4-07F0-CFA2-C0F7-9FA29AF00CB6}"/>
              </a:ext>
            </a:extLst>
          </p:cNvPr>
          <p:cNvSpPr txBox="1">
            <a:spLocks/>
          </p:cNvSpPr>
          <p:nvPr/>
        </p:nvSpPr>
        <p:spPr>
          <a:xfrm rot="5400000">
            <a:off x="10760070" y="3864096"/>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9" name="Arrow: Right 48">
            <a:extLst>
              <a:ext uri="{FF2B5EF4-FFF2-40B4-BE49-F238E27FC236}">
                <a16:creationId xmlns:a16="http://schemas.microsoft.com/office/drawing/2014/main" id="{D89C0A52-02D3-7AC3-F0C9-FF063EF637C1}"/>
              </a:ext>
            </a:extLst>
          </p:cNvPr>
          <p:cNvSpPr/>
          <p:nvPr/>
        </p:nvSpPr>
        <p:spPr>
          <a:xfrm>
            <a:off x="7173991" y="4581689"/>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a:p>
        </p:txBody>
      </p:sp>
      <p:sp>
        <p:nvSpPr>
          <p:cNvPr id="50" name="Arrow: Right 49">
            <a:extLst>
              <a:ext uri="{FF2B5EF4-FFF2-40B4-BE49-F238E27FC236}">
                <a16:creationId xmlns:a16="http://schemas.microsoft.com/office/drawing/2014/main" id="{9AD9BCDB-1E9E-788D-9A3F-66335EA1644A}"/>
              </a:ext>
            </a:extLst>
          </p:cNvPr>
          <p:cNvSpPr/>
          <p:nvPr/>
        </p:nvSpPr>
        <p:spPr>
          <a:xfrm>
            <a:off x="4824849" y="4581689"/>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a:p>
        </p:txBody>
      </p:sp>
      <p:sp>
        <p:nvSpPr>
          <p:cNvPr id="51" name="Arrow: Right 50">
            <a:extLst>
              <a:ext uri="{FF2B5EF4-FFF2-40B4-BE49-F238E27FC236}">
                <a16:creationId xmlns:a16="http://schemas.microsoft.com/office/drawing/2014/main" id="{ECC22457-F135-8C98-A349-CC508DDA20F2}"/>
              </a:ext>
            </a:extLst>
          </p:cNvPr>
          <p:cNvSpPr/>
          <p:nvPr/>
        </p:nvSpPr>
        <p:spPr>
          <a:xfrm>
            <a:off x="2475707" y="4581689"/>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a:p>
        </p:txBody>
      </p:sp>
      <p:sp>
        <p:nvSpPr>
          <p:cNvPr id="52" name="Content Placeholder 1">
            <a:extLst>
              <a:ext uri="{FF2B5EF4-FFF2-40B4-BE49-F238E27FC236}">
                <a16:creationId xmlns:a16="http://schemas.microsoft.com/office/drawing/2014/main" id="{05743857-0CDF-A43A-5EA0-85F52B06DC59}"/>
              </a:ext>
            </a:extLst>
          </p:cNvPr>
          <p:cNvSpPr txBox="1">
            <a:spLocks/>
          </p:cNvSpPr>
          <p:nvPr/>
        </p:nvSpPr>
        <p:spPr>
          <a:xfrm>
            <a:off x="442913" y="4963138"/>
            <a:ext cx="1914207" cy="1209062"/>
          </a:xfrm>
          <a:prstGeom prst="rect">
            <a:avLst/>
          </a:prstGeom>
          <a:solidFill>
            <a:schemeClr val="accent4"/>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endParaRPr lang="en-GB" sz="1400">
              <a:solidFill>
                <a:schemeClr val="bg1"/>
              </a:solidFill>
            </a:endParaRPr>
          </a:p>
        </p:txBody>
      </p:sp>
      <p:sp>
        <p:nvSpPr>
          <p:cNvPr id="53" name="Content Placeholder 1">
            <a:extLst>
              <a:ext uri="{FF2B5EF4-FFF2-40B4-BE49-F238E27FC236}">
                <a16:creationId xmlns:a16="http://schemas.microsoft.com/office/drawing/2014/main" id="{5E0B80E0-15A4-44DA-D0CB-1EFD5B42B5C8}"/>
              </a:ext>
            </a:extLst>
          </p:cNvPr>
          <p:cNvSpPr txBox="1">
            <a:spLocks/>
          </p:cNvSpPr>
          <p:nvPr/>
        </p:nvSpPr>
        <p:spPr>
          <a:xfrm>
            <a:off x="2792055" y="4963138"/>
            <a:ext cx="1914207" cy="1209062"/>
          </a:xfrm>
          <a:prstGeom prst="rect">
            <a:avLst/>
          </a:prstGeom>
          <a:solidFill>
            <a:schemeClr val="accent4"/>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endParaRPr lang="en-GB" sz="1400">
              <a:solidFill>
                <a:schemeClr val="bg1"/>
              </a:solidFill>
            </a:endParaRPr>
          </a:p>
        </p:txBody>
      </p:sp>
      <p:sp>
        <p:nvSpPr>
          <p:cNvPr id="54" name="Content Placeholder 1">
            <a:extLst>
              <a:ext uri="{FF2B5EF4-FFF2-40B4-BE49-F238E27FC236}">
                <a16:creationId xmlns:a16="http://schemas.microsoft.com/office/drawing/2014/main" id="{C75DD2F1-5D17-470B-3ED8-5421FE96E2B3}"/>
              </a:ext>
            </a:extLst>
          </p:cNvPr>
          <p:cNvSpPr txBox="1">
            <a:spLocks/>
          </p:cNvSpPr>
          <p:nvPr/>
        </p:nvSpPr>
        <p:spPr>
          <a:xfrm>
            <a:off x="5141197" y="4963138"/>
            <a:ext cx="1914207" cy="1209062"/>
          </a:xfrm>
          <a:prstGeom prst="rect">
            <a:avLst/>
          </a:prstGeom>
          <a:solidFill>
            <a:schemeClr val="accent4"/>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endParaRPr lang="en-GB" sz="1400">
              <a:solidFill>
                <a:schemeClr val="bg1"/>
              </a:solidFill>
            </a:endParaRPr>
          </a:p>
        </p:txBody>
      </p:sp>
      <p:sp>
        <p:nvSpPr>
          <p:cNvPr id="55" name="Content Placeholder 1">
            <a:extLst>
              <a:ext uri="{FF2B5EF4-FFF2-40B4-BE49-F238E27FC236}">
                <a16:creationId xmlns:a16="http://schemas.microsoft.com/office/drawing/2014/main" id="{6C2B476F-6CF6-01F8-AA2A-7A6F775F0248}"/>
              </a:ext>
            </a:extLst>
          </p:cNvPr>
          <p:cNvSpPr txBox="1">
            <a:spLocks/>
          </p:cNvSpPr>
          <p:nvPr/>
        </p:nvSpPr>
        <p:spPr>
          <a:xfrm>
            <a:off x="7490339" y="4963138"/>
            <a:ext cx="1914207" cy="1209062"/>
          </a:xfrm>
          <a:prstGeom prst="rect">
            <a:avLst/>
          </a:prstGeom>
          <a:solidFill>
            <a:schemeClr val="accent4"/>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endParaRPr lang="en-GB" sz="1400">
              <a:solidFill>
                <a:schemeClr val="bg1"/>
              </a:solidFill>
            </a:endParaRPr>
          </a:p>
        </p:txBody>
      </p:sp>
      <p:sp>
        <p:nvSpPr>
          <p:cNvPr id="56" name="Content Placeholder 1">
            <a:extLst>
              <a:ext uri="{FF2B5EF4-FFF2-40B4-BE49-F238E27FC236}">
                <a16:creationId xmlns:a16="http://schemas.microsoft.com/office/drawing/2014/main" id="{968930DB-9B23-525A-E054-12977143D86D}"/>
              </a:ext>
            </a:extLst>
          </p:cNvPr>
          <p:cNvSpPr txBox="1">
            <a:spLocks/>
          </p:cNvSpPr>
          <p:nvPr/>
        </p:nvSpPr>
        <p:spPr>
          <a:xfrm>
            <a:off x="9839479" y="4963138"/>
            <a:ext cx="1914207" cy="1209062"/>
          </a:xfrm>
          <a:prstGeom prst="rect">
            <a:avLst/>
          </a:prstGeom>
          <a:solidFill>
            <a:schemeClr val="accent4"/>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endParaRPr lang="en-GB" sz="1400">
              <a:solidFill>
                <a:schemeClr val="bg1"/>
              </a:solidFill>
            </a:endParaRPr>
          </a:p>
        </p:txBody>
      </p:sp>
      <p:cxnSp>
        <p:nvCxnSpPr>
          <p:cNvPr id="58" name="Straight Connector 57">
            <a:extLst>
              <a:ext uri="{FF2B5EF4-FFF2-40B4-BE49-F238E27FC236}">
                <a16:creationId xmlns:a16="http://schemas.microsoft.com/office/drawing/2014/main" id="{40D223D7-59FB-34E8-848D-B3340127E7BE}"/>
              </a:ext>
            </a:extLst>
          </p:cNvPr>
          <p:cNvCxnSpPr>
            <a:cxnSpLocks/>
          </p:cNvCxnSpPr>
          <p:nvPr/>
        </p:nvCxnSpPr>
        <p:spPr>
          <a:xfrm>
            <a:off x="442913" y="3296631"/>
            <a:ext cx="11306175" cy="1588"/>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65" name="Google Shape;1337;p89">
            <a:extLst>
              <a:ext uri="{FF2B5EF4-FFF2-40B4-BE49-F238E27FC236}">
                <a16:creationId xmlns:a16="http://schemas.microsoft.com/office/drawing/2014/main" id="{DC677933-1B8A-C025-D261-38B3BC7D1CAB}"/>
              </a:ext>
            </a:extLst>
          </p:cNvPr>
          <p:cNvSpPr/>
          <p:nvPr/>
        </p:nvSpPr>
        <p:spPr>
          <a:xfrm>
            <a:off x="1148016" y="5315669"/>
            <a:ext cx="504000" cy="504000"/>
          </a:xfrm>
          <a:custGeom>
            <a:avLst/>
            <a:gdLst/>
            <a:ahLst/>
            <a:cxnLst/>
            <a:rect l="l" t="t" r="r" b="b"/>
            <a:pathLst>
              <a:path w="576" h="576" extrusionOk="0">
                <a:moveTo>
                  <a:pt x="576" y="0"/>
                </a:moveTo>
                <a:cubicBezTo>
                  <a:pt x="72" y="0"/>
                  <a:pt x="72" y="0"/>
                  <a:pt x="72" y="0"/>
                </a:cubicBezTo>
                <a:cubicBezTo>
                  <a:pt x="72" y="106"/>
                  <a:pt x="72" y="106"/>
                  <a:pt x="72" y="106"/>
                </a:cubicBezTo>
                <a:cubicBezTo>
                  <a:pt x="0" y="106"/>
                  <a:pt x="0" y="106"/>
                  <a:pt x="0" y="106"/>
                </a:cubicBezTo>
                <a:cubicBezTo>
                  <a:pt x="0" y="576"/>
                  <a:pt x="0" y="576"/>
                  <a:pt x="0" y="576"/>
                </a:cubicBezTo>
                <a:cubicBezTo>
                  <a:pt x="480" y="576"/>
                  <a:pt x="480" y="576"/>
                  <a:pt x="480" y="576"/>
                </a:cubicBezTo>
                <a:cubicBezTo>
                  <a:pt x="480" y="496"/>
                  <a:pt x="480" y="496"/>
                  <a:pt x="480" y="496"/>
                </a:cubicBezTo>
                <a:cubicBezTo>
                  <a:pt x="576" y="496"/>
                  <a:pt x="576" y="496"/>
                  <a:pt x="576" y="496"/>
                </a:cubicBezTo>
                <a:lnTo>
                  <a:pt x="576" y="0"/>
                </a:lnTo>
                <a:close/>
                <a:moveTo>
                  <a:pt x="552" y="25"/>
                </a:moveTo>
                <a:cubicBezTo>
                  <a:pt x="552" y="379"/>
                  <a:pt x="552" y="379"/>
                  <a:pt x="552" y="379"/>
                </a:cubicBezTo>
                <a:cubicBezTo>
                  <a:pt x="511" y="379"/>
                  <a:pt x="511" y="379"/>
                  <a:pt x="511" y="379"/>
                </a:cubicBezTo>
                <a:cubicBezTo>
                  <a:pt x="410" y="188"/>
                  <a:pt x="410" y="188"/>
                  <a:pt x="410" y="188"/>
                </a:cubicBezTo>
                <a:cubicBezTo>
                  <a:pt x="333" y="324"/>
                  <a:pt x="333" y="324"/>
                  <a:pt x="333" y="324"/>
                </a:cubicBezTo>
                <a:cubicBezTo>
                  <a:pt x="275" y="266"/>
                  <a:pt x="275" y="266"/>
                  <a:pt x="275" y="266"/>
                </a:cubicBezTo>
                <a:cubicBezTo>
                  <a:pt x="204" y="379"/>
                  <a:pt x="204" y="379"/>
                  <a:pt x="204" y="379"/>
                </a:cubicBezTo>
                <a:cubicBezTo>
                  <a:pt x="97" y="379"/>
                  <a:pt x="97" y="379"/>
                  <a:pt x="97" y="379"/>
                </a:cubicBezTo>
                <a:cubicBezTo>
                  <a:pt x="97" y="25"/>
                  <a:pt x="97" y="25"/>
                  <a:pt x="97" y="25"/>
                </a:cubicBezTo>
                <a:lnTo>
                  <a:pt x="552" y="25"/>
                </a:lnTo>
                <a:close/>
                <a:moveTo>
                  <a:pt x="483" y="379"/>
                </a:moveTo>
                <a:cubicBezTo>
                  <a:pt x="233" y="379"/>
                  <a:pt x="233" y="379"/>
                  <a:pt x="233" y="379"/>
                </a:cubicBezTo>
                <a:cubicBezTo>
                  <a:pt x="280" y="305"/>
                  <a:pt x="280" y="305"/>
                  <a:pt x="280" y="305"/>
                </a:cubicBezTo>
                <a:cubicBezTo>
                  <a:pt x="339" y="364"/>
                  <a:pt x="339" y="364"/>
                  <a:pt x="339" y="364"/>
                </a:cubicBezTo>
                <a:cubicBezTo>
                  <a:pt x="409" y="239"/>
                  <a:pt x="409" y="239"/>
                  <a:pt x="409" y="239"/>
                </a:cubicBezTo>
                <a:lnTo>
                  <a:pt x="483" y="379"/>
                </a:lnTo>
                <a:close/>
                <a:moveTo>
                  <a:pt x="456" y="551"/>
                </a:moveTo>
                <a:cubicBezTo>
                  <a:pt x="24" y="551"/>
                  <a:pt x="24" y="551"/>
                  <a:pt x="24" y="551"/>
                </a:cubicBezTo>
                <a:cubicBezTo>
                  <a:pt x="24" y="130"/>
                  <a:pt x="24" y="130"/>
                  <a:pt x="24" y="130"/>
                </a:cubicBezTo>
                <a:cubicBezTo>
                  <a:pt x="72" y="130"/>
                  <a:pt x="72" y="130"/>
                  <a:pt x="72" y="130"/>
                </a:cubicBezTo>
                <a:cubicBezTo>
                  <a:pt x="72" y="496"/>
                  <a:pt x="72" y="496"/>
                  <a:pt x="72" y="496"/>
                </a:cubicBezTo>
                <a:cubicBezTo>
                  <a:pt x="456" y="496"/>
                  <a:pt x="456" y="496"/>
                  <a:pt x="456" y="496"/>
                </a:cubicBezTo>
                <a:lnTo>
                  <a:pt x="456" y="551"/>
                </a:lnTo>
                <a:close/>
                <a:moveTo>
                  <a:pt x="97" y="471"/>
                </a:moveTo>
                <a:cubicBezTo>
                  <a:pt x="97" y="404"/>
                  <a:pt x="97" y="404"/>
                  <a:pt x="97" y="404"/>
                </a:cubicBezTo>
                <a:cubicBezTo>
                  <a:pt x="552" y="404"/>
                  <a:pt x="552" y="404"/>
                  <a:pt x="552" y="404"/>
                </a:cubicBezTo>
                <a:cubicBezTo>
                  <a:pt x="552" y="471"/>
                  <a:pt x="552" y="471"/>
                  <a:pt x="552" y="471"/>
                </a:cubicBezTo>
                <a:lnTo>
                  <a:pt x="97" y="471"/>
                </a:lnTo>
                <a:close/>
                <a:moveTo>
                  <a:pt x="240" y="188"/>
                </a:moveTo>
                <a:cubicBezTo>
                  <a:pt x="267" y="188"/>
                  <a:pt x="288" y="167"/>
                  <a:pt x="288" y="140"/>
                </a:cubicBezTo>
                <a:cubicBezTo>
                  <a:pt x="288" y="113"/>
                  <a:pt x="267" y="92"/>
                  <a:pt x="240" y="92"/>
                </a:cubicBezTo>
                <a:cubicBezTo>
                  <a:pt x="214" y="92"/>
                  <a:pt x="192" y="113"/>
                  <a:pt x="192" y="140"/>
                </a:cubicBezTo>
                <a:cubicBezTo>
                  <a:pt x="192" y="167"/>
                  <a:pt x="214" y="188"/>
                  <a:pt x="240" y="188"/>
                </a:cubicBezTo>
                <a:close/>
                <a:moveTo>
                  <a:pt x="240" y="116"/>
                </a:moveTo>
                <a:cubicBezTo>
                  <a:pt x="253" y="116"/>
                  <a:pt x="264" y="127"/>
                  <a:pt x="264" y="140"/>
                </a:cubicBezTo>
                <a:cubicBezTo>
                  <a:pt x="264" y="153"/>
                  <a:pt x="253" y="164"/>
                  <a:pt x="240" y="164"/>
                </a:cubicBezTo>
                <a:cubicBezTo>
                  <a:pt x="227" y="164"/>
                  <a:pt x="217" y="153"/>
                  <a:pt x="217" y="140"/>
                </a:cubicBezTo>
                <a:cubicBezTo>
                  <a:pt x="217" y="127"/>
                  <a:pt x="227" y="116"/>
                  <a:pt x="240" y="116"/>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6" name="Google Shape;1337;p89">
            <a:extLst>
              <a:ext uri="{FF2B5EF4-FFF2-40B4-BE49-F238E27FC236}">
                <a16:creationId xmlns:a16="http://schemas.microsoft.com/office/drawing/2014/main" id="{845CCFB5-5C4C-F589-F3D4-D0E788F2288D}"/>
              </a:ext>
            </a:extLst>
          </p:cNvPr>
          <p:cNvSpPr/>
          <p:nvPr/>
        </p:nvSpPr>
        <p:spPr>
          <a:xfrm>
            <a:off x="3497157" y="5315669"/>
            <a:ext cx="504000" cy="504000"/>
          </a:xfrm>
          <a:custGeom>
            <a:avLst/>
            <a:gdLst/>
            <a:ahLst/>
            <a:cxnLst/>
            <a:rect l="l" t="t" r="r" b="b"/>
            <a:pathLst>
              <a:path w="576" h="576" extrusionOk="0">
                <a:moveTo>
                  <a:pt x="576" y="0"/>
                </a:moveTo>
                <a:cubicBezTo>
                  <a:pt x="72" y="0"/>
                  <a:pt x="72" y="0"/>
                  <a:pt x="72" y="0"/>
                </a:cubicBezTo>
                <a:cubicBezTo>
                  <a:pt x="72" y="106"/>
                  <a:pt x="72" y="106"/>
                  <a:pt x="72" y="106"/>
                </a:cubicBezTo>
                <a:cubicBezTo>
                  <a:pt x="0" y="106"/>
                  <a:pt x="0" y="106"/>
                  <a:pt x="0" y="106"/>
                </a:cubicBezTo>
                <a:cubicBezTo>
                  <a:pt x="0" y="576"/>
                  <a:pt x="0" y="576"/>
                  <a:pt x="0" y="576"/>
                </a:cubicBezTo>
                <a:cubicBezTo>
                  <a:pt x="480" y="576"/>
                  <a:pt x="480" y="576"/>
                  <a:pt x="480" y="576"/>
                </a:cubicBezTo>
                <a:cubicBezTo>
                  <a:pt x="480" y="496"/>
                  <a:pt x="480" y="496"/>
                  <a:pt x="480" y="496"/>
                </a:cubicBezTo>
                <a:cubicBezTo>
                  <a:pt x="576" y="496"/>
                  <a:pt x="576" y="496"/>
                  <a:pt x="576" y="496"/>
                </a:cubicBezTo>
                <a:lnTo>
                  <a:pt x="576" y="0"/>
                </a:lnTo>
                <a:close/>
                <a:moveTo>
                  <a:pt x="552" y="25"/>
                </a:moveTo>
                <a:cubicBezTo>
                  <a:pt x="552" y="379"/>
                  <a:pt x="552" y="379"/>
                  <a:pt x="552" y="379"/>
                </a:cubicBezTo>
                <a:cubicBezTo>
                  <a:pt x="511" y="379"/>
                  <a:pt x="511" y="379"/>
                  <a:pt x="511" y="379"/>
                </a:cubicBezTo>
                <a:cubicBezTo>
                  <a:pt x="410" y="188"/>
                  <a:pt x="410" y="188"/>
                  <a:pt x="410" y="188"/>
                </a:cubicBezTo>
                <a:cubicBezTo>
                  <a:pt x="333" y="324"/>
                  <a:pt x="333" y="324"/>
                  <a:pt x="333" y="324"/>
                </a:cubicBezTo>
                <a:cubicBezTo>
                  <a:pt x="275" y="266"/>
                  <a:pt x="275" y="266"/>
                  <a:pt x="275" y="266"/>
                </a:cubicBezTo>
                <a:cubicBezTo>
                  <a:pt x="204" y="379"/>
                  <a:pt x="204" y="379"/>
                  <a:pt x="204" y="379"/>
                </a:cubicBezTo>
                <a:cubicBezTo>
                  <a:pt x="97" y="379"/>
                  <a:pt x="97" y="379"/>
                  <a:pt x="97" y="379"/>
                </a:cubicBezTo>
                <a:cubicBezTo>
                  <a:pt x="97" y="25"/>
                  <a:pt x="97" y="25"/>
                  <a:pt x="97" y="25"/>
                </a:cubicBezTo>
                <a:lnTo>
                  <a:pt x="552" y="25"/>
                </a:lnTo>
                <a:close/>
                <a:moveTo>
                  <a:pt x="483" y="379"/>
                </a:moveTo>
                <a:cubicBezTo>
                  <a:pt x="233" y="379"/>
                  <a:pt x="233" y="379"/>
                  <a:pt x="233" y="379"/>
                </a:cubicBezTo>
                <a:cubicBezTo>
                  <a:pt x="280" y="305"/>
                  <a:pt x="280" y="305"/>
                  <a:pt x="280" y="305"/>
                </a:cubicBezTo>
                <a:cubicBezTo>
                  <a:pt x="339" y="364"/>
                  <a:pt x="339" y="364"/>
                  <a:pt x="339" y="364"/>
                </a:cubicBezTo>
                <a:cubicBezTo>
                  <a:pt x="409" y="239"/>
                  <a:pt x="409" y="239"/>
                  <a:pt x="409" y="239"/>
                </a:cubicBezTo>
                <a:lnTo>
                  <a:pt x="483" y="379"/>
                </a:lnTo>
                <a:close/>
                <a:moveTo>
                  <a:pt x="456" y="551"/>
                </a:moveTo>
                <a:cubicBezTo>
                  <a:pt x="24" y="551"/>
                  <a:pt x="24" y="551"/>
                  <a:pt x="24" y="551"/>
                </a:cubicBezTo>
                <a:cubicBezTo>
                  <a:pt x="24" y="130"/>
                  <a:pt x="24" y="130"/>
                  <a:pt x="24" y="130"/>
                </a:cubicBezTo>
                <a:cubicBezTo>
                  <a:pt x="72" y="130"/>
                  <a:pt x="72" y="130"/>
                  <a:pt x="72" y="130"/>
                </a:cubicBezTo>
                <a:cubicBezTo>
                  <a:pt x="72" y="496"/>
                  <a:pt x="72" y="496"/>
                  <a:pt x="72" y="496"/>
                </a:cubicBezTo>
                <a:cubicBezTo>
                  <a:pt x="456" y="496"/>
                  <a:pt x="456" y="496"/>
                  <a:pt x="456" y="496"/>
                </a:cubicBezTo>
                <a:lnTo>
                  <a:pt x="456" y="551"/>
                </a:lnTo>
                <a:close/>
                <a:moveTo>
                  <a:pt x="97" y="471"/>
                </a:moveTo>
                <a:cubicBezTo>
                  <a:pt x="97" y="404"/>
                  <a:pt x="97" y="404"/>
                  <a:pt x="97" y="404"/>
                </a:cubicBezTo>
                <a:cubicBezTo>
                  <a:pt x="552" y="404"/>
                  <a:pt x="552" y="404"/>
                  <a:pt x="552" y="404"/>
                </a:cubicBezTo>
                <a:cubicBezTo>
                  <a:pt x="552" y="471"/>
                  <a:pt x="552" y="471"/>
                  <a:pt x="552" y="471"/>
                </a:cubicBezTo>
                <a:lnTo>
                  <a:pt x="97" y="471"/>
                </a:lnTo>
                <a:close/>
                <a:moveTo>
                  <a:pt x="240" y="188"/>
                </a:moveTo>
                <a:cubicBezTo>
                  <a:pt x="267" y="188"/>
                  <a:pt x="288" y="167"/>
                  <a:pt x="288" y="140"/>
                </a:cubicBezTo>
                <a:cubicBezTo>
                  <a:pt x="288" y="113"/>
                  <a:pt x="267" y="92"/>
                  <a:pt x="240" y="92"/>
                </a:cubicBezTo>
                <a:cubicBezTo>
                  <a:pt x="214" y="92"/>
                  <a:pt x="192" y="113"/>
                  <a:pt x="192" y="140"/>
                </a:cubicBezTo>
                <a:cubicBezTo>
                  <a:pt x="192" y="167"/>
                  <a:pt x="214" y="188"/>
                  <a:pt x="240" y="188"/>
                </a:cubicBezTo>
                <a:close/>
                <a:moveTo>
                  <a:pt x="240" y="116"/>
                </a:moveTo>
                <a:cubicBezTo>
                  <a:pt x="253" y="116"/>
                  <a:pt x="264" y="127"/>
                  <a:pt x="264" y="140"/>
                </a:cubicBezTo>
                <a:cubicBezTo>
                  <a:pt x="264" y="153"/>
                  <a:pt x="253" y="164"/>
                  <a:pt x="240" y="164"/>
                </a:cubicBezTo>
                <a:cubicBezTo>
                  <a:pt x="227" y="164"/>
                  <a:pt x="217" y="153"/>
                  <a:pt x="217" y="140"/>
                </a:cubicBezTo>
                <a:cubicBezTo>
                  <a:pt x="217" y="127"/>
                  <a:pt x="227" y="116"/>
                  <a:pt x="240" y="116"/>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7" name="Google Shape;1337;p89">
            <a:extLst>
              <a:ext uri="{FF2B5EF4-FFF2-40B4-BE49-F238E27FC236}">
                <a16:creationId xmlns:a16="http://schemas.microsoft.com/office/drawing/2014/main" id="{A50A144C-4C97-0872-3050-6D5F103E3262}"/>
              </a:ext>
            </a:extLst>
          </p:cNvPr>
          <p:cNvSpPr/>
          <p:nvPr/>
        </p:nvSpPr>
        <p:spPr>
          <a:xfrm>
            <a:off x="5846299" y="5315669"/>
            <a:ext cx="504000" cy="504000"/>
          </a:xfrm>
          <a:custGeom>
            <a:avLst/>
            <a:gdLst/>
            <a:ahLst/>
            <a:cxnLst/>
            <a:rect l="l" t="t" r="r" b="b"/>
            <a:pathLst>
              <a:path w="576" h="576" extrusionOk="0">
                <a:moveTo>
                  <a:pt x="576" y="0"/>
                </a:moveTo>
                <a:cubicBezTo>
                  <a:pt x="72" y="0"/>
                  <a:pt x="72" y="0"/>
                  <a:pt x="72" y="0"/>
                </a:cubicBezTo>
                <a:cubicBezTo>
                  <a:pt x="72" y="106"/>
                  <a:pt x="72" y="106"/>
                  <a:pt x="72" y="106"/>
                </a:cubicBezTo>
                <a:cubicBezTo>
                  <a:pt x="0" y="106"/>
                  <a:pt x="0" y="106"/>
                  <a:pt x="0" y="106"/>
                </a:cubicBezTo>
                <a:cubicBezTo>
                  <a:pt x="0" y="576"/>
                  <a:pt x="0" y="576"/>
                  <a:pt x="0" y="576"/>
                </a:cubicBezTo>
                <a:cubicBezTo>
                  <a:pt x="480" y="576"/>
                  <a:pt x="480" y="576"/>
                  <a:pt x="480" y="576"/>
                </a:cubicBezTo>
                <a:cubicBezTo>
                  <a:pt x="480" y="496"/>
                  <a:pt x="480" y="496"/>
                  <a:pt x="480" y="496"/>
                </a:cubicBezTo>
                <a:cubicBezTo>
                  <a:pt x="576" y="496"/>
                  <a:pt x="576" y="496"/>
                  <a:pt x="576" y="496"/>
                </a:cubicBezTo>
                <a:lnTo>
                  <a:pt x="576" y="0"/>
                </a:lnTo>
                <a:close/>
                <a:moveTo>
                  <a:pt x="552" y="25"/>
                </a:moveTo>
                <a:cubicBezTo>
                  <a:pt x="552" y="379"/>
                  <a:pt x="552" y="379"/>
                  <a:pt x="552" y="379"/>
                </a:cubicBezTo>
                <a:cubicBezTo>
                  <a:pt x="511" y="379"/>
                  <a:pt x="511" y="379"/>
                  <a:pt x="511" y="379"/>
                </a:cubicBezTo>
                <a:cubicBezTo>
                  <a:pt x="410" y="188"/>
                  <a:pt x="410" y="188"/>
                  <a:pt x="410" y="188"/>
                </a:cubicBezTo>
                <a:cubicBezTo>
                  <a:pt x="333" y="324"/>
                  <a:pt x="333" y="324"/>
                  <a:pt x="333" y="324"/>
                </a:cubicBezTo>
                <a:cubicBezTo>
                  <a:pt x="275" y="266"/>
                  <a:pt x="275" y="266"/>
                  <a:pt x="275" y="266"/>
                </a:cubicBezTo>
                <a:cubicBezTo>
                  <a:pt x="204" y="379"/>
                  <a:pt x="204" y="379"/>
                  <a:pt x="204" y="379"/>
                </a:cubicBezTo>
                <a:cubicBezTo>
                  <a:pt x="97" y="379"/>
                  <a:pt x="97" y="379"/>
                  <a:pt x="97" y="379"/>
                </a:cubicBezTo>
                <a:cubicBezTo>
                  <a:pt x="97" y="25"/>
                  <a:pt x="97" y="25"/>
                  <a:pt x="97" y="25"/>
                </a:cubicBezTo>
                <a:lnTo>
                  <a:pt x="552" y="25"/>
                </a:lnTo>
                <a:close/>
                <a:moveTo>
                  <a:pt x="483" y="379"/>
                </a:moveTo>
                <a:cubicBezTo>
                  <a:pt x="233" y="379"/>
                  <a:pt x="233" y="379"/>
                  <a:pt x="233" y="379"/>
                </a:cubicBezTo>
                <a:cubicBezTo>
                  <a:pt x="280" y="305"/>
                  <a:pt x="280" y="305"/>
                  <a:pt x="280" y="305"/>
                </a:cubicBezTo>
                <a:cubicBezTo>
                  <a:pt x="339" y="364"/>
                  <a:pt x="339" y="364"/>
                  <a:pt x="339" y="364"/>
                </a:cubicBezTo>
                <a:cubicBezTo>
                  <a:pt x="409" y="239"/>
                  <a:pt x="409" y="239"/>
                  <a:pt x="409" y="239"/>
                </a:cubicBezTo>
                <a:lnTo>
                  <a:pt x="483" y="379"/>
                </a:lnTo>
                <a:close/>
                <a:moveTo>
                  <a:pt x="456" y="551"/>
                </a:moveTo>
                <a:cubicBezTo>
                  <a:pt x="24" y="551"/>
                  <a:pt x="24" y="551"/>
                  <a:pt x="24" y="551"/>
                </a:cubicBezTo>
                <a:cubicBezTo>
                  <a:pt x="24" y="130"/>
                  <a:pt x="24" y="130"/>
                  <a:pt x="24" y="130"/>
                </a:cubicBezTo>
                <a:cubicBezTo>
                  <a:pt x="72" y="130"/>
                  <a:pt x="72" y="130"/>
                  <a:pt x="72" y="130"/>
                </a:cubicBezTo>
                <a:cubicBezTo>
                  <a:pt x="72" y="496"/>
                  <a:pt x="72" y="496"/>
                  <a:pt x="72" y="496"/>
                </a:cubicBezTo>
                <a:cubicBezTo>
                  <a:pt x="456" y="496"/>
                  <a:pt x="456" y="496"/>
                  <a:pt x="456" y="496"/>
                </a:cubicBezTo>
                <a:lnTo>
                  <a:pt x="456" y="551"/>
                </a:lnTo>
                <a:close/>
                <a:moveTo>
                  <a:pt x="97" y="471"/>
                </a:moveTo>
                <a:cubicBezTo>
                  <a:pt x="97" y="404"/>
                  <a:pt x="97" y="404"/>
                  <a:pt x="97" y="404"/>
                </a:cubicBezTo>
                <a:cubicBezTo>
                  <a:pt x="552" y="404"/>
                  <a:pt x="552" y="404"/>
                  <a:pt x="552" y="404"/>
                </a:cubicBezTo>
                <a:cubicBezTo>
                  <a:pt x="552" y="471"/>
                  <a:pt x="552" y="471"/>
                  <a:pt x="552" y="471"/>
                </a:cubicBezTo>
                <a:lnTo>
                  <a:pt x="97" y="471"/>
                </a:lnTo>
                <a:close/>
                <a:moveTo>
                  <a:pt x="240" y="188"/>
                </a:moveTo>
                <a:cubicBezTo>
                  <a:pt x="267" y="188"/>
                  <a:pt x="288" y="167"/>
                  <a:pt x="288" y="140"/>
                </a:cubicBezTo>
                <a:cubicBezTo>
                  <a:pt x="288" y="113"/>
                  <a:pt x="267" y="92"/>
                  <a:pt x="240" y="92"/>
                </a:cubicBezTo>
                <a:cubicBezTo>
                  <a:pt x="214" y="92"/>
                  <a:pt x="192" y="113"/>
                  <a:pt x="192" y="140"/>
                </a:cubicBezTo>
                <a:cubicBezTo>
                  <a:pt x="192" y="167"/>
                  <a:pt x="214" y="188"/>
                  <a:pt x="240" y="188"/>
                </a:cubicBezTo>
                <a:close/>
                <a:moveTo>
                  <a:pt x="240" y="116"/>
                </a:moveTo>
                <a:cubicBezTo>
                  <a:pt x="253" y="116"/>
                  <a:pt x="264" y="127"/>
                  <a:pt x="264" y="140"/>
                </a:cubicBezTo>
                <a:cubicBezTo>
                  <a:pt x="264" y="153"/>
                  <a:pt x="253" y="164"/>
                  <a:pt x="240" y="164"/>
                </a:cubicBezTo>
                <a:cubicBezTo>
                  <a:pt x="227" y="164"/>
                  <a:pt x="217" y="153"/>
                  <a:pt x="217" y="140"/>
                </a:cubicBezTo>
                <a:cubicBezTo>
                  <a:pt x="217" y="127"/>
                  <a:pt x="227" y="116"/>
                  <a:pt x="240" y="116"/>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8" name="Google Shape;1337;p89">
            <a:extLst>
              <a:ext uri="{FF2B5EF4-FFF2-40B4-BE49-F238E27FC236}">
                <a16:creationId xmlns:a16="http://schemas.microsoft.com/office/drawing/2014/main" id="{34222193-1394-3356-2D2C-EB535CD93471}"/>
              </a:ext>
            </a:extLst>
          </p:cNvPr>
          <p:cNvSpPr/>
          <p:nvPr/>
        </p:nvSpPr>
        <p:spPr>
          <a:xfrm>
            <a:off x="8195441" y="5315669"/>
            <a:ext cx="504000" cy="504000"/>
          </a:xfrm>
          <a:custGeom>
            <a:avLst/>
            <a:gdLst/>
            <a:ahLst/>
            <a:cxnLst/>
            <a:rect l="l" t="t" r="r" b="b"/>
            <a:pathLst>
              <a:path w="576" h="576" extrusionOk="0">
                <a:moveTo>
                  <a:pt x="576" y="0"/>
                </a:moveTo>
                <a:cubicBezTo>
                  <a:pt x="72" y="0"/>
                  <a:pt x="72" y="0"/>
                  <a:pt x="72" y="0"/>
                </a:cubicBezTo>
                <a:cubicBezTo>
                  <a:pt x="72" y="106"/>
                  <a:pt x="72" y="106"/>
                  <a:pt x="72" y="106"/>
                </a:cubicBezTo>
                <a:cubicBezTo>
                  <a:pt x="0" y="106"/>
                  <a:pt x="0" y="106"/>
                  <a:pt x="0" y="106"/>
                </a:cubicBezTo>
                <a:cubicBezTo>
                  <a:pt x="0" y="576"/>
                  <a:pt x="0" y="576"/>
                  <a:pt x="0" y="576"/>
                </a:cubicBezTo>
                <a:cubicBezTo>
                  <a:pt x="480" y="576"/>
                  <a:pt x="480" y="576"/>
                  <a:pt x="480" y="576"/>
                </a:cubicBezTo>
                <a:cubicBezTo>
                  <a:pt x="480" y="496"/>
                  <a:pt x="480" y="496"/>
                  <a:pt x="480" y="496"/>
                </a:cubicBezTo>
                <a:cubicBezTo>
                  <a:pt x="576" y="496"/>
                  <a:pt x="576" y="496"/>
                  <a:pt x="576" y="496"/>
                </a:cubicBezTo>
                <a:lnTo>
                  <a:pt x="576" y="0"/>
                </a:lnTo>
                <a:close/>
                <a:moveTo>
                  <a:pt x="552" y="25"/>
                </a:moveTo>
                <a:cubicBezTo>
                  <a:pt x="552" y="379"/>
                  <a:pt x="552" y="379"/>
                  <a:pt x="552" y="379"/>
                </a:cubicBezTo>
                <a:cubicBezTo>
                  <a:pt x="511" y="379"/>
                  <a:pt x="511" y="379"/>
                  <a:pt x="511" y="379"/>
                </a:cubicBezTo>
                <a:cubicBezTo>
                  <a:pt x="410" y="188"/>
                  <a:pt x="410" y="188"/>
                  <a:pt x="410" y="188"/>
                </a:cubicBezTo>
                <a:cubicBezTo>
                  <a:pt x="333" y="324"/>
                  <a:pt x="333" y="324"/>
                  <a:pt x="333" y="324"/>
                </a:cubicBezTo>
                <a:cubicBezTo>
                  <a:pt x="275" y="266"/>
                  <a:pt x="275" y="266"/>
                  <a:pt x="275" y="266"/>
                </a:cubicBezTo>
                <a:cubicBezTo>
                  <a:pt x="204" y="379"/>
                  <a:pt x="204" y="379"/>
                  <a:pt x="204" y="379"/>
                </a:cubicBezTo>
                <a:cubicBezTo>
                  <a:pt x="97" y="379"/>
                  <a:pt x="97" y="379"/>
                  <a:pt x="97" y="379"/>
                </a:cubicBezTo>
                <a:cubicBezTo>
                  <a:pt x="97" y="25"/>
                  <a:pt x="97" y="25"/>
                  <a:pt x="97" y="25"/>
                </a:cubicBezTo>
                <a:lnTo>
                  <a:pt x="552" y="25"/>
                </a:lnTo>
                <a:close/>
                <a:moveTo>
                  <a:pt x="483" y="379"/>
                </a:moveTo>
                <a:cubicBezTo>
                  <a:pt x="233" y="379"/>
                  <a:pt x="233" y="379"/>
                  <a:pt x="233" y="379"/>
                </a:cubicBezTo>
                <a:cubicBezTo>
                  <a:pt x="280" y="305"/>
                  <a:pt x="280" y="305"/>
                  <a:pt x="280" y="305"/>
                </a:cubicBezTo>
                <a:cubicBezTo>
                  <a:pt x="339" y="364"/>
                  <a:pt x="339" y="364"/>
                  <a:pt x="339" y="364"/>
                </a:cubicBezTo>
                <a:cubicBezTo>
                  <a:pt x="409" y="239"/>
                  <a:pt x="409" y="239"/>
                  <a:pt x="409" y="239"/>
                </a:cubicBezTo>
                <a:lnTo>
                  <a:pt x="483" y="379"/>
                </a:lnTo>
                <a:close/>
                <a:moveTo>
                  <a:pt x="456" y="551"/>
                </a:moveTo>
                <a:cubicBezTo>
                  <a:pt x="24" y="551"/>
                  <a:pt x="24" y="551"/>
                  <a:pt x="24" y="551"/>
                </a:cubicBezTo>
                <a:cubicBezTo>
                  <a:pt x="24" y="130"/>
                  <a:pt x="24" y="130"/>
                  <a:pt x="24" y="130"/>
                </a:cubicBezTo>
                <a:cubicBezTo>
                  <a:pt x="72" y="130"/>
                  <a:pt x="72" y="130"/>
                  <a:pt x="72" y="130"/>
                </a:cubicBezTo>
                <a:cubicBezTo>
                  <a:pt x="72" y="496"/>
                  <a:pt x="72" y="496"/>
                  <a:pt x="72" y="496"/>
                </a:cubicBezTo>
                <a:cubicBezTo>
                  <a:pt x="456" y="496"/>
                  <a:pt x="456" y="496"/>
                  <a:pt x="456" y="496"/>
                </a:cubicBezTo>
                <a:lnTo>
                  <a:pt x="456" y="551"/>
                </a:lnTo>
                <a:close/>
                <a:moveTo>
                  <a:pt x="97" y="471"/>
                </a:moveTo>
                <a:cubicBezTo>
                  <a:pt x="97" y="404"/>
                  <a:pt x="97" y="404"/>
                  <a:pt x="97" y="404"/>
                </a:cubicBezTo>
                <a:cubicBezTo>
                  <a:pt x="552" y="404"/>
                  <a:pt x="552" y="404"/>
                  <a:pt x="552" y="404"/>
                </a:cubicBezTo>
                <a:cubicBezTo>
                  <a:pt x="552" y="471"/>
                  <a:pt x="552" y="471"/>
                  <a:pt x="552" y="471"/>
                </a:cubicBezTo>
                <a:lnTo>
                  <a:pt x="97" y="471"/>
                </a:lnTo>
                <a:close/>
                <a:moveTo>
                  <a:pt x="240" y="188"/>
                </a:moveTo>
                <a:cubicBezTo>
                  <a:pt x="267" y="188"/>
                  <a:pt x="288" y="167"/>
                  <a:pt x="288" y="140"/>
                </a:cubicBezTo>
                <a:cubicBezTo>
                  <a:pt x="288" y="113"/>
                  <a:pt x="267" y="92"/>
                  <a:pt x="240" y="92"/>
                </a:cubicBezTo>
                <a:cubicBezTo>
                  <a:pt x="214" y="92"/>
                  <a:pt x="192" y="113"/>
                  <a:pt x="192" y="140"/>
                </a:cubicBezTo>
                <a:cubicBezTo>
                  <a:pt x="192" y="167"/>
                  <a:pt x="214" y="188"/>
                  <a:pt x="240" y="188"/>
                </a:cubicBezTo>
                <a:close/>
                <a:moveTo>
                  <a:pt x="240" y="116"/>
                </a:moveTo>
                <a:cubicBezTo>
                  <a:pt x="253" y="116"/>
                  <a:pt x="264" y="127"/>
                  <a:pt x="264" y="140"/>
                </a:cubicBezTo>
                <a:cubicBezTo>
                  <a:pt x="264" y="153"/>
                  <a:pt x="253" y="164"/>
                  <a:pt x="240" y="164"/>
                </a:cubicBezTo>
                <a:cubicBezTo>
                  <a:pt x="227" y="164"/>
                  <a:pt x="217" y="153"/>
                  <a:pt x="217" y="140"/>
                </a:cubicBezTo>
                <a:cubicBezTo>
                  <a:pt x="217" y="127"/>
                  <a:pt x="227" y="116"/>
                  <a:pt x="240" y="116"/>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9" name="Google Shape;1337;p89">
            <a:extLst>
              <a:ext uri="{FF2B5EF4-FFF2-40B4-BE49-F238E27FC236}">
                <a16:creationId xmlns:a16="http://schemas.microsoft.com/office/drawing/2014/main" id="{8411A793-66D5-DBCC-A794-EB381877B75D}"/>
              </a:ext>
            </a:extLst>
          </p:cNvPr>
          <p:cNvSpPr/>
          <p:nvPr/>
        </p:nvSpPr>
        <p:spPr>
          <a:xfrm>
            <a:off x="10544582" y="5315669"/>
            <a:ext cx="504000" cy="504000"/>
          </a:xfrm>
          <a:custGeom>
            <a:avLst/>
            <a:gdLst/>
            <a:ahLst/>
            <a:cxnLst/>
            <a:rect l="l" t="t" r="r" b="b"/>
            <a:pathLst>
              <a:path w="576" h="576" extrusionOk="0">
                <a:moveTo>
                  <a:pt x="576" y="0"/>
                </a:moveTo>
                <a:cubicBezTo>
                  <a:pt x="72" y="0"/>
                  <a:pt x="72" y="0"/>
                  <a:pt x="72" y="0"/>
                </a:cubicBezTo>
                <a:cubicBezTo>
                  <a:pt x="72" y="106"/>
                  <a:pt x="72" y="106"/>
                  <a:pt x="72" y="106"/>
                </a:cubicBezTo>
                <a:cubicBezTo>
                  <a:pt x="0" y="106"/>
                  <a:pt x="0" y="106"/>
                  <a:pt x="0" y="106"/>
                </a:cubicBezTo>
                <a:cubicBezTo>
                  <a:pt x="0" y="576"/>
                  <a:pt x="0" y="576"/>
                  <a:pt x="0" y="576"/>
                </a:cubicBezTo>
                <a:cubicBezTo>
                  <a:pt x="480" y="576"/>
                  <a:pt x="480" y="576"/>
                  <a:pt x="480" y="576"/>
                </a:cubicBezTo>
                <a:cubicBezTo>
                  <a:pt x="480" y="496"/>
                  <a:pt x="480" y="496"/>
                  <a:pt x="480" y="496"/>
                </a:cubicBezTo>
                <a:cubicBezTo>
                  <a:pt x="576" y="496"/>
                  <a:pt x="576" y="496"/>
                  <a:pt x="576" y="496"/>
                </a:cubicBezTo>
                <a:lnTo>
                  <a:pt x="576" y="0"/>
                </a:lnTo>
                <a:close/>
                <a:moveTo>
                  <a:pt x="552" y="25"/>
                </a:moveTo>
                <a:cubicBezTo>
                  <a:pt x="552" y="379"/>
                  <a:pt x="552" y="379"/>
                  <a:pt x="552" y="379"/>
                </a:cubicBezTo>
                <a:cubicBezTo>
                  <a:pt x="511" y="379"/>
                  <a:pt x="511" y="379"/>
                  <a:pt x="511" y="379"/>
                </a:cubicBezTo>
                <a:cubicBezTo>
                  <a:pt x="410" y="188"/>
                  <a:pt x="410" y="188"/>
                  <a:pt x="410" y="188"/>
                </a:cubicBezTo>
                <a:cubicBezTo>
                  <a:pt x="333" y="324"/>
                  <a:pt x="333" y="324"/>
                  <a:pt x="333" y="324"/>
                </a:cubicBezTo>
                <a:cubicBezTo>
                  <a:pt x="275" y="266"/>
                  <a:pt x="275" y="266"/>
                  <a:pt x="275" y="266"/>
                </a:cubicBezTo>
                <a:cubicBezTo>
                  <a:pt x="204" y="379"/>
                  <a:pt x="204" y="379"/>
                  <a:pt x="204" y="379"/>
                </a:cubicBezTo>
                <a:cubicBezTo>
                  <a:pt x="97" y="379"/>
                  <a:pt x="97" y="379"/>
                  <a:pt x="97" y="379"/>
                </a:cubicBezTo>
                <a:cubicBezTo>
                  <a:pt x="97" y="25"/>
                  <a:pt x="97" y="25"/>
                  <a:pt x="97" y="25"/>
                </a:cubicBezTo>
                <a:lnTo>
                  <a:pt x="552" y="25"/>
                </a:lnTo>
                <a:close/>
                <a:moveTo>
                  <a:pt x="483" y="379"/>
                </a:moveTo>
                <a:cubicBezTo>
                  <a:pt x="233" y="379"/>
                  <a:pt x="233" y="379"/>
                  <a:pt x="233" y="379"/>
                </a:cubicBezTo>
                <a:cubicBezTo>
                  <a:pt x="280" y="305"/>
                  <a:pt x="280" y="305"/>
                  <a:pt x="280" y="305"/>
                </a:cubicBezTo>
                <a:cubicBezTo>
                  <a:pt x="339" y="364"/>
                  <a:pt x="339" y="364"/>
                  <a:pt x="339" y="364"/>
                </a:cubicBezTo>
                <a:cubicBezTo>
                  <a:pt x="409" y="239"/>
                  <a:pt x="409" y="239"/>
                  <a:pt x="409" y="239"/>
                </a:cubicBezTo>
                <a:lnTo>
                  <a:pt x="483" y="379"/>
                </a:lnTo>
                <a:close/>
                <a:moveTo>
                  <a:pt x="456" y="551"/>
                </a:moveTo>
                <a:cubicBezTo>
                  <a:pt x="24" y="551"/>
                  <a:pt x="24" y="551"/>
                  <a:pt x="24" y="551"/>
                </a:cubicBezTo>
                <a:cubicBezTo>
                  <a:pt x="24" y="130"/>
                  <a:pt x="24" y="130"/>
                  <a:pt x="24" y="130"/>
                </a:cubicBezTo>
                <a:cubicBezTo>
                  <a:pt x="72" y="130"/>
                  <a:pt x="72" y="130"/>
                  <a:pt x="72" y="130"/>
                </a:cubicBezTo>
                <a:cubicBezTo>
                  <a:pt x="72" y="496"/>
                  <a:pt x="72" y="496"/>
                  <a:pt x="72" y="496"/>
                </a:cubicBezTo>
                <a:cubicBezTo>
                  <a:pt x="456" y="496"/>
                  <a:pt x="456" y="496"/>
                  <a:pt x="456" y="496"/>
                </a:cubicBezTo>
                <a:lnTo>
                  <a:pt x="456" y="551"/>
                </a:lnTo>
                <a:close/>
                <a:moveTo>
                  <a:pt x="97" y="471"/>
                </a:moveTo>
                <a:cubicBezTo>
                  <a:pt x="97" y="404"/>
                  <a:pt x="97" y="404"/>
                  <a:pt x="97" y="404"/>
                </a:cubicBezTo>
                <a:cubicBezTo>
                  <a:pt x="552" y="404"/>
                  <a:pt x="552" y="404"/>
                  <a:pt x="552" y="404"/>
                </a:cubicBezTo>
                <a:cubicBezTo>
                  <a:pt x="552" y="471"/>
                  <a:pt x="552" y="471"/>
                  <a:pt x="552" y="471"/>
                </a:cubicBezTo>
                <a:lnTo>
                  <a:pt x="97" y="471"/>
                </a:lnTo>
                <a:close/>
                <a:moveTo>
                  <a:pt x="240" y="188"/>
                </a:moveTo>
                <a:cubicBezTo>
                  <a:pt x="267" y="188"/>
                  <a:pt x="288" y="167"/>
                  <a:pt x="288" y="140"/>
                </a:cubicBezTo>
                <a:cubicBezTo>
                  <a:pt x="288" y="113"/>
                  <a:pt x="267" y="92"/>
                  <a:pt x="240" y="92"/>
                </a:cubicBezTo>
                <a:cubicBezTo>
                  <a:pt x="214" y="92"/>
                  <a:pt x="192" y="113"/>
                  <a:pt x="192" y="140"/>
                </a:cubicBezTo>
                <a:cubicBezTo>
                  <a:pt x="192" y="167"/>
                  <a:pt x="214" y="188"/>
                  <a:pt x="240" y="188"/>
                </a:cubicBezTo>
                <a:close/>
                <a:moveTo>
                  <a:pt x="240" y="116"/>
                </a:moveTo>
                <a:cubicBezTo>
                  <a:pt x="253" y="116"/>
                  <a:pt x="264" y="127"/>
                  <a:pt x="264" y="140"/>
                </a:cubicBezTo>
                <a:cubicBezTo>
                  <a:pt x="264" y="153"/>
                  <a:pt x="253" y="164"/>
                  <a:pt x="240" y="164"/>
                </a:cubicBezTo>
                <a:cubicBezTo>
                  <a:pt x="227" y="164"/>
                  <a:pt x="217" y="153"/>
                  <a:pt x="217" y="140"/>
                </a:cubicBezTo>
                <a:cubicBezTo>
                  <a:pt x="217" y="127"/>
                  <a:pt x="227" y="116"/>
                  <a:pt x="240" y="116"/>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2" name="Rectangle 1">
            <a:extLst>
              <a:ext uri="{FF2B5EF4-FFF2-40B4-BE49-F238E27FC236}">
                <a16:creationId xmlns:a16="http://schemas.microsoft.com/office/drawing/2014/main" id="{8F721146-0146-6364-6B84-91ADE6C70333}"/>
              </a:ext>
            </a:extLst>
          </p:cNvPr>
          <p:cNvSpPr/>
          <p:nvPr/>
        </p:nvSpPr>
        <p:spPr>
          <a:xfrm>
            <a:off x="1139874" y="1807088"/>
            <a:ext cx="10609213" cy="58559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altLang="lv-LV" sz="1600" b="1">
                <a:solidFill>
                  <a:schemeClr val="tx1"/>
                </a:solidFill>
                <a:cs typeface="Arial"/>
              </a:rPr>
              <a:t>Lūdzu, sarindojiet soļus pareizā secībā! Kuros soļos, Jūsuprāt, Jums ir uzdevums iesaistīties?</a:t>
            </a:r>
            <a:endParaRPr lang="en-US" sz="1600" b="1">
              <a:solidFill>
                <a:schemeClr val="tx1"/>
              </a:solidFill>
            </a:endParaRPr>
          </a:p>
        </p:txBody>
      </p:sp>
      <p:sp>
        <p:nvSpPr>
          <p:cNvPr id="5" name="Rectangle 4">
            <a:extLst>
              <a:ext uri="{FF2B5EF4-FFF2-40B4-BE49-F238E27FC236}">
                <a16:creationId xmlns:a16="http://schemas.microsoft.com/office/drawing/2014/main" id="{89790A45-B1C9-916E-308B-ECFC34CCA5A7}"/>
              </a:ext>
            </a:extLst>
          </p:cNvPr>
          <p:cNvSpPr/>
          <p:nvPr/>
        </p:nvSpPr>
        <p:spPr>
          <a:xfrm>
            <a:off x="442912" y="1810067"/>
            <a:ext cx="586800" cy="585788"/>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6" name="Freeform 45">
            <a:extLst>
              <a:ext uri="{FF2B5EF4-FFF2-40B4-BE49-F238E27FC236}">
                <a16:creationId xmlns:a16="http://schemas.microsoft.com/office/drawing/2014/main" id="{F1495032-8CCE-D7E1-A57E-AAA5D0489493}"/>
              </a:ext>
            </a:extLst>
          </p:cNvPr>
          <p:cNvSpPr>
            <a:spLocks noChangeAspect="1" noEditPoints="1"/>
          </p:cNvSpPr>
          <p:nvPr/>
        </p:nvSpPr>
        <p:spPr bwMode="auto">
          <a:xfrm>
            <a:off x="508360" y="1874361"/>
            <a:ext cx="455905" cy="457200"/>
          </a:xfrm>
          <a:custGeom>
            <a:avLst/>
            <a:gdLst>
              <a:gd name="T0" fmla="*/ 530 w 704"/>
              <a:gd name="T1" fmla="*/ 0 h 706"/>
              <a:gd name="T2" fmla="*/ 530 w 704"/>
              <a:gd name="T3" fmla="*/ 613 h 706"/>
              <a:gd name="T4" fmla="*/ 589 w 704"/>
              <a:gd name="T5" fmla="*/ 706 h 706"/>
              <a:gd name="T6" fmla="*/ 649 w 704"/>
              <a:gd name="T7" fmla="*/ 613 h 706"/>
              <a:gd name="T8" fmla="*/ 649 w 704"/>
              <a:gd name="T9" fmla="*/ 31 h 706"/>
              <a:gd name="T10" fmla="*/ 673 w 704"/>
              <a:gd name="T11" fmla="*/ 31 h 706"/>
              <a:gd name="T12" fmla="*/ 673 w 704"/>
              <a:gd name="T13" fmla="*/ 253 h 706"/>
              <a:gd name="T14" fmla="*/ 704 w 704"/>
              <a:gd name="T15" fmla="*/ 253 h 706"/>
              <a:gd name="T16" fmla="*/ 704 w 704"/>
              <a:gd name="T17" fmla="*/ 0 h 706"/>
              <a:gd name="T18" fmla="*/ 530 w 704"/>
              <a:gd name="T19" fmla="*/ 0 h 706"/>
              <a:gd name="T20" fmla="*/ 618 w 704"/>
              <a:gd name="T21" fmla="*/ 31 h 706"/>
              <a:gd name="T22" fmla="*/ 618 w 704"/>
              <a:gd name="T23" fmla="*/ 238 h 706"/>
              <a:gd name="T24" fmla="*/ 561 w 704"/>
              <a:gd name="T25" fmla="*/ 238 h 706"/>
              <a:gd name="T26" fmla="*/ 561 w 704"/>
              <a:gd name="T27" fmla="*/ 31 h 706"/>
              <a:gd name="T28" fmla="*/ 618 w 704"/>
              <a:gd name="T29" fmla="*/ 31 h 706"/>
              <a:gd name="T30" fmla="*/ 589 w 704"/>
              <a:gd name="T31" fmla="*/ 651 h 706"/>
              <a:gd name="T32" fmla="*/ 561 w 704"/>
              <a:gd name="T33" fmla="*/ 605 h 706"/>
              <a:gd name="T34" fmla="*/ 561 w 704"/>
              <a:gd name="T35" fmla="*/ 269 h 706"/>
              <a:gd name="T36" fmla="*/ 618 w 704"/>
              <a:gd name="T37" fmla="*/ 269 h 706"/>
              <a:gd name="T38" fmla="*/ 618 w 704"/>
              <a:gd name="T39" fmla="*/ 605 h 706"/>
              <a:gd name="T40" fmla="*/ 589 w 704"/>
              <a:gd name="T41" fmla="*/ 651 h 706"/>
              <a:gd name="T42" fmla="*/ 352 w 704"/>
              <a:gd name="T43" fmla="*/ 178 h 706"/>
              <a:gd name="T44" fmla="*/ 117 w 704"/>
              <a:gd name="T45" fmla="*/ 178 h 706"/>
              <a:gd name="T46" fmla="*/ 117 w 704"/>
              <a:gd name="T47" fmla="*/ 149 h 706"/>
              <a:gd name="T48" fmla="*/ 352 w 704"/>
              <a:gd name="T49" fmla="*/ 149 h 706"/>
              <a:gd name="T50" fmla="*/ 352 w 704"/>
              <a:gd name="T51" fmla="*/ 178 h 706"/>
              <a:gd name="T52" fmla="*/ 352 w 704"/>
              <a:gd name="T53" fmla="*/ 305 h 706"/>
              <a:gd name="T54" fmla="*/ 117 w 704"/>
              <a:gd name="T55" fmla="*/ 305 h 706"/>
              <a:gd name="T56" fmla="*/ 117 w 704"/>
              <a:gd name="T57" fmla="*/ 275 h 706"/>
              <a:gd name="T58" fmla="*/ 352 w 704"/>
              <a:gd name="T59" fmla="*/ 275 h 706"/>
              <a:gd name="T60" fmla="*/ 352 w 704"/>
              <a:gd name="T61" fmla="*/ 305 h 706"/>
              <a:gd name="T62" fmla="*/ 352 w 704"/>
              <a:gd name="T63" fmla="*/ 433 h 706"/>
              <a:gd name="T64" fmla="*/ 117 w 704"/>
              <a:gd name="T65" fmla="*/ 433 h 706"/>
              <a:gd name="T66" fmla="*/ 117 w 704"/>
              <a:gd name="T67" fmla="*/ 402 h 706"/>
              <a:gd name="T68" fmla="*/ 352 w 704"/>
              <a:gd name="T69" fmla="*/ 402 h 706"/>
              <a:gd name="T70" fmla="*/ 352 w 704"/>
              <a:gd name="T71" fmla="*/ 433 h 706"/>
              <a:gd name="T72" fmla="*/ 352 w 704"/>
              <a:gd name="T73" fmla="*/ 559 h 706"/>
              <a:gd name="T74" fmla="*/ 117 w 704"/>
              <a:gd name="T75" fmla="*/ 559 h 706"/>
              <a:gd name="T76" fmla="*/ 117 w 704"/>
              <a:gd name="T77" fmla="*/ 530 h 706"/>
              <a:gd name="T78" fmla="*/ 352 w 704"/>
              <a:gd name="T79" fmla="*/ 530 h 706"/>
              <a:gd name="T80" fmla="*/ 352 w 704"/>
              <a:gd name="T81" fmla="*/ 559 h 706"/>
              <a:gd name="T82" fmla="*/ 469 w 704"/>
              <a:gd name="T83" fmla="*/ 706 h 706"/>
              <a:gd name="T84" fmla="*/ 0 w 704"/>
              <a:gd name="T85" fmla="*/ 706 h 706"/>
              <a:gd name="T86" fmla="*/ 0 w 704"/>
              <a:gd name="T87" fmla="*/ 0 h 706"/>
              <a:gd name="T88" fmla="*/ 469 w 704"/>
              <a:gd name="T89" fmla="*/ 0 h 706"/>
              <a:gd name="T90" fmla="*/ 469 w 704"/>
              <a:gd name="T91" fmla="*/ 706 h 706"/>
              <a:gd name="T92" fmla="*/ 29 w 704"/>
              <a:gd name="T93" fmla="*/ 677 h 706"/>
              <a:gd name="T94" fmla="*/ 439 w 704"/>
              <a:gd name="T95" fmla="*/ 677 h 706"/>
              <a:gd name="T96" fmla="*/ 439 w 704"/>
              <a:gd name="T97" fmla="*/ 31 h 706"/>
              <a:gd name="T98" fmla="*/ 29 w 704"/>
              <a:gd name="T99" fmla="*/ 31 h 706"/>
              <a:gd name="T100" fmla="*/ 29 w 704"/>
              <a:gd name="T101" fmla="*/ 677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4" h="706">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a:solidFill>
                <a:schemeClr val="bg1"/>
              </a:solidFill>
            </a:endParaRPr>
          </a:p>
        </p:txBody>
      </p:sp>
      <p:sp>
        <p:nvSpPr>
          <p:cNvPr id="8" name="Rectangle 7">
            <a:extLst>
              <a:ext uri="{FF2B5EF4-FFF2-40B4-BE49-F238E27FC236}">
                <a16:creationId xmlns:a16="http://schemas.microsoft.com/office/drawing/2014/main" id="{C45B4B4D-811D-75BC-1C53-0D260614DCE2}"/>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chemeClr val="accent1"/>
                </a:solidFill>
                <a:effectLst/>
                <a:uLnTx/>
                <a:uFillTx/>
                <a:ea typeface="Georgia"/>
                <a:cs typeface="Georgia"/>
                <a:sym typeface="Georgia"/>
              </a:rPr>
              <a:t>7. PIRMĀS PALĪDZĪBAS SNIEGŠANAS PRASMES</a:t>
            </a:r>
          </a:p>
        </p:txBody>
      </p:sp>
      <p:grpSp>
        <p:nvGrpSpPr>
          <p:cNvPr id="23" name="Group 22">
            <a:extLst>
              <a:ext uri="{FF2B5EF4-FFF2-40B4-BE49-F238E27FC236}">
                <a16:creationId xmlns:a16="http://schemas.microsoft.com/office/drawing/2014/main" id="{42EFEEDE-6CBD-2377-66ED-B2064FDA7EAB}"/>
              </a:ext>
            </a:extLst>
          </p:cNvPr>
          <p:cNvGrpSpPr/>
          <p:nvPr/>
        </p:nvGrpSpPr>
        <p:grpSpPr>
          <a:xfrm>
            <a:off x="9307133" y="126781"/>
            <a:ext cx="2441955" cy="217488"/>
            <a:chOff x="9307133" y="126781"/>
            <a:chExt cx="2441955" cy="217488"/>
          </a:xfrm>
        </p:grpSpPr>
        <p:sp>
          <p:nvSpPr>
            <p:cNvPr id="13" name="Rectangle 12">
              <a:extLst>
                <a:ext uri="{FF2B5EF4-FFF2-40B4-BE49-F238E27FC236}">
                  <a16:creationId xmlns:a16="http://schemas.microsoft.com/office/drawing/2014/main" id="{CE49DFAE-9602-9B51-7F68-1F0676F98EAA}"/>
                </a:ext>
              </a:extLst>
            </p:cNvPr>
            <p:cNvSpPr/>
            <p:nvPr/>
          </p:nvSpPr>
          <p:spPr>
            <a:xfrm>
              <a:off x="930713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BBD61FA1-53B4-FE96-3144-6BA4D509ED90}"/>
                </a:ext>
              </a:extLst>
            </p:cNvPr>
            <p:cNvSpPr/>
            <p:nvPr/>
          </p:nvSpPr>
          <p:spPr>
            <a:xfrm>
              <a:off x="9790783" y="126781"/>
              <a:ext cx="1237148"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Rīcība negadījuma vietā</a:t>
              </a:r>
            </a:p>
          </p:txBody>
        </p:sp>
        <p:sp>
          <p:nvSpPr>
            <p:cNvPr id="17" name="Rectangle 16">
              <a:extLst>
                <a:ext uri="{FF2B5EF4-FFF2-40B4-BE49-F238E27FC236}">
                  <a16:creationId xmlns:a16="http://schemas.microsoft.com/office/drawing/2014/main" id="{505A48E8-31D6-CC00-D638-F5453B1770D2}"/>
                </a:ext>
              </a:extLst>
            </p:cNvPr>
            <p:cNvSpPr/>
            <p:nvPr/>
          </p:nvSpPr>
          <p:spPr>
            <a:xfrm>
              <a:off x="955040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7</a:t>
              </a:r>
              <a:r>
                <a:rPr kumimoji="0" lang="en-US" sz="800" b="1" i="0" u="none" strike="noStrike" kern="0" cap="none" spc="0" normalizeH="0" baseline="0" noProof="0">
                  <a:ln>
                    <a:noFill/>
                  </a:ln>
                  <a:effectLst/>
                  <a:uLnTx/>
                  <a:uFillTx/>
                  <a:ea typeface="Georgia"/>
                  <a:cs typeface="Georgia"/>
                  <a:sym typeface="Georgia"/>
                </a:rPr>
                <a:t>.2</a:t>
              </a:r>
              <a:endParaRPr kumimoji="0" lang="lv-LV" sz="800" b="1" i="0" u="none" strike="noStrike" kern="0" cap="none" spc="0" normalizeH="0" baseline="0" noProof="0">
                <a:ln>
                  <a:noFill/>
                </a:ln>
                <a:effectLst/>
                <a:uLnTx/>
                <a:uFillTx/>
                <a:ea typeface="Georgia"/>
                <a:cs typeface="Georgia"/>
                <a:sym typeface="Georgia"/>
              </a:endParaRPr>
            </a:p>
          </p:txBody>
        </p:sp>
        <p:sp>
          <p:nvSpPr>
            <p:cNvPr id="18" name="Rectangle 17">
              <a:extLst>
                <a:ext uri="{FF2B5EF4-FFF2-40B4-BE49-F238E27FC236}">
                  <a16:creationId xmlns:a16="http://schemas.microsoft.com/office/drawing/2014/main" id="{96D847B4-9689-1456-ACF2-BC9B473BDA59}"/>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3CDBF83B-5746-D5D4-544E-C151038D4DE9}"/>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4</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2" name="Rectangle 21">
              <a:extLst>
                <a:ext uri="{FF2B5EF4-FFF2-40B4-BE49-F238E27FC236}">
                  <a16:creationId xmlns:a16="http://schemas.microsoft.com/office/drawing/2014/main" id="{EA7DD34B-277F-8DF5-1D1D-40774DE42626}"/>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chemeClr val="accent1"/>
                  </a:solidFill>
                  <a:ea typeface="Georgia"/>
                  <a:cs typeface="Georgia"/>
                  <a:sym typeface="Georgia"/>
                </a:rPr>
                <a:t>7</a:t>
              </a:r>
              <a:r>
                <a:rPr kumimoji="0" lang="en-US" sz="800" b="1" i="0" u="none" strike="noStrike" kern="0" cap="none" spc="0" normalizeH="0" baseline="0" noProof="0">
                  <a:ln>
                    <a:noFill/>
                  </a:ln>
                  <a:solidFill>
                    <a:schemeClr val="accent1"/>
                  </a:solidFill>
                  <a:effectLst/>
                  <a:uLnTx/>
                  <a:uFillTx/>
                  <a:ea typeface="Georgia"/>
                  <a:cs typeface="Georgia"/>
                  <a:sym typeface="Georgia"/>
                </a:rPr>
                <a:t>.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20678372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952,47,Pirmās palīdzības aptieciņas satura minimum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Custom 6">
      <a:dk1>
        <a:srgbClr val="000000"/>
      </a:dk1>
      <a:lt1>
        <a:srgbClr val="FFFFFF"/>
      </a:lt1>
      <a:dk2>
        <a:srgbClr val="7D7D7D"/>
      </a:dk2>
      <a:lt2>
        <a:srgbClr val="DEDEDE"/>
      </a:lt2>
      <a:accent1>
        <a:srgbClr val="A4A3B2"/>
      </a:accent1>
      <a:accent2>
        <a:srgbClr val="A8192D"/>
      </a:accent2>
      <a:accent3>
        <a:srgbClr val="525A72"/>
      </a:accent3>
      <a:accent4>
        <a:srgbClr val="D18D85"/>
      </a:accent4>
      <a:accent5>
        <a:srgbClr val="D0CFD7"/>
      </a:accent5>
      <a:accent6>
        <a:srgbClr val="CFD6E8"/>
      </a:accent6>
      <a:hlink>
        <a:srgbClr val="A8192D"/>
      </a:hlink>
      <a:folHlink>
        <a:srgbClr val="A8192D"/>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24" id="{BFCA0133-6982-9A41-83EB-B5BEADC3CF5E}" vid="{0EDD02ED-29A7-1B45-BF3B-A0CA00E48CB6}"/>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EFF7F3D1589944B90553ACEA3976663" ma:contentTypeVersion="15" ma:contentTypeDescription="Create a new document." ma:contentTypeScope="" ma:versionID="6f5a9c38107a468910586e54a44bf668">
  <xsd:schema xmlns:xsd="http://www.w3.org/2001/XMLSchema" xmlns:xs="http://www.w3.org/2001/XMLSchema" xmlns:p="http://schemas.microsoft.com/office/2006/metadata/properties" xmlns:ns2="d4c41ca5-56e0-486b-8028-8e1cdea398f5" xmlns:ns3="51cb120f-d312-4c6b-a4cc-bcc7f473426d" targetNamespace="http://schemas.microsoft.com/office/2006/metadata/properties" ma:root="true" ma:fieldsID="319bd485ab46f162b11c7c7cd04d0b0e" ns2:_="" ns3:_="">
    <xsd:import namespace="d4c41ca5-56e0-486b-8028-8e1cdea398f5"/>
    <xsd:import namespace="51cb120f-d312-4c6b-a4cc-bcc7f473426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41ca5-56e0-486b-8028-8e1cdea398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1cb120f-d312-4c6b-a4cc-bcc7f473426d"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52b72c0-8bf2-4414-88c4-a88c88bd1edf}" ma:internalName="TaxCatchAll" ma:showField="CatchAllData" ma:web="51cb120f-d312-4c6b-a4cc-bcc7f473426d">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4c41ca5-56e0-486b-8028-8e1cdea398f5">
      <Terms xmlns="http://schemas.microsoft.com/office/infopath/2007/PartnerControls"/>
    </lcf76f155ced4ddcb4097134ff3c332f>
    <TaxCatchAll xmlns="51cb120f-d312-4c6b-a4cc-bcc7f473426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6F610AA-4085-4F6D-A781-B83D7B5C05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c41ca5-56e0-486b-8028-8e1cdea398f5"/>
    <ds:schemaRef ds:uri="51cb120f-d312-4c6b-a4cc-bcc7f47342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1A34826-0084-4EBB-A5E2-D2A015FBDFFA}">
  <ds:schemaRefs>
    <ds:schemaRef ds:uri="http://www.w3.org/XML/1998/namespace"/>
    <ds:schemaRef ds:uri="http://purl.org/dc/dcmitype/"/>
    <ds:schemaRef ds:uri="http://purl.org/dc/terms/"/>
    <ds:schemaRef ds:uri="http://schemas.microsoft.com/office/infopath/2007/PartnerControls"/>
    <ds:schemaRef ds:uri="http://schemas.openxmlformats.org/package/2006/metadata/core-properties"/>
    <ds:schemaRef ds:uri="http://schemas.microsoft.com/office/2006/metadata/properties"/>
    <ds:schemaRef ds:uri="http://purl.org/dc/elements/1.1/"/>
    <ds:schemaRef ds:uri="http://schemas.microsoft.com/office/2006/documentManagement/types"/>
    <ds:schemaRef ds:uri="51cb120f-d312-4c6b-a4cc-bcc7f473426d"/>
    <ds:schemaRef ds:uri="d4c41ca5-56e0-486b-8028-8e1cdea398f5"/>
  </ds:schemaRefs>
</ds:datastoreItem>
</file>

<file path=customXml/itemProps3.xml><?xml version="1.0" encoding="utf-8"?>
<ds:datastoreItem xmlns:ds="http://schemas.openxmlformats.org/officeDocument/2006/customXml" ds:itemID="{35A8970B-3DDA-47CD-836C-FFC1E6DA2C2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wC_16x9_PowerPoint_Template_2024</Template>
  <TotalTime>0</TotalTime>
  <Words>5266</Words>
  <Application>Microsoft Office PowerPoint</Application>
  <PresentationFormat>Widescreen</PresentationFormat>
  <Paragraphs>1106</Paragraphs>
  <Slides>47</Slides>
  <Notes>4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55" baseType="lpstr">
      <vt:lpstr>Arial</vt:lpstr>
      <vt:lpstr>Arial Unicode MS</vt:lpstr>
      <vt:lpstr>Arial,Sans-Serif</vt:lpstr>
      <vt:lpstr>Calibri</vt:lpstr>
      <vt:lpstr>Georgia</vt:lpstr>
      <vt:lpstr>Times New Roman</vt:lpstr>
      <vt:lpstr>PwC</vt:lpstr>
      <vt:lpstr>think-cell Slide</vt:lpstr>
      <vt:lpstr>PowerPoint Presentation</vt:lpstr>
      <vt:lpstr>Satura rādītājs</vt:lpstr>
      <vt:lpstr>Uzdevumi</vt:lpstr>
      <vt:lpstr>7.1. Ievads</vt:lpstr>
      <vt:lpstr>Vai Jūs zināt, kas ir pirmā palīdzība? Kā tā atšķiras no neatliekamās medicīniskās palīdzības? </vt:lpstr>
      <vt:lpstr>Vai Jūs zināt, kas ir pirmā palīdzība? Kā tā atšķiras no neatliekamās medicīniskās palīdzības? </vt:lpstr>
      <vt:lpstr>Pirmās palīdzības sniegšanas  vispārējs raksturojums:</vt:lpstr>
      <vt:lpstr>7.2. Rīcība  negadījuma vietā</vt:lpstr>
      <vt:lpstr>Kādā secībā notiek glābšanas ķēdīte?  Kuros soļos Jums ir uzdevums iesaistīties? </vt:lpstr>
      <vt:lpstr>Kādā secībā notiek glābšanas ķēdīte?  Kuros soļos Jums ir uzdevums iesaistīties? </vt:lpstr>
      <vt:lpstr>Kādi tūlītējie pasākumi jāveic? </vt:lpstr>
      <vt:lpstr>Kā izsaukt palīdzību?</vt:lpstr>
      <vt:lpstr>Kādi tūlītējie pasākumi jāveic? </vt:lpstr>
      <vt:lpstr>7.3. Atdzīvināšanas pasākumi</vt:lpstr>
      <vt:lpstr>Pieaugušā atdzīvināšanas algoritms</vt:lpstr>
      <vt:lpstr>Pieaugušā atdzīvināšanas algoritms – svarīgi atcerēties</vt:lpstr>
      <vt:lpstr>7.4. Pirmās palīdzības pasākumi</vt:lpstr>
      <vt:lpstr>Pirmās palīdzības pasākumi</vt:lpstr>
      <vt:lpstr>Kā rīkoties stipras asiņošanas gadījumā?</vt:lpstr>
      <vt:lpstr>Kā rīkoties, ja ir stipra asiņošana rokā vai kājā un ir pieejami pārsienamie  materiāli?</vt:lpstr>
      <vt:lpstr>Kā rīkoties amputācijas gadījumā?</vt:lpstr>
      <vt:lpstr>Citi gadījumi</vt:lpstr>
      <vt:lpstr>Kā rīkoties pārkaršanas gadījumā?</vt:lpstr>
      <vt:lpstr>Kā rīkoties atdzišanas gadījumā?</vt:lpstr>
      <vt:lpstr>Kā rīkoties apdegumu gadījumā?</vt:lpstr>
      <vt:lpstr>Kā rīkoties ķīmisko vielu izraisītos negadījumos?</vt:lpstr>
      <vt:lpstr>Kā rīkoties ķīmisko vielu izraisītos negadījumos?</vt:lpstr>
      <vt:lpstr>Kā rīkoties elektrotraumu gadījumā?</vt:lpstr>
      <vt:lpstr>Kā palīdzēt cietušajam  slīkšanas gadījumā?</vt:lpstr>
      <vt:lpstr>Kā rīkoties traumu gadījumā?</vt:lpstr>
      <vt:lpstr>Kā rīkoties traumu gadījumā?</vt:lpstr>
      <vt:lpstr>Kā rīkoties traumu gadījumā?</vt:lpstr>
      <vt:lpstr>Kā palīdzēt cietušajam ceļu  satiksmes negadījumā?</vt:lpstr>
      <vt:lpstr>Kā palīdzēt cietušajam autoavārijā?</vt:lpstr>
      <vt:lpstr>Kā palīdzēt cietušajam ceļu  motocikla avārijā?</vt:lpstr>
      <vt:lpstr>Kā rīkoties dzīvnieku izraisītā  nelaimes gadījumā?</vt:lpstr>
      <vt:lpstr>Kā rīkoties dzīvnieku izraisītā  nelaimes gadījumā?</vt:lpstr>
      <vt:lpstr>Kā rīkoties, ja organismā  nonākuši svešķermeņi?</vt:lpstr>
      <vt:lpstr>Kā rīkoties, ja organismā nonākuši  svešķermeņi?</vt:lpstr>
      <vt:lpstr>Kā rīkoties, ja cietušajam ir krampji?</vt:lpstr>
      <vt:lpstr>Kā rīkoties, ja cietušajam ir krampji?</vt:lpstr>
      <vt:lpstr>Kā rīkoties, ja cietušajam ir sāpes  krūtīs vai elpas trūkums?</vt:lpstr>
      <vt:lpstr>Kā rīkoties, ja cietušajam ir  stipras sāpes vēderā?</vt:lpstr>
      <vt:lpstr>Kā palīdzēt diabēta slimniekam?</vt:lpstr>
      <vt:lpstr>Kā palīdzēt insulta gadījumā?</vt:lpstr>
      <vt:lpstr>7.5. Aptieciņas saturs</vt:lpstr>
      <vt:lpstr>Pirmās palīdzības aptieciņas satura minimums</vt:lpstr>
    </vt:vector>
  </TitlesOfParts>
  <Manager/>
  <Company>PricewaterhouseCooper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irmā palīdzība un neatliekamā medicīniskā palīdzība</dc:title>
  <dc:subject/>
  <dc:creator>Sindija Kirsteine (LV)</dc:creator>
  <cp:keywords/>
  <dc:description/>
  <cp:lastModifiedBy>Sindija Kirsteine (LV)</cp:lastModifiedBy>
  <cp:revision>2</cp:revision>
  <dcterms:created xsi:type="dcterms:W3CDTF">2024-02-05T09:33:11Z</dcterms:created>
  <dcterms:modified xsi:type="dcterms:W3CDTF">2024-09-02T06:32:3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FF7F3D1589944B90553ACEA3976663</vt:lpwstr>
  </property>
  <property fmtid="{D5CDD505-2E9C-101B-9397-08002B2CF9AE}" pid="3" name="MediaServiceImageTags">
    <vt:lpwstr/>
  </property>
  <property fmtid="{D5CDD505-2E9C-101B-9397-08002B2CF9AE}" pid="4" name="lcf76f155ced4ddcb4097134ff3c332f">
    <vt:lpwstr/>
  </property>
  <property fmtid="{D5CDD505-2E9C-101B-9397-08002B2CF9AE}" pid="5" name="TaxCatchAll">
    <vt:lpwstr/>
  </property>
</Properties>
</file>